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2" r:id="rId5"/>
  </p:sldMasterIdLst>
  <p:notesMasterIdLst>
    <p:notesMasterId r:id="rId14"/>
  </p:notesMasterIdLst>
  <p:handoutMasterIdLst>
    <p:handoutMasterId r:id="rId15"/>
  </p:handoutMasterIdLst>
  <p:sldIdLst>
    <p:sldId id="261" r:id="rId6"/>
    <p:sldId id="374" r:id="rId7"/>
    <p:sldId id="415" r:id="rId8"/>
    <p:sldId id="398" r:id="rId9"/>
    <p:sldId id="422" r:id="rId10"/>
    <p:sldId id="416" r:id="rId11"/>
    <p:sldId id="423" r:id="rId12"/>
    <p:sldId id="425" r:id="rId13"/>
  </p:sldIdLst>
  <p:sldSz cx="9144000" cy="5143500" type="screen16x9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1053" userDrawn="1">
          <p15:clr>
            <a:srgbClr val="A4A3A4"/>
          </p15:clr>
        </p15:guide>
        <p15:guide id="7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iffiths, Michelle" initials="GM" lastIdx="12" clrIdx="0">
    <p:extLst/>
  </p:cmAuthor>
  <p:cmAuthor id="2" name="Darren Kluesner" initials="DK" lastIdx="9" clrIdx="1"/>
  <p:cmAuthor id="3" name="Laura Connor" initials="LC" lastIdx="28" clrIdx="2">
    <p:extLst/>
  </p:cmAuthor>
  <p:cmAuthor id="4" name="Lucy MacLauchlan" initials="LM" lastIdx="2" clrIdx="3">
    <p:extLst/>
  </p:cmAuthor>
  <p:cmAuthor id="5" name="Barlow, Nicola" initials="BN" lastIdx="2" clrIdx="4">
    <p:extLst/>
  </p:cmAuthor>
  <p:cmAuthor id="6" name="Tom Byrne" initials="TB" lastIdx="4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6CA3"/>
    <a:srgbClr val="D8F0D8"/>
    <a:srgbClr val="CEECCE"/>
    <a:srgbClr val="4B85BB"/>
    <a:srgbClr val="5F97C9"/>
    <a:srgbClr val="DDE9F4"/>
    <a:srgbClr val="EDF4FA"/>
    <a:srgbClr val="00458A"/>
    <a:srgbClr val="E74E0F"/>
    <a:srgbClr val="E400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61" autoAdjust="0"/>
    <p:restoredTop sz="94622" autoAdjust="0"/>
  </p:normalViewPr>
  <p:slideViewPr>
    <p:cSldViewPr snapToGrid="0" showGuides="1">
      <p:cViewPr varScale="1">
        <p:scale>
          <a:sx n="110" d="100"/>
          <a:sy n="110" d="100"/>
        </p:scale>
        <p:origin x="672" y="67"/>
      </p:cViewPr>
      <p:guideLst>
        <p:guide orient="horz" pos="1053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howGuides="1">
      <p:cViewPr varScale="1">
        <p:scale>
          <a:sx n="113" d="100"/>
          <a:sy n="113" d="100"/>
        </p:scale>
        <p:origin x="5118" y="90"/>
      </p:cViewPr>
      <p:guideLst>
        <p:guide orient="horz" pos="2909"/>
        <p:guide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1699" cy="462836"/>
          </a:xfrm>
          <a:prstGeom prst="rect">
            <a:avLst/>
          </a:prstGeom>
        </p:spPr>
        <p:txBody>
          <a:bodyPr vert="horz" lIns="91129" tIns="45565" rIns="91129" bIns="45565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2836"/>
          </a:xfrm>
          <a:prstGeom prst="rect">
            <a:avLst/>
          </a:prstGeom>
        </p:spPr>
        <p:txBody>
          <a:bodyPr vert="horz" lIns="91129" tIns="45565" rIns="91129" bIns="45565" rtlCol="0"/>
          <a:lstStyle>
            <a:lvl1pPr algn="r">
              <a:defRPr sz="1200"/>
            </a:lvl1pPr>
          </a:lstStyle>
          <a:p>
            <a:fld id="{02CEF4F4-2424-4AA6-9411-C32640F2A715}" type="datetimeFigureOut">
              <a:rPr lang="en-GB" smtClean="0"/>
              <a:t>23/10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773240"/>
            <a:ext cx="3011699" cy="462836"/>
          </a:xfrm>
          <a:prstGeom prst="rect">
            <a:avLst/>
          </a:prstGeom>
        </p:spPr>
        <p:txBody>
          <a:bodyPr vert="horz" lIns="91129" tIns="45565" rIns="91129" bIns="45565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3240"/>
            <a:ext cx="3011699" cy="462836"/>
          </a:xfrm>
          <a:prstGeom prst="rect">
            <a:avLst/>
          </a:prstGeom>
        </p:spPr>
        <p:txBody>
          <a:bodyPr vert="horz" lIns="91129" tIns="45565" rIns="91129" bIns="45565" rtlCol="0" anchor="b"/>
          <a:lstStyle>
            <a:lvl1pPr algn="r">
              <a:defRPr sz="1200"/>
            </a:lvl1pPr>
          </a:lstStyle>
          <a:p>
            <a:fld id="{F887C20C-D25F-4803-9B8A-8B462065315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83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6875" y="693738"/>
            <a:ext cx="6156325" cy="3462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29" tIns="45565" rIns="91129" bIns="45565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151030" y="4387136"/>
            <a:ext cx="4652894" cy="4156234"/>
          </a:xfrm>
          <a:prstGeom prst="rect">
            <a:avLst/>
          </a:prstGeom>
        </p:spPr>
        <p:txBody>
          <a:bodyPr vert="horz" lIns="91129" tIns="45565" rIns="91129" bIns="45565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52696" y="8772668"/>
            <a:ext cx="1095771" cy="461804"/>
          </a:xfrm>
          <a:prstGeom prst="rect">
            <a:avLst/>
          </a:prstGeom>
        </p:spPr>
        <p:txBody>
          <a:bodyPr vert="horz" lIns="91129" tIns="45565" rIns="91129" bIns="45565" rtlCol="0" anchor="b"/>
          <a:lstStyle>
            <a:lvl1pPr algn="r">
              <a:defRPr sz="1200"/>
            </a:lvl1pPr>
          </a:lstStyle>
          <a:p>
            <a:fld id="{49BCF5B6-3243-4A32-AFA4-0C0A09D3E8D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07422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BCF5B6-3243-4A32-AFA4-0C0A09D3E8DF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62188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BCF5B6-3243-4A32-AFA4-0C0A09D3E8DF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2719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rp 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6"/>
          <p:cNvSpPr>
            <a:spLocks noGrp="1"/>
          </p:cNvSpPr>
          <p:nvPr>
            <p:ph type="title"/>
          </p:nvPr>
        </p:nvSpPr>
        <p:spPr>
          <a:xfrm>
            <a:off x="539750" y="379414"/>
            <a:ext cx="6965950" cy="594041"/>
          </a:xfrm>
          <a:prstGeom prst="rect">
            <a:avLst/>
          </a:prstGeom>
        </p:spPr>
        <p:txBody>
          <a:bodyPr lIns="0" bIns="0" anchor="b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8829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Mid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0"/>
            <a:ext cx="9141289" cy="5143499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5284584" y="4752498"/>
            <a:ext cx="3490913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ww.ashfieldhealthcare.com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40140" y="4685321"/>
            <a:ext cx="8433768" cy="0"/>
          </a:xfrm>
          <a:prstGeom prst="line">
            <a:avLst/>
          </a:prstGeom>
          <a:ln w="4191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340140" y="4751091"/>
            <a:ext cx="1497205" cy="276999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23F34E-4AA3-482A-94C8-D3E510BD7AA9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:  Part of UDG Healthcare pl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531813" y="1704975"/>
            <a:ext cx="4779962" cy="697941"/>
          </a:xfrm>
          <a:prstGeom prst="rect">
            <a:avLst/>
          </a:prstGeom>
        </p:spPr>
        <p:txBody>
          <a:bodyPr/>
          <a:lstStyle>
            <a:lvl1pPr>
              <a:defRPr kumimoji="0" lang="en-GB" sz="36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dit Master text style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31813" y="2403475"/>
            <a:ext cx="4962525" cy="661988"/>
          </a:xfrm>
          <a:prstGeom prst="rect">
            <a:avLst/>
          </a:prstGeom>
        </p:spPr>
        <p:txBody>
          <a:bodyPr/>
          <a:lstStyle>
            <a:lvl1pPr>
              <a:defRPr kumimoji="0" lang="en-GB" sz="2800" b="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r>
              <a:rPr lang="en-US" dirty="0"/>
              <a:t>Edit Master text styles</a:t>
            </a: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531813" y="3213100"/>
            <a:ext cx="4962525" cy="296454"/>
          </a:xfrm>
          <a:prstGeom prst="rect">
            <a:avLst/>
          </a:prstGeom>
        </p:spPr>
        <p:txBody>
          <a:bodyPr/>
          <a:lstStyle>
            <a:lvl1pPr>
              <a:defRPr kumimoji="0" lang="en-GB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None/>
              <a:tabLst/>
              <a:defRPr/>
            </a:pPr>
            <a:r>
              <a:rPr lang="en-US" dirty="0"/>
              <a:t>Edit Master text style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31813" y="3465874"/>
            <a:ext cx="5094287" cy="352425"/>
          </a:xfrm>
          <a:prstGeom prst="rect">
            <a:avLst/>
          </a:prstGeom>
        </p:spPr>
        <p:txBody>
          <a:bodyPr/>
          <a:lstStyle>
            <a:lvl1pPr>
              <a:defRPr kumimoji="0" lang="en-GB" sz="1400" b="0" i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None/>
              <a:tabLst/>
              <a:defRPr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2003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eep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5143499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5284584" y="4752498"/>
            <a:ext cx="3490913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ww.ashfieldhealthcare.com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40140" y="4685321"/>
            <a:ext cx="8433768" cy="0"/>
          </a:xfrm>
          <a:prstGeom prst="line">
            <a:avLst/>
          </a:prstGeom>
          <a:ln w="4191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340140" y="4751091"/>
            <a:ext cx="1497205" cy="276999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23F34E-4AA3-482A-94C8-D3E510BD7AA9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:  Part of UDG Healthcare pl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531813" y="1704975"/>
            <a:ext cx="4779962" cy="697941"/>
          </a:xfrm>
          <a:prstGeom prst="rect">
            <a:avLst/>
          </a:prstGeom>
        </p:spPr>
        <p:txBody>
          <a:bodyPr/>
          <a:lstStyle>
            <a:lvl1pPr>
              <a:defRPr kumimoji="0" lang="en-GB" sz="36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dit Master text style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31813" y="2403475"/>
            <a:ext cx="4962525" cy="661988"/>
          </a:xfrm>
          <a:prstGeom prst="rect">
            <a:avLst/>
          </a:prstGeom>
        </p:spPr>
        <p:txBody>
          <a:bodyPr/>
          <a:lstStyle>
            <a:lvl1pPr>
              <a:defRPr kumimoji="0" lang="en-GB" sz="2800" b="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r>
              <a:rPr lang="en-US" dirty="0"/>
              <a:t>Edit Master text styles</a:t>
            </a: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531813" y="3213100"/>
            <a:ext cx="4962525" cy="296454"/>
          </a:xfrm>
          <a:prstGeom prst="rect">
            <a:avLst/>
          </a:prstGeom>
        </p:spPr>
        <p:txBody>
          <a:bodyPr/>
          <a:lstStyle>
            <a:lvl1pPr>
              <a:defRPr kumimoji="0" lang="en-GB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None/>
              <a:tabLst/>
              <a:defRPr/>
            </a:pPr>
            <a:r>
              <a:rPr lang="en-US" dirty="0"/>
              <a:t>Edit Master text style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31813" y="3465874"/>
            <a:ext cx="5094287" cy="352425"/>
          </a:xfrm>
          <a:prstGeom prst="rect">
            <a:avLst/>
          </a:prstGeom>
        </p:spPr>
        <p:txBody>
          <a:bodyPr/>
          <a:lstStyle>
            <a:lvl1pPr>
              <a:defRPr kumimoji="0" lang="en-GB" sz="1400" b="0" i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None/>
              <a:tabLst/>
              <a:defRPr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269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0"/>
            <a:ext cx="9141289" cy="5143498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5284584" y="4752498"/>
            <a:ext cx="3490913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ww.ashfieldhealthcare.com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40140" y="4685321"/>
            <a:ext cx="8433768" cy="0"/>
          </a:xfrm>
          <a:prstGeom prst="line">
            <a:avLst/>
          </a:prstGeom>
          <a:ln w="4191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340140" y="4751091"/>
            <a:ext cx="1497205" cy="276999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23F34E-4AA3-482A-94C8-D3E510BD7AA9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:  Part of UDG Healthcare pl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531813" y="1704975"/>
            <a:ext cx="4779962" cy="697941"/>
          </a:xfrm>
          <a:prstGeom prst="rect">
            <a:avLst/>
          </a:prstGeom>
        </p:spPr>
        <p:txBody>
          <a:bodyPr/>
          <a:lstStyle>
            <a:lvl1pPr>
              <a:defRPr kumimoji="0" lang="en-GB" sz="36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dit Master text style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31813" y="2403475"/>
            <a:ext cx="4962525" cy="661988"/>
          </a:xfrm>
          <a:prstGeom prst="rect">
            <a:avLst/>
          </a:prstGeom>
        </p:spPr>
        <p:txBody>
          <a:bodyPr/>
          <a:lstStyle>
            <a:lvl1pPr>
              <a:defRPr kumimoji="0" lang="en-GB" sz="2800" b="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r>
              <a:rPr lang="en-US" dirty="0"/>
              <a:t>Edit Master text styles</a:t>
            </a: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531813" y="3213100"/>
            <a:ext cx="4962525" cy="296454"/>
          </a:xfrm>
          <a:prstGeom prst="rect">
            <a:avLst/>
          </a:prstGeom>
        </p:spPr>
        <p:txBody>
          <a:bodyPr/>
          <a:lstStyle>
            <a:lvl1pPr>
              <a:defRPr kumimoji="0" lang="en-GB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None/>
              <a:tabLst/>
              <a:defRPr/>
            </a:pPr>
            <a:r>
              <a:rPr lang="en-US" dirty="0"/>
              <a:t>Edit Master text style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31813" y="3465874"/>
            <a:ext cx="5094287" cy="352425"/>
          </a:xfrm>
          <a:prstGeom prst="rect">
            <a:avLst/>
          </a:prstGeom>
        </p:spPr>
        <p:txBody>
          <a:bodyPr/>
          <a:lstStyle>
            <a:lvl1pPr>
              <a:defRPr kumimoji="0" lang="en-GB" sz="1400" b="0" i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None/>
              <a:tabLst/>
              <a:defRPr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8589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596B12-E838-4B7D-90B4-9A0EE8065EA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539750" y="1095375"/>
            <a:ext cx="8027988" cy="3348038"/>
          </a:xfrm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6277598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DG 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7" name="Title 16"/>
          <p:cNvSpPr>
            <a:spLocks noGrp="1"/>
          </p:cNvSpPr>
          <p:nvPr>
            <p:ph type="title"/>
          </p:nvPr>
        </p:nvSpPr>
        <p:spPr>
          <a:xfrm>
            <a:off x="539750" y="370705"/>
            <a:ext cx="6965950" cy="569821"/>
          </a:xfrm>
          <a:prstGeom prst="rect">
            <a:avLst/>
          </a:prstGeom>
        </p:spPr>
        <p:txBody>
          <a:bodyPr lIns="0" bIns="0" anchor="b"/>
          <a:lstStyle>
            <a:lvl1pPr algn="l" defTabSz="622158" rtl="0" eaLnBrk="1" latinLnBrk="0" hangingPunct="1">
              <a:spcBef>
                <a:spcPct val="0"/>
              </a:spcBef>
              <a:buNone/>
              <a:defRPr lang="en-GB" sz="1800" b="0" i="0" kern="1200" spc="-82" baseline="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1164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rp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6"/>
          <p:cNvSpPr>
            <a:spLocks noGrp="1"/>
          </p:cNvSpPr>
          <p:nvPr>
            <p:ph type="title"/>
          </p:nvPr>
        </p:nvSpPr>
        <p:spPr>
          <a:xfrm>
            <a:off x="539750" y="379414"/>
            <a:ext cx="6965950" cy="594041"/>
          </a:xfrm>
          <a:prstGeom prst="rect">
            <a:avLst/>
          </a:prstGeom>
        </p:spPr>
        <p:txBody>
          <a:bodyPr lIns="0" bIns="0" anchor="b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39750" y="1187999"/>
            <a:ext cx="6965950" cy="32554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1353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rp Text and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/>
          <p:nvPr userDrawn="1"/>
        </p:nvCxnSpPr>
        <p:spPr>
          <a:xfrm>
            <a:off x="531814" y="4593431"/>
            <a:ext cx="8035925" cy="0"/>
          </a:xfrm>
          <a:prstGeom prst="line">
            <a:avLst/>
          </a:prstGeom>
          <a:ln w="4191">
            <a:solidFill>
              <a:srgbClr val="6262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6"/>
          <p:cNvSpPr>
            <a:spLocks noGrp="1"/>
          </p:cNvSpPr>
          <p:nvPr>
            <p:ph type="title"/>
          </p:nvPr>
        </p:nvSpPr>
        <p:spPr>
          <a:xfrm>
            <a:off x="539750" y="379414"/>
            <a:ext cx="6965950" cy="594041"/>
          </a:xfrm>
          <a:prstGeom prst="rect">
            <a:avLst/>
          </a:prstGeom>
        </p:spPr>
        <p:txBody>
          <a:bodyPr lIns="0" bIns="0" anchor="b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39749" y="1188000"/>
            <a:ext cx="3261541" cy="3255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997324" y="1187999"/>
            <a:ext cx="4570413" cy="32554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299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rp Text and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370364" y="4649352"/>
            <a:ext cx="313267" cy="22595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>
              <a:defRPr sz="1200" b="1">
                <a:solidFill>
                  <a:schemeClr val="tx2"/>
                </a:solidFill>
              </a:defRPr>
            </a:lvl1pPr>
          </a:lstStyle>
          <a:p>
            <a:pPr algn="r"/>
            <a:fld id="{79542E5F-DCDD-46FC-800C-BA94E3C63C5B}" type="slidenum">
              <a:rPr lang="en-GB" smtClean="0">
                <a:solidFill>
                  <a:srgbClr val="636359"/>
                </a:solidFill>
              </a:rPr>
              <a:pPr algn="r"/>
              <a:t>‹#›</a:t>
            </a:fld>
            <a:endParaRPr lang="en-GB" dirty="0">
              <a:solidFill>
                <a:srgbClr val="636359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31814" y="4593431"/>
            <a:ext cx="8035925" cy="0"/>
          </a:xfrm>
          <a:prstGeom prst="line">
            <a:avLst/>
          </a:prstGeom>
          <a:ln w="4191">
            <a:solidFill>
              <a:srgbClr val="6262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715513" y="4691029"/>
            <a:ext cx="1335174" cy="184666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r>
              <a:rPr lang="en-GB" sz="1200" dirty="0">
                <a:solidFill>
                  <a:srgbClr val="64645C"/>
                </a:solidFill>
              </a:rPr>
              <a:t>:  UDG Healthcare plc</a:t>
            </a:r>
          </a:p>
        </p:txBody>
      </p:sp>
      <p:sp>
        <p:nvSpPr>
          <p:cNvPr id="7" name="Title 16"/>
          <p:cNvSpPr>
            <a:spLocks noGrp="1"/>
          </p:cNvSpPr>
          <p:nvPr>
            <p:ph type="title"/>
          </p:nvPr>
        </p:nvSpPr>
        <p:spPr>
          <a:xfrm>
            <a:off x="539750" y="379414"/>
            <a:ext cx="6965950" cy="594041"/>
          </a:xfrm>
          <a:prstGeom prst="rect">
            <a:avLst/>
          </a:prstGeom>
        </p:spPr>
        <p:txBody>
          <a:bodyPr lIns="0" bIns="0" anchor="b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39749" y="1188000"/>
            <a:ext cx="3261541" cy="3255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3978275" y="1188000"/>
            <a:ext cx="4589463" cy="325541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78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arp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9750" y="1095375"/>
            <a:ext cx="4596130" cy="3348038"/>
          </a:xfrm>
          <a:prstGeom prst="rect">
            <a:avLst/>
          </a:prstGeom>
        </p:spPr>
        <p:txBody>
          <a:bodyPr wrap="square" lIns="0" rIns="0" anchor="t">
            <a:noAutofit/>
          </a:bodyPr>
          <a:lstStyle>
            <a:lvl1pPr marL="0" marR="0" indent="0" algn="l" defTabSz="622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 sz="1800" b="1" i="0" spc="-82" baseline="0">
                <a:solidFill>
                  <a:schemeClr val="bg1"/>
                </a:solidFill>
                <a:latin typeface="+mn-lt"/>
              </a:defRPr>
            </a:lvl1pPr>
            <a:lvl2pPr marL="3110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22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33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44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55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66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886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dd text here</a:t>
            </a:r>
          </a:p>
        </p:txBody>
      </p:sp>
    </p:spTree>
    <p:extLst>
      <p:ext uri="{BB962C8B-B14F-4D97-AF65-F5344CB8AC3E}">
        <p14:creationId xmlns:p14="http://schemas.microsoft.com/office/powerpoint/2010/main" val="1730441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arp title only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7" name="Title 16"/>
          <p:cNvSpPr>
            <a:spLocks noGrp="1"/>
          </p:cNvSpPr>
          <p:nvPr>
            <p:ph type="title"/>
          </p:nvPr>
        </p:nvSpPr>
        <p:spPr>
          <a:xfrm>
            <a:off x="539750" y="379414"/>
            <a:ext cx="6965950" cy="388029"/>
          </a:xfrm>
          <a:prstGeom prst="rect">
            <a:avLst/>
          </a:prstGeom>
        </p:spPr>
        <p:txBody>
          <a:bodyPr lIns="0" bIns="0" anchor="b"/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284584" y="4752498"/>
            <a:ext cx="3490913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ww.sharpservices.com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896" y="4685321"/>
            <a:ext cx="8101012" cy="0"/>
          </a:xfrm>
          <a:prstGeom prst="line">
            <a:avLst/>
          </a:prstGeom>
          <a:ln w="4191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663412" y="4751091"/>
            <a:ext cx="1497205" cy="276999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23F34E-4AA3-482A-94C8-D3E510BD7AA9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:  Part of UDG Healthcare pl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8776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5143499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5284584" y="4752498"/>
            <a:ext cx="3490913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ww.ashfieldhealthcare.com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40140" y="4685321"/>
            <a:ext cx="8433768" cy="0"/>
          </a:xfrm>
          <a:prstGeom prst="line">
            <a:avLst/>
          </a:prstGeom>
          <a:ln w="4191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340140" y="4751091"/>
            <a:ext cx="1497205" cy="276999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23F34E-4AA3-482A-94C8-D3E510BD7AA9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:  Part of UDG Healthcare pl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531813" y="1704975"/>
            <a:ext cx="4779962" cy="697941"/>
          </a:xfrm>
          <a:prstGeom prst="rect">
            <a:avLst/>
          </a:prstGeom>
        </p:spPr>
        <p:txBody>
          <a:bodyPr/>
          <a:lstStyle>
            <a:lvl1pPr>
              <a:defRPr kumimoji="0" lang="en-GB" sz="36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dit Master text style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31813" y="2403475"/>
            <a:ext cx="4962525" cy="661988"/>
          </a:xfrm>
          <a:prstGeom prst="rect">
            <a:avLst/>
          </a:prstGeom>
        </p:spPr>
        <p:txBody>
          <a:bodyPr/>
          <a:lstStyle>
            <a:lvl1pPr>
              <a:defRPr kumimoji="0" lang="en-GB" sz="2800" b="0" i="1" u="none" strike="noStrike" kern="1200" cap="none" spc="0" normalizeH="0" baseline="0" dirty="0">
                <a:ln>
                  <a:noFill/>
                </a:ln>
                <a:solidFill>
                  <a:srgbClr val="004050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r>
              <a:rPr lang="en-US" dirty="0"/>
              <a:t>Edit Master text styles</a:t>
            </a: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531813" y="3213100"/>
            <a:ext cx="4962525" cy="296454"/>
          </a:xfrm>
          <a:prstGeom prst="rect">
            <a:avLst/>
          </a:prstGeom>
        </p:spPr>
        <p:txBody>
          <a:bodyPr/>
          <a:lstStyle>
            <a:lvl1pPr>
              <a:defRPr kumimoji="0" lang="en-GB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None/>
              <a:tabLst/>
              <a:defRPr/>
            </a:pPr>
            <a:r>
              <a:rPr lang="en-US" dirty="0"/>
              <a:t>Edit Master text style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31813" y="3465874"/>
            <a:ext cx="5094287" cy="352425"/>
          </a:xfrm>
          <a:prstGeom prst="rect">
            <a:avLst/>
          </a:prstGeom>
        </p:spPr>
        <p:txBody>
          <a:bodyPr/>
          <a:lstStyle>
            <a:lvl1pPr>
              <a:defRPr kumimoji="0" lang="en-GB" sz="1400" b="0" i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None/>
              <a:tabLst/>
              <a:defRPr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221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514350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5284584" y="4752498"/>
            <a:ext cx="3490913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ww.ashfieldhealthcare.com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40140" y="4685321"/>
            <a:ext cx="8433768" cy="0"/>
          </a:xfrm>
          <a:prstGeom prst="line">
            <a:avLst/>
          </a:prstGeom>
          <a:ln w="4191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340140" y="4751091"/>
            <a:ext cx="1497205" cy="276999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23F34E-4AA3-482A-94C8-D3E510BD7AA9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:  Part of UDG Healthcare pl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531813" y="1704975"/>
            <a:ext cx="4779962" cy="697941"/>
          </a:xfrm>
          <a:prstGeom prst="rect">
            <a:avLst/>
          </a:prstGeom>
        </p:spPr>
        <p:txBody>
          <a:bodyPr/>
          <a:lstStyle>
            <a:lvl1pPr>
              <a:defRPr kumimoji="0" lang="en-GB" sz="36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dit Master text style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31813" y="2403475"/>
            <a:ext cx="4962525" cy="661988"/>
          </a:xfrm>
          <a:prstGeom prst="rect">
            <a:avLst/>
          </a:prstGeom>
        </p:spPr>
        <p:txBody>
          <a:bodyPr/>
          <a:lstStyle>
            <a:lvl1pPr>
              <a:defRPr kumimoji="0" lang="en-GB" sz="2800" b="0" i="1" u="none" strike="noStrike" kern="1200" cap="none" spc="0" normalizeH="0" baseline="0" dirty="0">
                <a:ln>
                  <a:noFill/>
                </a:ln>
                <a:solidFill>
                  <a:srgbClr val="004050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r>
              <a:rPr lang="en-US" dirty="0"/>
              <a:t>Edit Master text styles</a:t>
            </a: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531813" y="3213100"/>
            <a:ext cx="4962525" cy="296454"/>
          </a:xfrm>
          <a:prstGeom prst="rect">
            <a:avLst/>
          </a:prstGeom>
        </p:spPr>
        <p:txBody>
          <a:bodyPr/>
          <a:lstStyle>
            <a:lvl1pPr>
              <a:defRPr kumimoji="0" lang="en-GB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None/>
              <a:tabLst/>
              <a:defRPr/>
            </a:pPr>
            <a:r>
              <a:rPr lang="en-US" dirty="0"/>
              <a:t>Edit Master text style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31813" y="3465874"/>
            <a:ext cx="5094287" cy="352425"/>
          </a:xfrm>
          <a:prstGeom prst="rect">
            <a:avLst/>
          </a:prstGeom>
        </p:spPr>
        <p:txBody>
          <a:bodyPr/>
          <a:lstStyle>
            <a:lvl1pPr>
              <a:defRPr kumimoji="0" lang="en-GB" sz="1400" b="0" i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itchFamily="34" charset="0"/>
              <a:buNone/>
              <a:tabLst/>
              <a:defRPr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1269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5284584" y="4752498"/>
            <a:ext cx="3490913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ww.sharpservices.com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72896" y="4685321"/>
            <a:ext cx="8101012" cy="0"/>
          </a:xfrm>
          <a:prstGeom prst="line">
            <a:avLst/>
          </a:prstGeom>
          <a:ln w="4191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663412" y="4751091"/>
            <a:ext cx="1497205" cy="276999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23F34E-4AA3-482A-94C8-D3E510BD7AA9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:  Part of UDG Healthcare pl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8263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22158" rtl="0" eaLnBrk="1" latinLnBrk="0" hangingPunct="1">
        <a:spcBef>
          <a:spcPct val="0"/>
        </a:spcBef>
        <a:buNone/>
        <a:defRPr sz="2800" b="0" i="0" kern="1200" spc="-82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622158" rtl="0" eaLnBrk="1" latinLnBrk="0" hangingPunct="1">
        <a:lnSpc>
          <a:spcPct val="100000"/>
        </a:lnSpc>
        <a:spcBef>
          <a:spcPts val="544"/>
        </a:spcBef>
        <a:buSzPct val="75000"/>
        <a:buFontTx/>
        <a:buNone/>
        <a:defRPr sz="1800" kern="1200" spc="-41" baseline="0">
          <a:solidFill>
            <a:schemeClr val="tx2"/>
          </a:solidFill>
          <a:latin typeface="+mn-lt"/>
          <a:ea typeface="+mn-ea"/>
          <a:cs typeface="+mn-cs"/>
        </a:defRPr>
      </a:lvl1pPr>
      <a:lvl2pPr marL="195263" indent="-195263" algn="l" defTabSz="622158" rtl="0" eaLnBrk="1" latinLnBrk="0" hangingPunct="1">
        <a:lnSpc>
          <a:spcPct val="100000"/>
        </a:lnSpc>
        <a:spcBef>
          <a:spcPts val="272"/>
        </a:spcBef>
        <a:buClr>
          <a:schemeClr val="tx2"/>
        </a:buClr>
        <a:buFont typeface="Arial" charset="0"/>
        <a:buChar char="•"/>
        <a:tabLst/>
        <a:defRPr sz="1800" kern="1200" spc="-41" baseline="0">
          <a:solidFill>
            <a:schemeClr val="tx2"/>
          </a:solidFill>
          <a:latin typeface="+mn-lt"/>
          <a:ea typeface="+mn-ea"/>
          <a:cs typeface="+mn-cs"/>
        </a:defRPr>
      </a:lvl2pPr>
      <a:lvl3pPr marL="6350" indent="0" algn="l" defTabSz="622158" rtl="0" eaLnBrk="1" latinLnBrk="0" hangingPunct="1">
        <a:lnSpc>
          <a:spcPct val="100000"/>
        </a:lnSpc>
        <a:spcBef>
          <a:spcPts val="272"/>
        </a:spcBef>
        <a:buClr>
          <a:schemeClr val="accent1"/>
        </a:buClr>
        <a:buFontTx/>
        <a:buNone/>
        <a:tabLst/>
        <a:defRPr sz="1400" kern="1200" spc="-41" baseline="0">
          <a:solidFill>
            <a:schemeClr val="tx2"/>
          </a:solidFill>
          <a:latin typeface="+mn-lt"/>
          <a:ea typeface="+mn-ea"/>
          <a:cs typeface="+mn-cs"/>
        </a:defRPr>
      </a:lvl3pPr>
      <a:lvl4pPr marL="161925" indent="-161925" algn="l" defTabSz="622158" rtl="0" eaLnBrk="1" latinLnBrk="0" hangingPunct="1">
        <a:lnSpc>
          <a:spcPct val="100000"/>
        </a:lnSpc>
        <a:spcBef>
          <a:spcPts val="272"/>
        </a:spcBef>
        <a:buClr>
          <a:schemeClr val="tx2"/>
        </a:buClr>
        <a:buFont typeface="Arial" charset="0"/>
        <a:buChar char="•"/>
        <a:tabLst/>
        <a:defRPr sz="1400" kern="1200" spc="-41" baseline="0">
          <a:solidFill>
            <a:schemeClr val="tx2"/>
          </a:solidFill>
          <a:latin typeface="+mn-lt"/>
          <a:ea typeface="+mn-ea"/>
          <a:cs typeface="+mn-cs"/>
        </a:defRPr>
      </a:lvl4pPr>
      <a:lvl5pPr marL="6350" indent="0" algn="l" defTabSz="622158" rtl="0" eaLnBrk="1" latinLnBrk="0" hangingPunct="1">
        <a:lnSpc>
          <a:spcPct val="100000"/>
        </a:lnSpc>
        <a:spcBef>
          <a:spcPts val="272"/>
        </a:spcBef>
        <a:buClr>
          <a:schemeClr val="accent1"/>
        </a:buClr>
        <a:buFontTx/>
        <a:buNone/>
        <a:tabLst/>
        <a:defRPr sz="1200" kern="1200" spc="-41" baseline="0">
          <a:solidFill>
            <a:schemeClr val="tx2"/>
          </a:solidFill>
          <a:latin typeface="+mn-lt"/>
          <a:ea typeface="+mn-ea"/>
          <a:cs typeface="+mn-cs"/>
        </a:defRPr>
      </a:lvl5pPr>
      <a:lvl6pPr marL="1710934" indent="-155539" algn="l" defTabSz="622158" rtl="0" eaLnBrk="1" latinLnBrk="0" hangingPunct="1">
        <a:spcBef>
          <a:spcPct val="20000"/>
        </a:spcBef>
        <a:buFont typeface="Arial" pitchFamily="34" charset="0"/>
        <a:buChar char="•"/>
        <a:defRPr sz="1361" kern="1200">
          <a:solidFill>
            <a:schemeClr val="tx1"/>
          </a:solidFill>
          <a:latin typeface="+mn-lt"/>
          <a:ea typeface="+mn-ea"/>
          <a:cs typeface="+mn-cs"/>
        </a:defRPr>
      </a:lvl6pPr>
      <a:lvl7pPr marL="2022013" indent="-155539" algn="l" defTabSz="622158" rtl="0" eaLnBrk="1" latinLnBrk="0" hangingPunct="1">
        <a:spcBef>
          <a:spcPct val="20000"/>
        </a:spcBef>
        <a:buFont typeface="Arial" pitchFamily="34" charset="0"/>
        <a:buChar char="•"/>
        <a:defRPr sz="1361" kern="1200">
          <a:solidFill>
            <a:schemeClr val="tx1"/>
          </a:solidFill>
          <a:latin typeface="+mn-lt"/>
          <a:ea typeface="+mn-ea"/>
          <a:cs typeface="+mn-cs"/>
        </a:defRPr>
      </a:lvl7pPr>
      <a:lvl8pPr marL="2333092" indent="-155539" algn="l" defTabSz="622158" rtl="0" eaLnBrk="1" latinLnBrk="0" hangingPunct="1">
        <a:spcBef>
          <a:spcPct val="20000"/>
        </a:spcBef>
        <a:buFont typeface="Arial" pitchFamily="34" charset="0"/>
        <a:buChar char="•"/>
        <a:defRPr sz="1361" kern="1200">
          <a:solidFill>
            <a:schemeClr val="tx1"/>
          </a:solidFill>
          <a:latin typeface="+mn-lt"/>
          <a:ea typeface="+mn-ea"/>
          <a:cs typeface="+mn-cs"/>
        </a:defRPr>
      </a:lvl8pPr>
      <a:lvl9pPr marL="2644170" indent="-155539" algn="l" defTabSz="622158" rtl="0" eaLnBrk="1" latinLnBrk="0" hangingPunct="1">
        <a:spcBef>
          <a:spcPct val="20000"/>
        </a:spcBef>
        <a:buFont typeface="Arial" pitchFamily="34" charset="0"/>
        <a:buChar char="•"/>
        <a:defRPr sz="13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22158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1pPr>
      <a:lvl2pPr marL="311079" algn="l" defTabSz="622158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2pPr>
      <a:lvl3pPr marL="622158" algn="l" defTabSz="622158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3pPr>
      <a:lvl4pPr marL="933237" algn="l" defTabSz="622158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4pPr>
      <a:lvl5pPr marL="1244316" algn="l" defTabSz="622158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5pPr>
      <a:lvl6pPr marL="1555394" algn="l" defTabSz="622158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6pPr>
      <a:lvl7pPr marL="1866473" algn="l" defTabSz="622158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7pPr>
      <a:lvl8pPr marL="2177552" algn="l" defTabSz="622158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8pPr>
      <a:lvl9pPr marL="2488631" algn="l" defTabSz="622158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397">
          <p15:clr>
            <a:srgbClr val="F26B43"/>
          </p15:clr>
        </p15:guide>
        <p15:guide id="5" orient="horz" pos="690">
          <p15:clr>
            <a:srgbClr val="F26B43"/>
          </p15:clr>
        </p15:guide>
        <p15:guide id="6" orient="horz" pos="2799">
          <p15:clr>
            <a:srgbClr val="F26B43"/>
          </p15:clr>
        </p15:guide>
        <p15:guide id="7" orient="horz" pos="55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png"/><Relationship Id="rId12" Type="http://schemas.microsoft.com/office/2007/relationships/hdphoto" Target="../media/hdphoto1.wdp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jpeg"/><Relationship Id="rId10" Type="http://schemas.openxmlformats.org/officeDocument/2006/relationships/image" Target="../media/image16.png"/><Relationship Id="rId4" Type="http://schemas.openxmlformats.org/officeDocument/2006/relationships/image" Target="../media/image10.jpeg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455668" y="1394919"/>
            <a:ext cx="7898623" cy="2449717"/>
          </a:xfrm>
        </p:spPr>
        <p:txBody>
          <a:bodyPr/>
          <a:lstStyle/>
          <a:p>
            <a:r>
              <a:rPr lang="en-GB" sz="2800" dirty="0"/>
              <a:t>Sharp </a:t>
            </a:r>
            <a:r>
              <a:rPr lang="en-GB" sz="2800" dirty="0" smtClean="0"/>
              <a:t>Services UK</a:t>
            </a:r>
            <a:endParaRPr lang="en-GB" sz="2800" dirty="0"/>
          </a:p>
          <a:p>
            <a:endParaRPr lang="en-GB" sz="2800" dirty="0" smtClean="0"/>
          </a:p>
          <a:p>
            <a:r>
              <a:rPr lang="en-GB" sz="2800" dirty="0" smtClean="0"/>
              <a:t>Brexit Implications</a:t>
            </a:r>
          </a:p>
          <a:p>
            <a:endParaRPr lang="en-GB" sz="2800" dirty="0"/>
          </a:p>
          <a:p>
            <a:r>
              <a:rPr lang="en-GB" sz="2800" dirty="0" smtClean="0"/>
              <a:t>Ian Morgan, General Manager  24</a:t>
            </a:r>
            <a:r>
              <a:rPr lang="en-GB" sz="2800" baseline="30000" dirty="0" smtClean="0"/>
              <a:t>th</a:t>
            </a:r>
            <a:r>
              <a:rPr lang="en-GB" sz="2800" dirty="0" smtClean="0"/>
              <a:t> October 2019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3696002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roup 18">
            <a:extLst>
              <a:ext uri="{FF2B5EF4-FFF2-40B4-BE49-F238E27FC236}">
                <a16:creationId xmlns:a16="http://schemas.microsoft.com/office/drawing/2014/main" id="{91A4E2BE-F3BD-40A0-8E28-A50186F99CB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84514" y="517414"/>
            <a:ext cx="8457864" cy="4072005"/>
            <a:chOff x="2009" y="1632"/>
            <a:chExt cx="2721" cy="1498"/>
          </a:xfrm>
          <a:solidFill>
            <a:schemeClr val="accent2">
              <a:lumMod val="20000"/>
              <a:lumOff val="80000"/>
            </a:schemeClr>
          </a:solidFill>
        </p:grpSpPr>
        <p:grpSp>
          <p:nvGrpSpPr>
            <p:cNvPr id="58" name="Group 219">
              <a:extLst>
                <a:ext uri="{FF2B5EF4-FFF2-40B4-BE49-F238E27FC236}">
                  <a16:creationId xmlns:a16="http://schemas.microsoft.com/office/drawing/2014/main" id="{39DD34CE-D0BE-4923-A3D5-570FC98EEF1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17" y="1661"/>
              <a:ext cx="2713" cy="1371"/>
              <a:chOff x="2017" y="1661"/>
              <a:chExt cx="2713" cy="1371"/>
            </a:xfrm>
            <a:grpFill/>
          </p:grpSpPr>
          <p:sp>
            <p:nvSpPr>
              <p:cNvPr id="184" name="Freeform 19">
                <a:extLst>
                  <a:ext uri="{FF2B5EF4-FFF2-40B4-BE49-F238E27FC236}">
                    <a16:creationId xmlns:a16="http://schemas.microsoft.com/office/drawing/2014/main" id="{C5015135-2D8E-45A8-BA5F-01281FF347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" y="2074"/>
                <a:ext cx="7" cy="9"/>
              </a:xfrm>
              <a:custGeom>
                <a:avLst/>
                <a:gdLst>
                  <a:gd name="T0" fmla="*/ 2 w 3"/>
                  <a:gd name="T1" fmla="*/ 0 h 4"/>
                  <a:gd name="T2" fmla="*/ 2 w 3"/>
                  <a:gd name="T3" fmla="*/ 0 h 4"/>
                  <a:gd name="T4" fmla="*/ 2 w 3"/>
                  <a:gd name="T5" fmla="*/ 1 h 4"/>
                  <a:gd name="T6" fmla="*/ 1 w 3"/>
                  <a:gd name="T7" fmla="*/ 2 h 4"/>
                  <a:gd name="T8" fmla="*/ 1 w 3"/>
                  <a:gd name="T9" fmla="*/ 2 h 4"/>
                  <a:gd name="T10" fmla="*/ 0 w 3"/>
                  <a:gd name="T11" fmla="*/ 2 h 4"/>
                  <a:gd name="T12" fmla="*/ 0 w 3"/>
                  <a:gd name="T13" fmla="*/ 2 h 4"/>
                  <a:gd name="T14" fmla="*/ 0 w 3"/>
                  <a:gd name="T15" fmla="*/ 3 h 4"/>
                  <a:gd name="T16" fmla="*/ 0 w 3"/>
                  <a:gd name="T17" fmla="*/ 3 h 4"/>
                  <a:gd name="T18" fmla="*/ 0 w 3"/>
                  <a:gd name="T19" fmla="*/ 4 h 4"/>
                  <a:gd name="T20" fmla="*/ 0 w 3"/>
                  <a:gd name="T21" fmla="*/ 4 h 4"/>
                  <a:gd name="T22" fmla="*/ 1 w 3"/>
                  <a:gd name="T23" fmla="*/ 4 h 4"/>
                  <a:gd name="T24" fmla="*/ 1 w 3"/>
                  <a:gd name="T25" fmla="*/ 3 h 4"/>
                  <a:gd name="T26" fmla="*/ 1 w 3"/>
                  <a:gd name="T27" fmla="*/ 3 h 4"/>
                  <a:gd name="T28" fmla="*/ 2 w 3"/>
                  <a:gd name="T29" fmla="*/ 3 h 4"/>
                  <a:gd name="T30" fmla="*/ 2 w 3"/>
                  <a:gd name="T31" fmla="*/ 3 h 4"/>
                  <a:gd name="T32" fmla="*/ 2 w 3"/>
                  <a:gd name="T33" fmla="*/ 2 h 4"/>
                  <a:gd name="T34" fmla="*/ 3 w 3"/>
                  <a:gd name="T35" fmla="*/ 1 h 4"/>
                  <a:gd name="T36" fmla="*/ 3 w 3"/>
                  <a:gd name="T37" fmla="*/ 1 h 4"/>
                  <a:gd name="T38" fmla="*/ 3 w 3"/>
                  <a:gd name="T39" fmla="*/ 1 h 4"/>
                  <a:gd name="T40" fmla="*/ 3 w 3"/>
                  <a:gd name="T41" fmla="*/ 0 h 4"/>
                  <a:gd name="T42" fmla="*/ 2 w 3"/>
                  <a:gd name="T4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1" y="4"/>
                    </a:cubicBezTo>
                    <a:cubicBezTo>
                      <a:pt x="1" y="4"/>
                      <a:pt x="1" y="4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2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85" name="Freeform 20">
                <a:extLst>
                  <a:ext uri="{FF2B5EF4-FFF2-40B4-BE49-F238E27FC236}">
                    <a16:creationId xmlns:a16="http://schemas.microsoft.com/office/drawing/2014/main" id="{2AC73872-D805-417D-AC9B-B5971CFE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2" y="2071"/>
                <a:ext cx="5" cy="5"/>
              </a:xfrm>
              <a:custGeom>
                <a:avLst/>
                <a:gdLst>
                  <a:gd name="T0" fmla="*/ 1 w 2"/>
                  <a:gd name="T1" fmla="*/ 1 h 2"/>
                  <a:gd name="T2" fmla="*/ 1 w 2"/>
                  <a:gd name="T3" fmla="*/ 1 h 2"/>
                  <a:gd name="T4" fmla="*/ 1 w 2"/>
                  <a:gd name="T5" fmla="*/ 1 h 2"/>
                  <a:gd name="T6" fmla="*/ 1 w 2"/>
                  <a:gd name="T7" fmla="*/ 1 h 2"/>
                  <a:gd name="T8" fmla="*/ 1 w 2"/>
                  <a:gd name="T9" fmla="*/ 0 h 2"/>
                  <a:gd name="T10" fmla="*/ 0 w 2"/>
                  <a:gd name="T11" fmla="*/ 1 h 2"/>
                  <a:gd name="T12" fmla="*/ 0 w 2"/>
                  <a:gd name="T13" fmla="*/ 1 h 2"/>
                  <a:gd name="T14" fmla="*/ 0 w 2"/>
                  <a:gd name="T15" fmla="*/ 1 h 2"/>
                  <a:gd name="T16" fmla="*/ 0 w 2"/>
                  <a:gd name="T17" fmla="*/ 2 h 2"/>
                  <a:gd name="T18" fmla="*/ 1 w 2"/>
                  <a:gd name="T19" fmla="*/ 2 h 2"/>
                  <a:gd name="T20" fmla="*/ 1 w 2"/>
                  <a:gd name="T2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2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2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86" name="Freeform 21">
                <a:extLst>
                  <a:ext uri="{FF2B5EF4-FFF2-40B4-BE49-F238E27FC236}">
                    <a16:creationId xmlns:a16="http://schemas.microsoft.com/office/drawing/2014/main" id="{83950847-2DB0-434B-BCBE-E1DA1F5625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1" y="2033"/>
                <a:ext cx="24" cy="95"/>
              </a:xfrm>
              <a:custGeom>
                <a:avLst/>
                <a:gdLst>
                  <a:gd name="T0" fmla="*/ 1 w 10"/>
                  <a:gd name="T1" fmla="*/ 13 h 40"/>
                  <a:gd name="T2" fmla="*/ 2 w 10"/>
                  <a:gd name="T3" fmla="*/ 17 h 40"/>
                  <a:gd name="T4" fmla="*/ 2 w 10"/>
                  <a:gd name="T5" fmla="*/ 25 h 40"/>
                  <a:gd name="T6" fmla="*/ 2 w 10"/>
                  <a:gd name="T7" fmla="*/ 31 h 40"/>
                  <a:gd name="T8" fmla="*/ 2 w 10"/>
                  <a:gd name="T9" fmla="*/ 35 h 40"/>
                  <a:gd name="T10" fmla="*/ 1 w 10"/>
                  <a:gd name="T11" fmla="*/ 39 h 40"/>
                  <a:gd name="T12" fmla="*/ 3 w 10"/>
                  <a:gd name="T13" fmla="*/ 36 h 40"/>
                  <a:gd name="T14" fmla="*/ 4 w 10"/>
                  <a:gd name="T15" fmla="*/ 36 h 40"/>
                  <a:gd name="T16" fmla="*/ 6 w 10"/>
                  <a:gd name="T17" fmla="*/ 38 h 40"/>
                  <a:gd name="T18" fmla="*/ 6 w 10"/>
                  <a:gd name="T19" fmla="*/ 39 h 40"/>
                  <a:gd name="T20" fmla="*/ 7 w 10"/>
                  <a:gd name="T21" fmla="*/ 37 h 40"/>
                  <a:gd name="T22" fmla="*/ 6 w 10"/>
                  <a:gd name="T23" fmla="*/ 35 h 40"/>
                  <a:gd name="T24" fmla="*/ 5 w 10"/>
                  <a:gd name="T25" fmla="*/ 35 h 40"/>
                  <a:gd name="T26" fmla="*/ 4 w 10"/>
                  <a:gd name="T27" fmla="*/ 33 h 40"/>
                  <a:gd name="T28" fmla="*/ 4 w 10"/>
                  <a:gd name="T29" fmla="*/ 30 h 40"/>
                  <a:gd name="T30" fmla="*/ 5 w 10"/>
                  <a:gd name="T31" fmla="*/ 25 h 40"/>
                  <a:gd name="T32" fmla="*/ 6 w 10"/>
                  <a:gd name="T33" fmla="*/ 24 h 40"/>
                  <a:gd name="T34" fmla="*/ 8 w 10"/>
                  <a:gd name="T35" fmla="*/ 24 h 40"/>
                  <a:gd name="T36" fmla="*/ 10 w 10"/>
                  <a:gd name="T37" fmla="*/ 27 h 40"/>
                  <a:gd name="T38" fmla="*/ 9 w 10"/>
                  <a:gd name="T39" fmla="*/ 24 h 40"/>
                  <a:gd name="T40" fmla="*/ 8 w 10"/>
                  <a:gd name="T41" fmla="*/ 22 h 40"/>
                  <a:gd name="T42" fmla="*/ 7 w 10"/>
                  <a:gd name="T43" fmla="*/ 15 h 40"/>
                  <a:gd name="T44" fmla="*/ 5 w 10"/>
                  <a:gd name="T45" fmla="*/ 13 h 40"/>
                  <a:gd name="T46" fmla="*/ 5 w 10"/>
                  <a:gd name="T47" fmla="*/ 12 h 40"/>
                  <a:gd name="T48" fmla="*/ 5 w 10"/>
                  <a:gd name="T49" fmla="*/ 11 h 40"/>
                  <a:gd name="T50" fmla="*/ 6 w 10"/>
                  <a:gd name="T51" fmla="*/ 9 h 40"/>
                  <a:gd name="T52" fmla="*/ 6 w 10"/>
                  <a:gd name="T53" fmla="*/ 7 h 40"/>
                  <a:gd name="T54" fmla="*/ 5 w 10"/>
                  <a:gd name="T55" fmla="*/ 5 h 40"/>
                  <a:gd name="T56" fmla="*/ 5 w 10"/>
                  <a:gd name="T57" fmla="*/ 4 h 40"/>
                  <a:gd name="T58" fmla="*/ 5 w 10"/>
                  <a:gd name="T59" fmla="*/ 3 h 40"/>
                  <a:gd name="T60" fmla="*/ 5 w 10"/>
                  <a:gd name="T61" fmla="*/ 2 h 40"/>
                  <a:gd name="T62" fmla="*/ 5 w 10"/>
                  <a:gd name="T63" fmla="*/ 1 h 40"/>
                  <a:gd name="T64" fmla="*/ 4 w 10"/>
                  <a:gd name="T65" fmla="*/ 0 h 40"/>
                  <a:gd name="T66" fmla="*/ 3 w 10"/>
                  <a:gd name="T67" fmla="*/ 0 h 40"/>
                  <a:gd name="T68" fmla="*/ 4 w 10"/>
                  <a:gd name="T69" fmla="*/ 1 h 40"/>
                  <a:gd name="T70" fmla="*/ 3 w 10"/>
                  <a:gd name="T71" fmla="*/ 3 h 40"/>
                  <a:gd name="T72" fmla="*/ 3 w 10"/>
                  <a:gd name="T73" fmla="*/ 5 h 40"/>
                  <a:gd name="T74" fmla="*/ 2 w 10"/>
                  <a:gd name="T75" fmla="*/ 4 h 40"/>
                  <a:gd name="T76" fmla="*/ 1 w 10"/>
                  <a:gd name="T77" fmla="*/ 7 h 40"/>
                  <a:gd name="T78" fmla="*/ 1 w 10"/>
                  <a:gd name="T79" fmla="*/ 1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0" h="40">
                    <a:moveTo>
                      <a:pt x="1" y="11"/>
                    </a:moveTo>
                    <a:cubicBezTo>
                      <a:pt x="1" y="12"/>
                      <a:pt x="1" y="12"/>
                      <a:pt x="1" y="13"/>
                    </a:cubicBezTo>
                    <a:cubicBezTo>
                      <a:pt x="1" y="13"/>
                      <a:pt x="2" y="14"/>
                      <a:pt x="2" y="14"/>
                    </a:cubicBezTo>
                    <a:cubicBezTo>
                      <a:pt x="3" y="14"/>
                      <a:pt x="2" y="16"/>
                      <a:pt x="2" y="17"/>
                    </a:cubicBezTo>
                    <a:cubicBezTo>
                      <a:pt x="2" y="17"/>
                      <a:pt x="1" y="18"/>
                      <a:pt x="2" y="19"/>
                    </a:cubicBezTo>
                    <a:cubicBezTo>
                      <a:pt x="3" y="20"/>
                      <a:pt x="2" y="24"/>
                      <a:pt x="2" y="25"/>
                    </a:cubicBezTo>
                    <a:cubicBezTo>
                      <a:pt x="2" y="26"/>
                      <a:pt x="0" y="26"/>
                      <a:pt x="2" y="28"/>
                    </a:cubicBezTo>
                    <a:cubicBezTo>
                      <a:pt x="3" y="30"/>
                      <a:pt x="2" y="29"/>
                      <a:pt x="2" y="31"/>
                    </a:cubicBezTo>
                    <a:cubicBezTo>
                      <a:pt x="1" y="32"/>
                      <a:pt x="1" y="32"/>
                      <a:pt x="1" y="33"/>
                    </a:cubicBezTo>
                    <a:cubicBezTo>
                      <a:pt x="1" y="34"/>
                      <a:pt x="2" y="33"/>
                      <a:pt x="2" y="35"/>
                    </a:cubicBezTo>
                    <a:cubicBezTo>
                      <a:pt x="2" y="36"/>
                      <a:pt x="1" y="35"/>
                      <a:pt x="1" y="36"/>
                    </a:cubicBezTo>
                    <a:cubicBezTo>
                      <a:pt x="1" y="36"/>
                      <a:pt x="1" y="38"/>
                      <a:pt x="1" y="39"/>
                    </a:cubicBezTo>
                    <a:cubicBezTo>
                      <a:pt x="1" y="39"/>
                      <a:pt x="2" y="40"/>
                      <a:pt x="2" y="39"/>
                    </a:cubicBezTo>
                    <a:cubicBezTo>
                      <a:pt x="2" y="39"/>
                      <a:pt x="3" y="37"/>
                      <a:pt x="3" y="36"/>
                    </a:cubicBezTo>
                    <a:cubicBezTo>
                      <a:pt x="3" y="36"/>
                      <a:pt x="3" y="36"/>
                      <a:pt x="4" y="3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4" y="36"/>
                      <a:pt x="5" y="37"/>
                      <a:pt x="5" y="37"/>
                    </a:cubicBezTo>
                    <a:cubicBezTo>
                      <a:pt x="5" y="37"/>
                      <a:pt x="6" y="38"/>
                      <a:pt x="6" y="38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6" y="39"/>
                      <a:pt x="6" y="39"/>
                      <a:pt x="6" y="39"/>
                    </a:cubicBezTo>
                    <a:cubicBezTo>
                      <a:pt x="7" y="38"/>
                      <a:pt x="7" y="38"/>
                      <a:pt x="7" y="38"/>
                    </a:cubicBezTo>
                    <a:cubicBezTo>
                      <a:pt x="7" y="38"/>
                      <a:pt x="7" y="37"/>
                      <a:pt x="7" y="37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6" y="36"/>
                      <a:pt x="6" y="35"/>
                      <a:pt x="6" y="35"/>
                    </a:cubicBezTo>
                    <a:cubicBezTo>
                      <a:pt x="5" y="35"/>
                      <a:pt x="5" y="35"/>
                      <a:pt x="5" y="35"/>
                    </a:cubicBezTo>
                    <a:cubicBezTo>
                      <a:pt x="5" y="35"/>
                      <a:pt x="5" y="35"/>
                      <a:pt x="5" y="35"/>
                    </a:cubicBezTo>
                    <a:cubicBezTo>
                      <a:pt x="5" y="35"/>
                      <a:pt x="5" y="34"/>
                      <a:pt x="5" y="33"/>
                    </a:cubicBezTo>
                    <a:cubicBezTo>
                      <a:pt x="4" y="33"/>
                      <a:pt x="4" y="33"/>
                      <a:pt x="4" y="33"/>
                    </a:cubicBezTo>
                    <a:cubicBezTo>
                      <a:pt x="4" y="32"/>
                      <a:pt x="4" y="32"/>
                      <a:pt x="4" y="31"/>
                    </a:cubicBezTo>
                    <a:cubicBezTo>
                      <a:pt x="3" y="31"/>
                      <a:pt x="4" y="30"/>
                      <a:pt x="4" y="30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4" y="27"/>
                      <a:pt x="4" y="25"/>
                      <a:pt x="5" y="25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6" y="24"/>
                      <a:pt x="7" y="24"/>
                      <a:pt x="7" y="24"/>
                    </a:cubicBezTo>
                    <a:cubicBezTo>
                      <a:pt x="7" y="24"/>
                      <a:pt x="8" y="24"/>
                      <a:pt x="8" y="24"/>
                    </a:cubicBezTo>
                    <a:cubicBezTo>
                      <a:pt x="9" y="25"/>
                      <a:pt x="9" y="25"/>
                      <a:pt x="9" y="26"/>
                    </a:cubicBezTo>
                    <a:cubicBezTo>
                      <a:pt x="10" y="26"/>
                      <a:pt x="10" y="27"/>
                      <a:pt x="10" y="27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10" y="26"/>
                      <a:pt x="9" y="24"/>
                      <a:pt x="9" y="24"/>
                    </a:cubicBezTo>
                    <a:cubicBezTo>
                      <a:pt x="9" y="24"/>
                      <a:pt x="9" y="23"/>
                      <a:pt x="8" y="23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8" y="21"/>
                      <a:pt x="7" y="19"/>
                      <a:pt x="7" y="18"/>
                    </a:cubicBezTo>
                    <a:cubicBezTo>
                      <a:pt x="7" y="17"/>
                      <a:pt x="7" y="16"/>
                      <a:pt x="7" y="15"/>
                    </a:cubicBezTo>
                    <a:cubicBezTo>
                      <a:pt x="6" y="14"/>
                      <a:pt x="6" y="13"/>
                      <a:pt x="6" y="13"/>
                    </a:cubicBezTo>
                    <a:cubicBezTo>
                      <a:pt x="6" y="13"/>
                      <a:pt x="5" y="13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5" y="12"/>
                      <a:pt x="5" y="12"/>
                      <a:pt x="5" y="11"/>
                    </a:cubicBezTo>
                    <a:cubicBezTo>
                      <a:pt x="5" y="11"/>
                      <a:pt x="5" y="11"/>
                      <a:pt x="5" y="10"/>
                    </a:cubicBezTo>
                    <a:cubicBezTo>
                      <a:pt x="6" y="10"/>
                      <a:pt x="6" y="9"/>
                      <a:pt x="6" y="9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7"/>
                      <a:pt x="6" y="6"/>
                      <a:pt x="6" y="6"/>
                    </a:cubicBezTo>
                    <a:cubicBezTo>
                      <a:pt x="6" y="5"/>
                      <a:pt x="6" y="5"/>
                      <a:pt x="5" y="5"/>
                    </a:cubicBezTo>
                    <a:cubicBezTo>
                      <a:pt x="5" y="5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3" y="1"/>
                      <a:pt x="3" y="1"/>
                      <a:pt x="4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1" y="5"/>
                      <a:pt x="1" y="6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8"/>
                      <a:pt x="1" y="9"/>
                      <a:pt x="1" y="9"/>
                    </a:cubicBezTo>
                    <a:cubicBezTo>
                      <a:pt x="1" y="10"/>
                      <a:pt x="1" y="10"/>
                      <a:pt x="1" y="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87" name="Freeform 22">
                <a:extLst>
                  <a:ext uri="{FF2B5EF4-FFF2-40B4-BE49-F238E27FC236}">
                    <a16:creationId xmlns:a16="http://schemas.microsoft.com/office/drawing/2014/main" id="{76670F0E-61AD-4AFA-87BB-64C2BCEB0E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17" y="1727"/>
                <a:ext cx="1511" cy="836"/>
              </a:xfrm>
              <a:custGeom>
                <a:avLst/>
                <a:gdLst>
                  <a:gd name="T0" fmla="*/ 573 w 638"/>
                  <a:gd name="T1" fmla="*/ 53 h 352"/>
                  <a:gd name="T2" fmla="*/ 495 w 638"/>
                  <a:gd name="T3" fmla="*/ 37 h 352"/>
                  <a:gd name="T4" fmla="*/ 444 w 638"/>
                  <a:gd name="T5" fmla="*/ 37 h 352"/>
                  <a:gd name="T6" fmla="*/ 372 w 638"/>
                  <a:gd name="T7" fmla="*/ 28 h 352"/>
                  <a:gd name="T8" fmla="*/ 353 w 638"/>
                  <a:gd name="T9" fmla="*/ 7 h 352"/>
                  <a:gd name="T10" fmla="*/ 280 w 638"/>
                  <a:gd name="T11" fmla="*/ 39 h 352"/>
                  <a:gd name="T12" fmla="*/ 261 w 638"/>
                  <a:gd name="T13" fmla="*/ 37 h 352"/>
                  <a:gd name="T14" fmla="*/ 217 w 638"/>
                  <a:gd name="T15" fmla="*/ 53 h 352"/>
                  <a:gd name="T16" fmla="*/ 168 w 638"/>
                  <a:gd name="T17" fmla="*/ 67 h 352"/>
                  <a:gd name="T18" fmla="*/ 158 w 638"/>
                  <a:gd name="T19" fmla="*/ 57 h 352"/>
                  <a:gd name="T20" fmla="*/ 115 w 638"/>
                  <a:gd name="T21" fmla="*/ 42 h 352"/>
                  <a:gd name="T22" fmla="*/ 62 w 638"/>
                  <a:gd name="T23" fmla="*/ 83 h 352"/>
                  <a:gd name="T24" fmla="*/ 68 w 638"/>
                  <a:gd name="T25" fmla="*/ 111 h 352"/>
                  <a:gd name="T26" fmla="*/ 100 w 638"/>
                  <a:gd name="T27" fmla="*/ 71 h 352"/>
                  <a:gd name="T28" fmla="*/ 120 w 638"/>
                  <a:gd name="T29" fmla="*/ 102 h 352"/>
                  <a:gd name="T30" fmla="*/ 71 w 638"/>
                  <a:gd name="T31" fmla="*/ 128 h 352"/>
                  <a:gd name="T32" fmla="*/ 25 w 638"/>
                  <a:gd name="T33" fmla="*/ 151 h 352"/>
                  <a:gd name="T34" fmla="*/ 1 w 638"/>
                  <a:gd name="T35" fmla="*/ 201 h 352"/>
                  <a:gd name="T36" fmla="*/ 63 w 638"/>
                  <a:gd name="T37" fmla="*/ 178 h 352"/>
                  <a:gd name="T38" fmla="*/ 70 w 638"/>
                  <a:gd name="T39" fmla="*/ 170 h 352"/>
                  <a:gd name="T40" fmla="*/ 103 w 638"/>
                  <a:gd name="T41" fmla="*/ 201 h 352"/>
                  <a:gd name="T42" fmla="*/ 141 w 638"/>
                  <a:gd name="T43" fmla="*/ 167 h 352"/>
                  <a:gd name="T44" fmla="*/ 145 w 638"/>
                  <a:gd name="T45" fmla="*/ 214 h 352"/>
                  <a:gd name="T46" fmla="*/ 215 w 638"/>
                  <a:gd name="T47" fmla="*/ 277 h 352"/>
                  <a:gd name="T48" fmla="*/ 202 w 638"/>
                  <a:gd name="T49" fmla="*/ 251 h 352"/>
                  <a:gd name="T50" fmla="*/ 284 w 638"/>
                  <a:gd name="T51" fmla="*/ 321 h 352"/>
                  <a:gd name="T52" fmla="*/ 341 w 638"/>
                  <a:gd name="T53" fmla="*/ 290 h 352"/>
                  <a:gd name="T54" fmla="*/ 363 w 638"/>
                  <a:gd name="T55" fmla="*/ 315 h 352"/>
                  <a:gd name="T56" fmla="*/ 382 w 638"/>
                  <a:gd name="T57" fmla="*/ 276 h 352"/>
                  <a:gd name="T58" fmla="*/ 418 w 638"/>
                  <a:gd name="T59" fmla="*/ 235 h 352"/>
                  <a:gd name="T60" fmla="*/ 430 w 638"/>
                  <a:gd name="T61" fmla="*/ 204 h 352"/>
                  <a:gd name="T62" fmla="*/ 481 w 638"/>
                  <a:gd name="T63" fmla="*/ 133 h 352"/>
                  <a:gd name="T64" fmla="*/ 531 w 638"/>
                  <a:gd name="T65" fmla="*/ 93 h 352"/>
                  <a:gd name="T66" fmla="*/ 549 w 638"/>
                  <a:gd name="T67" fmla="*/ 111 h 352"/>
                  <a:gd name="T68" fmla="*/ 601 w 638"/>
                  <a:gd name="T69" fmla="*/ 78 h 352"/>
                  <a:gd name="T70" fmla="*/ 74 w 638"/>
                  <a:gd name="T71" fmla="*/ 77 h 352"/>
                  <a:gd name="T72" fmla="*/ 32 w 638"/>
                  <a:gd name="T73" fmla="*/ 183 h 352"/>
                  <a:gd name="T74" fmla="*/ 60 w 638"/>
                  <a:gd name="T75" fmla="*/ 166 h 352"/>
                  <a:gd name="T76" fmla="*/ 118 w 638"/>
                  <a:gd name="T77" fmla="*/ 110 h 352"/>
                  <a:gd name="T78" fmla="*/ 98 w 638"/>
                  <a:gd name="T79" fmla="*/ 152 h 352"/>
                  <a:gd name="T80" fmla="*/ 76 w 638"/>
                  <a:gd name="T81" fmla="*/ 157 h 352"/>
                  <a:gd name="T82" fmla="*/ 102 w 638"/>
                  <a:gd name="T83" fmla="*/ 185 h 352"/>
                  <a:gd name="T84" fmla="*/ 122 w 638"/>
                  <a:gd name="T85" fmla="*/ 52 h 352"/>
                  <a:gd name="T86" fmla="*/ 157 w 638"/>
                  <a:gd name="T87" fmla="*/ 155 h 352"/>
                  <a:gd name="T88" fmla="*/ 181 w 638"/>
                  <a:gd name="T89" fmla="*/ 149 h 352"/>
                  <a:gd name="T90" fmla="*/ 153 w 638"/>
                  <a:gd name="T91" fmla="*/ 208 h 352"/>
                  <a:gd name="T92" fmla="*/ 183 w 638"/>
                  <a:gd name="T93" fmla="*/ 190 h 352"/>
                  <a:gd name="T94" fmla="*/ 194 w 638"/>
                  <a:gd name="T95" fmla="*/ 173 h 352"/>
                  <a:gd name="T96" fmla="*/ 205 w 638"/>
                  <a:gd name="T97" fmla="*/ 191 h 352"/>
                  <a:gd name="T98" fmla="*/ 262 w 638"/>
                  <a:gd name="T99" fmla="*/ 207 h 352"/>
                  <a:gd name="T100" fmla="*/ 253 w 638"/>
                  <a:gd name="T101" fmla="*/ 225 h 352"/>
                  <a:gd name="T102" fmla="*/ 227 w 638"/>
                  <a:gd name="T103" fmla="*/ 174 h 352"/>
                  <a:gd name="T104" fmla="*/ 232 w 638"/>
                  <a:gd name="T105" fmla="*/ 252 h 352"/>
                  <a:gd name="T106" fmla="*/ 267 w 638"/>
                  <a:gd name="T107" fmla="*/ 225 h 352"/>
                  <a:gd name="T108" fmla="*/ 275 w 638"/>
                  <a:gd name="T109" fmla="*/ 218 h 352"/>
                  <a:gd name="T110" fmla="*/ 325 w 638"/>
                  <a:gd name="T111" fmla="*/ 248 h 352"/>
                  <a:gd name="T112" fmla="*/ 305 w 638"/>
                  <a:gd name="T113" fmla="*/ 244 h 352"/>
                  <a:gd name="T114" fmla="*/ 332 w 638"/>
                  <a:gd name="T115" fmla="*/ 147 h 352"/>
                  <a:gd name="T116" fmla="*/ 374 w 638"/>
                  <a:gd name="T117" fmla="*/ 302 h 352"/>
                  <a:gd name="T118" fmla="*/ 344 w 638"/>
                  <a:gd name="T119" fmla="*/ 245 h 352"/>
                  <a:gd name="T120" fmla="*/ 356 w 638"/>
                  <a:gd name="T121" fmla="*/ 184 h 352"/>
                  <a:gd name="T122" fmla="*/ 394 w 638"/>
                  <a:gd name="T123" fmla="*/ 174 h 352"/>
                  <a:gd name="T124" fmla="*/ 446 w 638"/>
                  <a:gd name="T125" fmla="*/ 18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8" h="352">
                    <a:moveTo>
                      <a:pt x="630" y="70"/>
                    </a:moveTo>
                    <a:cubicBezTo>
                      <a:pt x="630" y="71"/>
                      <a:pt x="631" y="71"/>
                      <a:pt x="631" y="71"/>
                    </a:cubicBezTo>
                    <a:cubicBezTo>
                      <a:pt x="632" y="72"/>
                      <a:pt x="633" y="72"/>
                      <a:pt x="634" y="72"/>
                    </a:cubicBezTo>
                    <a:cubicBezTo>
                      <a:pt x="634" y="71"/>
                      <a:pt x="634" y="71"/>
                      <a:pt x="634" y="71"/>
                    </a:cubicBezTo>
                    <a:cubicBezTo>
                      <a:pt x="634" y="71"/>
                      <a:pt x="634" y="71"/>
                      <a:pt x="633" y="71"/>
                    </a:cubicBezTo>
                    <a:cubicBezTo>
                      <a:pt x="632" y="71"/>
                      <a:pt x="633" y="71"/>
                      <a:pt x="633" y="70"/>
                    </a:cubicBezTo>
                    <a:cubicBezTo>
                      <a:pt x="633" y="70"/>
                      <a:pt x="633" y="70"/>
                      <a:pt x="633" y="70"/>
                    </a:cubicBezTo>
                    <a:cubicBezTo>
                      <a:pt x="633" y="70"/>
                      <a:pt x="635" y="70"/>
                      <a:pt x="635" y="71"/>
                    </a:cubicBezTo>
                    <a:cubicBezTo>
                      <a:pt x="635" y="71"/>
                      <a:pt x="636" y="71"/>
                      <a:pt x="636" y="71"/>
                    </a:cubicBezTo>
                    <a:cubicBezTo>
                      <a:pt x="636" y="71"/>
                      <a:pt x="636" y="70"/>
                      <a:pt x="636" y="70"/>
                    </a:cubicBezTo>
                    <a:cubicBezTo>
                      <a:pt x="636" y="70"/>
                      <a:pt x="636" y="70"/>
                      <a:pt x="635" y="70"/>
                    </a:cubicBezTo>
                    <a:cubicBezTo>
                      <a:pt x="635" y="69"/>
                      <a:pt x="635" y="69"/>
                      <a:pt x="635" y="69"/>
                    </a:cubicBezTo>
                    <a:cubicBezTo>
                      <a:pt x="635" y="69"/>
                      <a:pt x="636" y="69"/>
                      <a:pt x="636" y="69"/>
                    </a:cubicBezTo>
                    <a:cubicBezTo>
                      <a:pt x="637" y="69"/>
                      <a:pt x="637" y="69"/>
                      <a:pt x="637" y="69"/>
                    </a:cubicBezTo>
                    <a:cubicBezTo>
                      <a:pt x="637" y="69"/>
                      <a:pt x="638" y="69"/>
                      <a:pt x="638" y="69"/>
                    </a:cubicBezTo>
                    <a:cubicBezTo>
                      <a:pt x="638" y="69"/>
                      <a:pt x="638" y="68"/>
                      <a:pt x="638" y="68"/>
                    </a:cubicBezTo>
                    <a:cubicBezTo>
                      <a:pt x="638" y="68"/>
                      <a:pt x="638" y="68"/>
                      <a:pt x="638" y="68"/>
                    </a:cubicBezTo>
                    <a:cubicBezTo>
                      <a:pt x="638" y="68"/>
                      <a:pt x="638" y="68"/>
                      <a:pt x="638" y="68"/>
                    </a:cubicBezTo>
                    <a:cubicBezTo>
                      <a:pt x="638" y="68"/>
                      <a:pt x="637" y="68"/>
                      <a:pt x="637" y="68"/>
                    </a:cubicBezTo>
                    <a:cubicBezTo>
                      <a:pt x="637" y="68"/>
                      <a:pt x="637" y="68"/>
                      <a:pt x="636" y="68"/>
                    </a:cubicBezTo>
                    <a:cubicBezTo>
                      <a:pt x="636" y="68"/>
                      <a:pt x="636" y="68"/>
                      <a:pt x="637" y="68"/>
                    </a:cubicBezTo>
                    <a:cubicBezTo>
                      <a:pt x="637" y="68"/>
                      <a:pt x="637" y="67"/>
                      <a:pt x="637" y="67"/>
                    </a:cubicBezTo>
                    <a:cubicBezTo>
                      <a:pt x="637" y="67"/>
                      <a:pt x="636" y="67"/>
                      <a:pt x="636" y="67"/>
                    </a:cubicBezTo>
                    <a:cubicBezTo>
                      <a:pt x="636" y="67"/>
                      <a:pt x="635" y="67"/>
                      <a:pt x="636" y="67"/>
                    </a:cubicBezTo>
                    <a:cubicBezTo>
                      <a:pt x="636" y="67"/>
                      <a:pt x="636" y="67"/>
                      <a:pt x="635" y="67"/>
                    </a:cubicBezTo>
                    <a:cubicBezTo>
                      <a:pt x="635" y="67"/>
                      <a:pt x="635" y="66"/>
                      <a:pt x="635" y="66"/>
                    </a:cubicBezTo>
                    <a:cubicBezTo>
                      <a:pt x="635" y="66"/>
                      <a:pt x="634" y="66"/>
                      <a:pt x="634" y="66"/>
                    </a:cubicBezTo>
                    <a:cubicBezTo>
                      <a:pt x="634" y="66"/>
                      <a:pt x="634" y="65"/>
                      <a:pt x="634" y="65"/>
                    </a:cubicBezTo>
                    <a:cubicBezTo>
                      <a:pt x="633" y="65"/>
                      <a:pt x="633" y="65"/>
                      <a:pt x="632" y="64"/>
                    </a:cubicBezTo>
                    <a:cubicBezTo>
                      <a:pt x="632" y="64"/>
                      <a:pt x="632" y="64"/>
                      <a:pt x="632" y="64"/>
                    </a:cubicBezTo>
                    <a:cubicBezTo>
                      <a:pt x="632" y="64"/>
                      <a:pt x="633" y="63"/>
                      <a:pt x="633" y="63"/>
                    </a:cubicBezTo>
                    <a:cubicBezTo>
                      <a:pt x="632" y="63"/>
                      <a:pt x="631" y="63"/>
                      <a:pt x="631" y="63"/>
                    </a:cubicBezTo>
                    <a:cubicBezTo>
                      <a:pt x="631" y="63"/>
                      <a:pt x="630" y="64"/>
                      <a:pt x="630" y="64"/>
                    </a:cubicBezTo>
                    <a:cubicBezTo>
                      <a:pt x="630" y="64"/>
                      <a:pt x="630" y="64"/>
                      <a:pt x="629" y="64"/>
                    </a:cubicBezTo>
                    <a:cubicBezTo>
                      <a:pt x="628" y="63"/>
                      <a:pt x="628" y="63"/>
                      <a:pt x="628" y="63"/>
                    </a:cubicBezTo>
                    <a:cubicBezTo>
                      <a:pt x="628" y="63"/>
                      <a:pt x="628" y="63"/>
                      <a:pt x="628" y="63"/>
                    </a:cubicBezTo>
                    <a:cubicBezTo>
                      <a:pt x="628" y="63"/>
                      <a:pt x="627" y="63"/>
                      <a:pt x="627" y="62"/>
                    </a:cubicBezTo>
                    <a:cubicBezTo>
                      <a:pt x="626" y="62"/>
                      <a:pt x="626" y="62"/>
                      <a:pt x="626" y="62"/>
                    </a:cubicBezTo>
                    <a:cubicBezTo>
                      <a:pt x="626" y="62"/>
                      <a:pt x="625" y="62"/>
                      <a:pt x="625" y="62"/>
                    </a:cubicBezTo>
                    <a:cubicBezTo>
                      <a:pt x="624" y="63"/>
                      <a:pt x="624" y="63"/>
                      <a:pt x="624" y="63"/>
                    </a:cubicBezTo>
                    <a:cubicBezTo>
                      <a:pt x="623" y="63"/>
                      <a:pt x="624" y="63"/>
                      <a:pt x="624" y="63"/>
                    </a:cubicBezTo>
                    <a:cubicBezTo>
                      <a:pt x="624" y="63"/>
                      <a:pt x="625" y="63"/>
                      <a:pt x="625" y="63"/>
                    </a:cubicBezTo>
                    <a:cubicBezTo>
                      <a:pt x="625" y="63"/>
                      <a:pt x="625" y="64"/>
                      <a:pt x="625" y="64"/>
                    </a:cubicBezTo>
                    <a:cubicBezTo>
                      <a:pt x="626" y="65"/>
                      <a:pt x="626" y="65"/>
                      <a:pt x="625" y="65"/>
                    </a:cubicBezTo>
                    <a:cubicBezTo>
                      <a:pt x="625" y="65"/>
                      <a:pt x="625" y="65"/>
                      <a:pt x="625" y="65"/>
                    </a:cubicBezTo>
                    <a:cubicBezTo>
                      <a:pt x="625" y="66"/>
                      <a:pt x="625" y="66"/>
                      <a:pt x="625" y="66"/>
                    </a:cubicBezTo>
                    <a:cubicBezTo>
                      <a:pt x="625" y="66"/>
                      <a:pt x="626" y="66"/>
                      <a:pt x="626" y="67"/>
                    </a:cubicBezTo>
                    <a:cubicBezTo>
                      <a:pt x="626" y="67"/>
                      <a:pt x="626" y="68"/>
                      <a:pt x="626" y="68"/>
                    </a:cubicBezTo>
                    <a:cubicBezTo>
                      <a:pt x="625" y="68"/>
                      <a:pt x="625" y="67"/>
                      <a:pt x="625" y="67"/>
                    </a:cubicBezTo>
                    <a:cubicBezTo>
                      <a:pt x="625" y="67"/>
                      <a:pt x="625" y="66"/>
                      <a:pt x="625" y="66"/>
                    </a:cubicBezTo>
                    <a:cubicBezTo>
                      <a:pt x="625" y="66"/>
                      <a:pt x="625" y="66"/>
                      <a:pt x="625" y="66"/>
                    </a:cubicBezTo>
                    <a:cubicBezTo>
                      <a:pt x="625" y="66"/>
                      <a:pt x="625" y="66"/>
                      <a:pt x="625" y="66"/>
                    </a:cubicBezTo>
                    <a:cubicBezTo>
                      <a:pt x="624" y="67"/>
                      <a:pt x="624" y="67"/>
                      <a:pt x="624" y="67"/>
                    </a:cubicBezTo>
                    <a:cubicBezTo>
                      <a:pt x="624" y="67"/>
                      <a:pt x="624" y="67"/>
                      <a:pt x="624" y="67"/>
                    </a:cubicBezTo>
                    <a:cubicBezTo>
                      <a:pt x="623" y="67"/>
                      <a:pt x="624" y="66"/>
                      <a:pt x="624" y="66"/>
                    </a:cubicBezTo>
                    <a:cubicBezTo>
                      <a:pt x="624" y="66"/>
                      <a:pt x="624" y="66"/>
                      <a:pt x="624" y="66"/>
                    </a:cubicBezTo>
                    <a:cubicBezTo>
                      <a:pt x="624" y="66"/>
                      <a:pt x="623" y="65"/>
                      <a:pt x="622" y="65"/>
                    </a:cubicBezTo>
                    <a:cubicBezTo>
                      <a:pt x="622" y="65"/>
                      <a:pt x="622" y="65"/>
                      <a:pt x="622" y="65"/>
                    </a:cubicBezTo>
                    <a:cubicBezTo>
                      <a:pt x="622" y="65"/>
                      <a:pt x="623" y="65"/>
                      <a:pt x="623" y="65"/>
                    </a:cubicBezTo>
                    <a:cubicBezTo>
                      <a:pt x="623" y="64"/>
                      <a:pt x="623" y="64"/>
                      <a:pt x="623" y="64"/>
                    </a:cubicBezTo>
                    <a:cubicBezTo>
                      <a:pt x="623" y="64"/>
                      <a:pt x="622" y="63"/>
                      <a:pt x="622" y="63"/>
                    </a:cubicBezTo>
                    <a:cubicBezTo>
                      <a:pt x="622" y="63"/>
                      <a:pt x="622" y="62"/>
                      <a:pt x="622" y="62"/>
                    </a:cubicBezTo>
                    <a:cubicBezTo>
                      <a:pt x="622" y="62"/>
                      <a:pt x="623" y="61"/>
                      <a:pt x="623" y="61"/>
                    </a:cubicBezTo>
                    <a:cubicBezTo>
                      <a:pt x="623" y="61"/>
                      <a:pt x="623" y="61"/>
                      <a:pt x="622" y="61"/>
                    </a:cubicBezTo>
                    <a:cubicBezTo>
                      <a:pt x="622" y="60"/>
                      <a:pt x="622" y="60"/>
                      <a:pt x="622" y="60"/>
                    </a:cubicBezTo>
                    <a:cubicBezTo>
                      <a:pt x="622" y="61"/>
                      <a:pt x="622" y="61"/>
                      <a:pt x="622" y="61"/>
                    </a:cubicBezTo>
                    <a:cubicBezTo>
                      <a:pt x="621" y="61"/>
                      <a:pt x="621" y="61"/>
                      <a:pt x="621" y="61"/>
                    </a:cubicBezTo>
                    <a:cubicBezTo>
                      <a:pt x="621" y="61"/>
                      <a:pt x="621" y="61"/>
                      <a:pt x="621" y="61"/>
                    </a:cubicBezTo>
                    <a:cubicBezTo>
                      <a:pt x="621" y="61"/>
                      <a:pt x="621" y="61"/>
                      <a:pt x="621" y="61"/>
                    </a:cubicBezTo>
                    <a:cubicBezTo>
                      <a:pt x="621" y="60"/>
                      <a:pt x="622" y="60"/>
                      <a:pt x="622" y="60"/>
                    </a:cubicBezTo>
                    <a:cubicBezTo>
                      <a:pt x="621" y="60"/>
                      <a:pt x="621" y="60"/>
                      <a:pt x="621" y="60"/>
                    </a:cubicBezTo>
                    <a:cubicBezTo>
                      <a:pt x="621" y="59"/>
                      <a:pt x="619" y="58"/>
                      <a:pt x="619" y="58"/>
                    </a:cubicBezTo>
                    <a:cubicBezTo>
                      <a:pt x="618" y="58"/>
                      <a:pt x="616" y="57"/>
                      <a:pt x="616" y="57"/>
                    </a:cubicBezTo>
                    <a:cubicBezTo>
                      <a:pt x="616" y="57"/>
                      <a:pt x="616" y="57"/>
                      <a:pt x="616" y="57"/>
                    </a:cubicBezTo>
                    <a:cubicBezTo>
                      <a:pt x="614" y="56"/>
                      <a:pt x="612" y="55"/>
                      <a:pt x="611" y="55"/>
                    </a:cubicBezTo>
                    <a:cubicBezTo>
                      <a:pt x="611" y="55"/>
                      <a:pt x="611" y="55"/>
                      <a:pt x="611" y="55"/>
                    </a:cubicBezTo>
                    <a:cubicBezTo>
                      <a:pt x="611" y="55"/>
                      <a:pt x="611" y="55"/>
                      <a:pt x="611" y="55"/>
                    </a:cubicBezTo>
                    <a:cubicBezTo>
                      <a:pt x="610" y="55"/>
                      <a:pt x="610" y="54"/>
                      <a:pt x="610" y="54"/>
                    </a:cubicBezTo>
                    <a:cubicBezTo>
                      <a:pt x="610" y="54"/>
                      <a:pt x="610" y="54"/>
                      <a:pt x="610" y="54"/>
                    </a:cubicBezTo>
                    <a:cubicBezTo>
                      <a:pt x="610" y="54"/>
                      <a:pt x="611" y="54"/>
                      <a:pt x="610" y="53"/>
                    </a:cubicBezTo>
                    <a:cubicBezTo>
                      <a:pt x="610" y="53"/>
                      <a:pt x="609" y="53"/>
                      <a:pt x="609" y="53"/>
                    </a:cubicBezTo>
                    <a:cubicBezTo>
                      <a:pt x="608" y="53"/>
                      <a:pt x="608" y="53"/>
                      <a:pt x="608" y="53"/>
                    </a:cubicBezTo>
                    <a:cubicBezTo>
                      <a:pt x="608" y="52"/>
                      <a:pt x="608" y="52"/>
                      <a:pt x="608" y="52"/>
                    </a:cubicBezTo>
                    <a:cubicBezTo>
                      <a:pt x="608" y="52"/>
                      <a:pt x="608" y="52"/>
                      <a:pt x="608" y="52"/>
                    </a:cubicBezTo>
                    <a:cubicBezTo>
                      <a:pt x="608" y="52"/>
                      <a:pt x="607" y="52"/>
                      <a:pt x="607" y="52"/>
                    </a:cubicBezTo>
                    <a:cubicBezTo>
                      <a:pt x="607" y="52"/>
                      <a:pt x="607" y="52"/>
                      <a:pt x="607" y="52"/>
                    </a:cubicBezTo>
                    <a:cubicBezTo>
                      <a:pt x="607" y="52"/>
                      <a:pt x="607" y="52"/>
                      <a:pt x="607" y="52"/>
                    </a:cubicBezTo>
                    <a:cubicBezTo>
                      <a:pt x="606" y="52"/>
                      <a:pt x="605" y="51"/>
                      <a:pt x="605" y="51"/>
                    </a:cubicBezTo>
                    <a:cubicBezTo>
                      <a:pt x="604" y="51"/>
                      <a:pt x="604" y="50"/>
                      <a:pt x="603" y="50"/>
                    </a:cubicBezTo>
                    <a:cubicBezTo>
                      <a:pt x="603" y="50"/>
                      <a:pt x="602" y="50"/>
                      <a:pt x="602" y="49"/>
                    </a:cubicBezTo>
                    <a:cubicBezTo>
                      <a:pt x="602" y="49"/>
                      <a:pt x="602" y="49"/>
                      <a:pt x="602" y="49"/>
                    </a:cubicBezTo>
                    <a:cubicBezTo>
                      <a:pt x="602" y="49"/>
                      <a:pt x="602" y="49"/>
                      <a:pt x="602" y="49"/>
                    </a:cubicBezTo>
                    <a:cubicBezTo>
                      <a:pt x="601" y="49"/>
                      <a:pt x="600" y="49"/>
                      <a:pt x="600" y="49"/>
                    </a:cubicBezTo>
                    <a:cubicBezTo>
                      <a:pt x="599" y="49"/>
                      <a:pt x="599" y="49"/>
                      <a:pt x="598" y="49"/>
                    </a:cubicBezTo>
                    <a:cubicBezTo>
                      <a:pt x="597" y="48"/>
                      <a:pt x="597" y="48"/>
                      <a:pt x="597" y="48"/>
                    </a:cubicBezTo>
                    <a:cubicBezTo>
                      <a:pt x="597" y="48"/>
                      <a:pt x="597" y="48"/>
                      <a:pt x="597" y="48"/>
                    </a:cubicBezTo>
                    <a:cubicBezTo>
                      <a:pt x="596" y="48"/>
                      <a:pt x="596" y="48"/>
                      <a:pt x="595" y="48"/>
                    </a:cubicBezTo>
                    <a:cubicBezTo>
                      <a:pt x="595" y="48"/>
                      <a:pt x="594" y="47"/>
                      <a:pt x="594" y="47"/>
                    </a:cubicBezTo>
                    <a:cubicBezTo>
                      <a:pt x="594" y="47"/>
                      <a:pt x="594" y="47"/>
                      <a:pt x="594" y="47"/>
                    </a:cubicBezTo>
                    <a:cubicBezTo>
                      <a:pt x="594" y="47"/>
                      <a:pt x="594" y="47"/>
                      <a:pt x="594" y="47"/>
                    </a:cubicBezTo>
                    <a:cubicBezTo>
                      <a:pt x="594" y="47"/>
                      <a:pt x="593" y="47"/>
                      <a:pt x="593" y="47"/>
                    </a:cubicBezTo>
                    <a:cubicBezTo>
                      <a:pt x="593" y="47"/>
                      <a:pt x="590" y="47"/>
                      <a:pt x="590" y="47"/>
                    </a:cubicBezTo>
                    <a:cubicBezTo>
                      <a:pt x="589" y="47"/>
                      <a:pt x="588" y="47"/>
                      <a:pt x="587" y="47"/>
                    </a:cubicBezTo>
                    <a:cubicBezTo>
                      <a:pt x="586" y="47"/>
                      <a:pt x="586" y="47"/>
                      <a:pt x="586" y="47"/>
                    </a:cubicBezTo>
                    <a:cubicBezTo>
                      <a:pt x="586" y="47"/>
                      <a:pt x="586" y="47"/>
                      <a:pt x="585" y="46"/>
                    </a:cubicBezTo>
                    <a:cubicBezTo>
                      <a:pt x="585" y="46"/>
                      <a:pt x="585" y="46"/>
                      <a:pt x="585" y="46"/>
                    </a:cubicBezTo>
                    <a:cubicBezTo>
                      <a:pt x="585" y="46"/>
                      <a:pt x="585" y="46"/>
                      <a:pt x="585" y="47"/>
                    </a:cubicBezTo>
                    <a:cubicBezTo>
                      <a:pt x="585" y="47"/>
                      <a:pt x="585" y="47"/>
                      <a:pt x="585" y="47"/>
                    </a:cubicBezTo>
                    <a:cubicBezTo>
                      <a:pt x="585" y="48"/>
                      <a:pt x="585" y="47"/>
                      <a:pt x="585" y="47"/>
                    </a:cubicBezTo>
                    <a:cubicBezTo>
                      <a:pt x="585" y="47"/>
                      <a:pt x="584" y="47"/>
                      <a:pt x="584" y="47"/>
                    </a:cubicBezTo>
                    <a:cubicBezTo>
                      <a:pt x="583" y="47"/>
                      <a:pt x="583" y="46"/>
                      <a:pt x="583" y="46"/>
                    </a:cubicBezTo>
                    <a:cubicBezTo>
                      <a:pt x="583" y="46"/>
                      <a:pt x="583" y="46"/>
                      <a:pt x="582" y="46"/>
                    </a:cubicBezTo>
                    <a:cubicBezTo>
                      <a:pt x="582" y="46"/>
                      <a:pt x="582" y="46"/>
                      <a:pt x="582" y="46"/>
                    </a:cubicBezTo>
                    <a:cubicBezTo>
                      <a:pt x="582" y="46"/>
                      <a:pt x="580" y="46"/>
                      <a:pt x="579" y="46"/>
                    </a:cubicBezTo>
                    <a:cubicBezTo>
                      <a:pt x="578" y="46"/>
                      <a:pt x="578" y="46"/>
                      <a:pt x="578" y="46"/>
                    </a:cubicBezTo>
                    <a:cubicBezTo>
                      <a:pt x="578" y="46"/>
                      <a:pt x="577" y="46"/>
                      <a:pt x="576" y="45"/>
                    </a:cubicBezTo>
                    <a:cubicBezTo>
                      <a:pt x="576" y="45"/>
                      <a:pt x="576" y="45"/>
                      <a:pt x="576" y="45"/>
                    </a:cubicBezTo>
                    <a:cubicBezTo>
                      <a:pt x="576" y="45"/>
                      <a:pt x="576" y="45"/>
                      <a:pt x="576" y="45"/>
                    </a:cubicBezTo>
                    <a:cubicBezTo>
                      <a:pt x="576" y="46"/>
                      <a:pt x="576" y="46"/>
                      <a:pt x="576" y="46"/>
                    </a:cubicBezTo>
                    <a:cubicBezTo>
                      <a:pt x="576" y="46"/>
                      <a:pt x="576" y="46"/>
                      <a:pt x="576" y="47"/>
                    </a:cubicBezTo>
                    <a:cubicBezTo>
                      <a:pt x="576" y="47"/>
                      <a:pt x="576" y="47"/>
                      <a:pt x="576" y="47"/>
                    </a:cubicBezTo>
                    <a:cubicBezTo>
                      <a:pt x="576" y="47"/>
                      <a:pt x="576" y="47"/>
                      <a:pt x="576" y="47"/>
                    </a:cubicBezTo>
                    <a:cubicBezTo>
                      <a:pt x="576" y="48"/>
                      <a:pt x="575" y="48"/>
                      <a:pt x="575" y="48"/>
                    </a:cubicBezTo>
                    <a:cubicBezTo>
                      <a:pt x="575" y="48"/>
                      <a:pt x="575" y="48"/>
                      <a:pt x="575" y="48"/>
                    </a:cubicBezTo>
                    <a:cubicBezTo>
                      <a:pt x="575" y="48"/>
                      <a:pt x="575" y="48"/>
                      <a:pt x="575" y="48"/>
                    </a:cubicBezTo>
                    <a:cubicBezTo>
                      <a:pt x="575" y="48"/>
                      <a:pt x="575" y="48"/>
                      <a:pt x="575" y="48"/>
                    </a:cubicBezTo>
                    <a:cubicBezTo>
                      <a:pt x="576" y="49"/>
                      <a:pt x="576" y="49"/>
                      <a:pt x="576" y="49"/>
                    </a:cubicBezTo>
                    <a:cubicBezTo>
                      <a:pt x="576" y="49"/>
                      <a:pt x="577" y="50"/>
                      <a:pt x="577" y="50"/>
                    </a:cubicBezTo>
                    <a:cubicBezTo>
                      <a:pt x="577" y="50"/>
                      <a:pt x="577" y="50"/>
                      <a:pt x="577" y="51"/>
                    </a:cubicBezTo>
                    <a:cubicBezTo>
                      <a:pt x="577" y="51"/>
                      <a:pt x="577" y="51"/>
                      <a:pt x="577" y="51"/>
                    </a:cubicBezTo>
                    <a:cubicBezTo>
                      <a:pt x="577" y="51"/>
                      <a:pt x="577" y="51"/>
                      <a:pt x="578" y="51"/>
                    </a:cubicBezTo>
                    <a:cubicBezTo>
                      <a:pt x="578" y="52"/>
                      <a:pt x="578" y="52"/>
                      <a:pt x="578" y="52"/>
                    </a:cubicBezTo>
                    <a:cubicBezTo>
                      <a:pt x="577" y="52"/>
                      <a:pt x="577" y="52"/>
                      <a:pt x="577" y="52"/>
                    </a:cubicBezTo>
                    <a:cubicBezTo>
                      <a:pt x="577" y="52"/>
                      <a:pt x="577" y="52"/>
                      <a:pt x="577" y="52"/>
                    </a:cubicBezTo>
                    <a:cubicBezTo>
                      <a:pt x="577" y="53"/>
                      <a:pt x="576" y="53"/>
                      <a:pt x="576" y="53"/>
                    </a:cubicBezTo>
                    <a:cubicBezTo>
                      <a:pt x="576" y="52"/>
                      <a:pt x="576" y="52"/>
                      <a:pt x="576" y="53"/>
                    </a:cubicBezTo>
                    <a:cubicBezTo>
                      <a:pt x="576" y="53"/>
                      <a:pt x="576" y="53"/>
                      <a:pt x="576" y="53"/>
                    </a:cubicBezTo>
                    <a:cubicBezTo>
                      <a:pt x="575" y="53"/>
                      <a:pt x="575" y="53"/>
                      <a:pt x="574" y="53"/>
                    </a:cubicBezTo>
                    <a:cubicBezTo>
                      <a:pt x="574" y="53"/>
                      <a:pt x="574" y="53"/>
                      <a:pt x="574" y="53"/>
                    </a:cubicBezTo>
                    <a:cubicBezTo>
                      <a:pt x="574" y="53"/>
                      <a:pt x="573" y="53"/>
                      <a:pt x="573" y="53"/>
                    </a:cubicBezTo>
                    <a:cubicBezTo>
                      <a:pt x="573" y="53"/>
                      <a:pt x="573" y="53"/>
                      <a:pt x="573" y="53"/>
                    </a:cubicBezTo>
                    <a:cubicBezTo>
                      <a:pt x="572" y="53"/>
                      <a:pt x="572" y="52"/>
                      <a:pt x="572" y="52"/>
                    </a:cubicBezTo>
                    <a:cubicBezTo>
                      <a:pt x="572" y="52"/>
                      <a:pt x="572" y="51"/>
                      <a:pt x="572" y="51"/>
                    </a:cubicBezTo>
                    <a:cubicBezTo>
                      <a:pt x="571" y="51"/>
                      <a:pt x="571" y="51"/>
                      <a:pt x="571" y="51"/>
                    </a:cubicBezTo>
                    <a:cubicBezTo>
                      <a:pt x="571" y="51"/>
                      <a:pt x="570" y="51"/>
                      <a:pt x="570" y="51"/>
                    </a:cubicBezTo>
                    <a:cubicBezTo>
                      <a:pt x="570" y="51"/>
                      <a:pt x="569" y="50"/>
                      <a:pt x="568" y="50"/>
                    </a:cubicBezTo>
                    <a:cubicBezTo>
                      <a:pt x="568" y="49"/>
                      <a:pt x="569" y="49"/>
                      <a:pt x="569" y="49"/>
                    </a:cubicBezTo>
                    <a:cubicBezTo>
                      <a:pt x="569" y="49"/>
                      <a:pt x="569" y="49"/>
                      <a:pt x="569" y="49"/>
                    </a:cubicBezTo>
                    <a:cubicBezTo>
                      <a:pt x="568" y="49"/>
                      <a:pt x="568" y="49"/>
                      <a:pt x="568" y="48"/>
                    </a:cubicBezTo>
                    <a:cubicBezTo>
                      <a:pt x="567" y="48"/>
                      <a:pt x="567" y="48"/>
                      <a:pt x="566" y="48"/>
                    </a:cubicBezTo>
                    <a:cubicBezTo>
                      <a:pt x="566" y="48"/>
                      <a:pt x="566" y="48"/>
                      <a:pt x="566" y="48"/>
                    </a:cubicBezTo>
                    <a:cubicBezTo>
                      <a:pt x="565" y="49"/>
                      <a:pt x="564" y="49"/>
                      <a:pt x="564" y="49"/>
                    </a:cubicBezTo>
                    <a:cubicBezTo>
                      <a:pt x="564" y="49"/>
                      <a:pt x="564" y="49"/>
                      <a:pt x="562" y="49"/>
                    </a:cubicBezTo>
                    <a:cubicBezTo>
                      <a:pt x="561" y="49"/>
                      <a:pt x="561" y="49"/>
                      <a:pt x="561" y="49"/>
                    </a:cubicBezTo>
                    <a:cubicBezTo>
                      <a:pt x="560" y="48"/>
                      <a:pt x="557" y="48"/>
                      <a:pt x="557" y="48"/>
                    </a:cubicBezTo>
                    <a:cubicBezTo>
                      <a:pt x="556" y="48"/>
                      <a:pt x="556" y="48"/>
                      <a:pt x="556" y="48"/>
                    </a:cubicBezTo>
                    <a:cubicBezTo>
                      <a:pt x="556" y="47"/>
                      <a:pt x="555" y="48"/>
                      <a:pt x="555" y="48"/>
                    </a:cubicBezTo>
                    <a:cubicBezTo>
                      <a:pt x="555" y="48"/>
                      <a:pt x="554" y="48"/>
                      <a:pt x="554" y="48"/>
                    </a:cubicBezTo>
                    <a:cubicBezTo>
                      <a:pt x="554" y="48"/>
                      <a:pt x="554" y="48"/>
                      <a:pt x="554" y="48"/>
                    </a:cubicBezTo>
                    <a:cubicBezTo>
                      <a:pt x="553" y="48"/>
                      <a:pt x="553" y="48"/>
                      <a:pt x="553" y="48"/>
                    </a:cubicBezTo>
                    <a:cubicBezTo>
                      <a:pt x="553" y="48"/>
                      <a:pt x="553" y="48"/>
                      <a:pt x="553" y="48"/>
                    </a:cubicBezTo>
                    <a:cubicBezTo>
                      <a:pt x="553" y="48"/>
                      <a:pt x="553" y="48"/>
                      <a:pt x="552" y="48"/>
                    </a:cubicBezTo>
                    <a:cubicBezTo>
                      <a:pt x="552" y="48"/>
                      <a:pt x="552" y="48"/>
                      <a:pt x="552" y="48"/>
                    </a:cubicBezTo>
                    <a:cubicBezTo>
                      <a:pt x="552" y="48"/>
                      <a:pt x="552" y="48"/>
                      <a:pt x="552" y="48"/>
                    </a:cubicBezTo>
                    <a:cubicBezTo>
                      <a:pt x="552" y="48"/>
                      <a:pt x="552" y="48"/>
                      <a:pt x="552" y="48"/>
                    </a:cubicBezTo>
                    <a:cubicBezTo>
                      <a:pt x="552" y="48"/>
                      <a:pt x="551" y="48"/>
                      <a:pt x="551" y="48"/>
                    </a:cubicBezTo>
                    <a:cubicBezTo>
                      <a:pt x="551" y="48"/>
                      <a:pt x="551" y="48"/>
                      <a:pt x="551" y="48"/>
                    </a:cubicBezTo>
                    <a:cubicBezTo>
                      <a:pt x="551" y="48"/>
                      <a:pt x="551" y="48"/>
                      <a:pt x="551" y="48"/>
                    </a:cubicBezTo>
                    <a:cubicBezTo>
                      <a:pt x="551" y="48"/>
                      <a:pt x="550" y="48"/>
                      <a:pt x="550" y="48"/>
                    </a:cubicBezTo>
                    <a:cubicBezTo>
                      <a:pt x="550" y="48"/>
                      <a:pt x="550" y="48"/>
                      <a:pt x="550" y="48"/>
                    </a:cubicBezTo>
                    <a:cubicBezTo>
                      <a:pt x="550" y="48"/>
                      <a:pt x="550" y="48"/>
                      <a:pt x="550" y="48"/>
                    </a:cubicBezTo>
                    <a:cubicBezTo>
                      <a:pt x="549" y="48"/>
                      <a:pt x="549" y="48"/>
                      <a:pt x="549" y="48"/>
                    </a:cubicBezTo>
                    <a:cubicBezTo>
                      <a:pt x="549" y="48"/>
                      <a:pt x="549" y="48"/>
                      <a:pt x="549" y="48"/>
                    </a:cubicBezTo>
                    <a:cubicBezTo>
                      <a:pt x="549" y="48"/>
                      <a:pt x="549" y="48"/>
                      <a:pt x="549" y="48"/>
                    </a:cubicBezTo>
                    <a:cubicBezTo>
                      <a:pt x="549" y="48"/>
                      <a:pt x="549" y="48"/>
                      <a:pt x="549" y="48"/>
                    </a:cubicBezTo>
                    <a:cubicBezTo>
                      <a:pt x="549" y="49"/>
                      <a:pt x="548" y="49"/>
                      <a:pt x="548" y="49"/>
                    </a:cubicBezTo>
                    <a:cubicBezTo>
                      <a:pt x="548" y="49"/>
                      <a:pt x="548" y="49"/>
                      <a:pt x="548" y="49"/>
                    </a:cubicBezTo>
                    <a:cubicBezTo>
                      <a:pt x="548" y="49"/>
                      <a:pt x="547" y="49"/>
                      <a:pt x="547" y="49"/>
                    </a:cubicBezTo>
                    <a:cubicBezTo>
                      <a:pt x="547" y="49"/>
                      <a:pt x="547" y="49"/>
                      <a:pt x="547" y="49"/>
                    </a:cubicBezTo>
                    <a:cubicBezTo>
                      <a:pt x="547" y="50"/>
                      <a:pt x="547" y="50"/>
                      <a:pt x="547" y="50"/>
                    </a:cubicBezTo>
                    <a:cubicBezTo>
                      <a:pt x="547" y="51"/>
                      <a:pt x="547" y="51"/>
                      <a:pt x="547" y="52"/>
                    </a:cubicBezTo>
                    <a:cubicBezTo>
                      <a:pt x="547" y="52"/>
                      <a:pt x="547" y="52"/>
                      <a:pt x="547" y="53"/>
                    </a:cubicBezTo>
                    <a:cubicBezTo>
                      <a:pt x="547" y="53"/>
                      <a:pt x="547" y="53"/>
                      <a:pt x="546" y="53"/>
                    </a:cubicBezTo>
                    <a:cubicBezTo>
                      <a:pt x="546" y="54"/>
                      <a:pt x="546" y="54"/>
                      <a:pt x="546" y="54"/>
                    </a:cubicBezTo>
                    <a:cubicBezTo>
                      <a:pt x="546" y="53"/>
                      <a:pt x="546" y="53"/>
                      <a:pt x="546" y="53"/>
                    </a:cubicBezTo>
                    <a:cubicBezTo>
                      <a:pt x="546" y="53"/>
                      <a:pt x="546" y="53"/>
                      <a:pt x="546" y="53"/>
                    </a:cubicBezTo>
                    <a:cubicBezTo>
                      <a:pt x="546" y="52"/>
                      <a:pt x="546" y="52"/>
                      <a:pt x="546" y="52"/>
                    </a:cubicBezTo>
                    <a:cubicBezTo>
                      <a:pt x="546" y="52"/>
                      <a:pt x="546" y="52"/>
                      <a:pt x="546" y="52"/>
                    </a:cubicBezTo>
                    <a:cubicBezTo>
                      <a:pt x="546" y="52"/>
                      <a:pt x="546" y="52"/>
                      <a:pt x="546" y="52"/>
                    </a:cubicBezTo>
                    <a:cubicBezTo>
                      <a:pt x="546" y="52"/>
                      <a:pt x="545" y="52"/>
                      <a:pt x="545" y="51"/>
                    </a:cubicBezTo>
                    <a:cubicBezTo>
                      <a:pt x="545" y="51"/>
                      <a:pt x="545" y="51"/>
                      <a:pt x="545" y="51"/>
                    </a:cubicBezTo>
                    <a:cubicBezTo>
                      <a:pt x="545" y="50"/>
                      <a:pt x="545" y="50"/>
                      <a:pt x="545" y="50"/>
                    </a:cubicBezTo>
                    <a:cubicBezTo>
                      <a:pt x="545" y="50"/>
                      <a:pt x="545" y="50"/>
                      <a:pt x="545" y="50"/>
                    </a:cubicBezTo>
                    <a:cubicBezTo>
                      <a:pt x="545" y="49"/>
                      <a:pt x="545" y="49"/>
                      <a:pt x="545" y="49"/>
                    </a:cubicBezTo>
                    <a:cubicBezTo>
                      <a:pt x="546" y="49"/>
                      <a:pt x="546" y="49"/>
                      <a:pt x="545" y="48"/>
                    </a:cubicBezTo>
                    <a:cubicBezTo>
                      <a:pt x="545" y="48"/>
                      <a:pt x="545" y="48"/>
                      <a:pt x="545" y="48"/>
                    </a:cubicBezTo>
                    <a:cubicBezTo>
                      <a:pt x="544" y="48"/>
                      <a:pt x="544" y="48"/>
                      <a:pt x="544" y="48"/>
                    </a:cubicBezTo>
                    <a:cubicBezTo>
                      <a:pt x="544" y="48"/>
                      <a:pt x="543" y="48"/>
                      <a:pt x="543" y="48"/>
                    </a:cubicBezTo>
                    <a:cubicBezTo>
                      <a:pt x="543" y="48"/>
                      <a:pt x="543" y="48"/>
                      <a:pt x="543" y="48"/>
                    </a:cubicBezTo>
                    <a:cubicBezTo>
                      <a:pt x="543" y="48"/>
                      <a:pt x="542" y="48"/>
                      <a:pt x="542" y="48"/>
                    </a:cubicBezTo>
                    <a:cubicBezTo>
                      <a:pt x="541" y="48"/>
                      <a:pt x="541" y="48"/>
                      <a:pt x="541" y="48"/>
                    </a:cubicBezTo>
                    <a:cubicBezTo>
                      <a:pt x="541" y="48"/>
                      <a:pt x="541" y="48"/>
                      <a:pt x="541" y="48"/>
                    </a:cubicBezTo>
                    <a:cubicBezTo>
                      <a:pt x="541" y="47"/>
                      <a:pt x="541" y="47"/>
                      <a:pt x="541" y="47"/>
                    </a:cubicBezTo>
                    <a:cubicBezTo>
                      <a:pt x="541" y="47"/>
                      <a:pt x="541" y="47"/>
                      <a:pt x="541" y="47"/>
                    </a:cubicBezTo>
                    <a:cubicBezTo>
                      <a:pt x="541" y="46"/>
                      <a:pt x="541" y="46"/>
                      <a:pt x="541" y="46"/>
                    </a:cubicBezTo>
                    <a:cubicBezTo>
                      <a:pt x="542" y="46"/>
                      <a:pt x="542" y="46"/>
                      <a:pt x="542" y="46"/>
                    </a:cubicBezTo>
                    <a:cubicBezTo>
                      <a:pt x="542" y="46"/>
                      <a:pt x="542" y="46"/>
                      <a:pt x="542" y="46"/>
                    </a:cubicBezTo>
                    <a:cubicBezTo>
                      <a:pt x="542" y="46"/>
                      <a:pt x="542" y="45"/>
                      <a:pt x="542" y="45"/>
                    </a:cubicBezTo>
                    <a:cubicBezTo>
                      <a:pt x="542" y="45"/>
                      <a:pt x="542" y="45"/>
                      <a:pt x="542" y="45"/>
                    </a:cubicBezTo>
                    <a:cubicBezTo>
                      <a:pt x="542" y="45"/>
                      <a:pt x="542" y="45"/>
                      <a:pt x="542" y="44"/>
                    </a:cubicBezTo>
                    <a:cubicBezTo>
                      <a:pt x="542" y="44"/>
                      <a:pt x="542" y="44"/>
                      <a:pt x="542" y="44"/>
                    </a:cubicBezTo>
                    <a:cubicBezTo>
                      <a:pt x="542" y="44"/>
                      <a:pt x="542" y="43"/>
                      <a:pt x="542" y="43"/>
                    </a:cubicBezTo>
                    <a:cubicBezTo>
                      <a:pt x="542" y="43"/>
                      <a:pt x="541" y="42"/>
                      <a:pt x="540" y="42"/>
                    </a:cubicBezTo>
                    <a:cubicBezTo>
                      <a:pt x="540" y="42"/>
                      <a:pt x="540" y="42"/>
                      <a:pt x="540" y="42"/>
                    </a:cubicBezTo>
                    <a:cubicBezTo>
                      <a:pt x="540" y="41"/>
                      <a:pt x="540" y="41"/>
                      <a:pt x="540" y="41"/>
                    </a:cubicBezTo>
                    <a:cubicBezTo>
                      <a:pt x="539" y="41"/>
                      <a:pt x="538" y="41"/>
                      <a:pt x="537" y="41"/>
                    </a:cubicBezTo>
                    <a:cubicBezTo>
                      <a:pt x="536" y="40"/>
                      <a:pt x="535" y="40"/>
                      <a:pt x="535" y="40"/>
                    </a:cubicBezTo>
                    <a:cubicBezTo>
                      <a:pt x="535" y="40"/>
                      <a:pt x="534" y="40"/>
                      <a:pt x="533" y="40"/>
                    </a:cubicBezTo>
                    <a:cubicBezTo>
                      <a:pt x="533" y="40"/>
                      <a:pt x="533" y="40"/>
                      <a:pt x="533" y="40"/>
                    </a:cubicBezTo>
                    <a:cubicBezTo>
                      <a:pt x="532" y="40"/>
                      <a:pt x="532" y="40"/>
                      <a:pt x="532" y="40"/>
                    </a:cubicBezTo>
                    <a:cubicBezTo>
                      <a:pt x="532" y="40"/>
                      <a:pt x="532" y="40"/>
                      <a:pt x="532" y="40"/>
                    </a:cubicBezTo>
                    <a:cubicBezTo>
                      <a:pt x="531" y="40"/>
                      <a:pt x="530" y="40"/>
                      <a:pt x="530" y="40"/>
                    </a:cubicBezTo>
                    <a:cubicBezTo>
                      <a:pt x="530" y="40"/>
                      <a:pt x="529" y="40"/>
                      <a:pt x="529" y="40"/>
                    </a:cubicBezTo>
                    <a:cubicBezTo>
                      <a:pt x="529" y="40"/>
                      <a:pt x="528" y="40"/>
                      <a:pt x="528" y="40"/>
                    </a:cubicBezTo>
                    <a:cubicBezTo>
                      <a:pt x="528" y="41"/>
                      <a:pt x="528" y="41"/>
                      <a:pt x="528" y="40"/>
                    </a:cubicBezTo>
                    <a:cubicBezTo>
                      <a:pt x="528" y="40"/>
                      <a:pt x="527" y="40"/>
                      <a:pt x="527" y="40"/>
                    </a:cubicBezTo>
                    <a:cubicBezTo>
                      <a:pt x="527" y="40"/>
                      <a:pt x="527" y="40"/>
                      <a:pt x="526" y="40"/>
                    </a:cubicBezTo>
                    <a:cubicBezTo>
                      <a:pt x="526" y="40"/>
                      <a:pt x="526" y="40"/>
                      <a:pt x="526" y="40"/>
                    </a:cubicBezTo>
                    <a:cubicBezTo>
                      <a:pt x="526" y="40"/>
                      <a:pt x="525" y="40"/>
                      <a:pt x="525" y="40"/>
                    </a:cubicBezTo>
                    <a:cubicBezTo>
                      <a:pt x="525" y="40"/>
                      <a:pt x="524" y="41"/>
                      <a:pt x="523" y="41"/>
                    </a:cubicBezTo>
                    <a:cubicBezTo>
                      <a:pt x="522" y="41"/>
                      <a:pt x="522" y="41"/>
                      <a:pt x="522" y="41"/>
                    </a:cubicBezTo>
                    <a:cubicBezTo>
                      <a:pt x="522" y="41"/>
                      <a:pt x="522" y="42"/>
                      <a:pt x="522" y="41"/>
                    </a:cubicBezTo>
                    <a:cubicBezTo>
                      <a:pt x="522" y="41"/>
                      <a:pt x="521" y="41"/>
                      <a:pt x="521" y="41"/>
                    </a:cubicBezTo>
                    <a:cubicBezTo>
                      <a:pt x="520" y="41"/>
                      <a:pt x="520" y="41"/>
                      <a:pt x="519" y="41"/>
                    </a:cubicBezTo>
                    <a:cubicBezTo>
                      <a:pt x="519" y="41"/>
                      <a:pt x="519" y="41"/>
                      <a:pt x="519" y="41"/>
                    </a:cubicBezTo>
                    <a:cubicBezTo>
                      <a:pt x="518" y="42"/>
                      <a:pt x="518" y="42"/>
                      <a:pt x="518" y="41"/>
                    </a:cubicBezTo>
                    <a:cubicBezTo>
                      <a:pt x="518" y="41"/>
                      <a:pt x="518" y="41"/>
                      <a:pt x="518" y="41"/>
                    </a:cubicBezTo>
                    <a:cubicBezTo>
                      <a:pt x="517" y="41"/>
                      <a:pt x="517" y="41"/>
                      <a:pt x="517" y="41"/>
                    </a:cubicBezTo>
                    <a:cubicBezTo>
                      <a:pt x="517" y="41"/>
                      <a:pt x="517" y="41"/>
                      <a:pt x="517" y="41"/>
                    </a:cubicBezTo>
                    <a:cubicBezTo>
                      <a:pt x="517" y="40"/>
                      <a:pt x="517" y="40"/>
                      <a:pt x="517" y="40"/>
                    </a:cubicBezTo>
                    <a:cubicBezTo>
                      <a:pt x="517" y="40"/>
                      <a:pt x="516" y="40"/>
                      <a:pt x="516" y="40"/>
                    </a:cubicBezTo>
                    <a:cubicBezTo>
                      <a:pt x="516" y="39"/>
                      <a:pt x="516" y="39"/>
                      <a:pt x="515" y="39"/>
                    </a:cubicBezTo>
                    <a:cubicBezTo>
                      <a:pt x="515" y="39"/>
                      <a:pt x="515" y="39"/>
                      <a:pt x="515" y="39"/>
                    </a:cubicBezTo>
                    <a:cubicBezTo>
                      <a:pt x="514" y="38"/>
                      <a:pt x="514" y="38"/>
                      <a:pt x="514" y="38"/>
                    </a:cubicBezTo>
                    <a:cubicBezTo>
                      <a:pt x="513" y="38"/>
                      <a:pt x="513" y="38"/>
                      <a:pt x="513" y="38"/>
                    </a:cubicBezTo>
                    <a:cubicBezTo>
                      <a:pt x="513" y="38"/>
                      <a:pt x="512" y="38"/>
                      <a:pt x="512" y="38"/>
                    </a:cubicBezTo>
                    <a:cubicBezTo>
                      <a:pt x="512" y="38"/>
                      <a:pt x="512" y="38"/>
                      <a:pt x="512" y="38"/>
                    </a:cubicBezTo>
                    <a:cubicBezTo>
                      <a:pt x="512" y="38"/>
                      <a:pt x="512" y="38"/>
                      <a:pt x="512" y="37"/>
                    </a:cubicBezTo>
                    <a:cubicBezTo>
                      <a:pt x="512" y="37"/>
                      <a:pt x="512" y="37"/>
                      <a:pt x="512" y="37"/>
                    </a:cubicBezTo>
                    <a:cubicBezTo>
                      <a:pt x="511" y="37"/>
                      <a:pt x="511" y="37"/>
                      <a:pt x="510" y="38"/>
                    </a:cubicBezTo>
                    <a:cubicBezTo>
                      <a:pt x="510" y="38"/>
                      <a:pt x="510" y="38"/>
                      <a:pt x="510" y="38"/>
                    </a:cubicBezTo>
                    <a:cubicBezTo>
                      <a:pt x="510" y="38"/>
                      <a:pt x="510" y="38"/>
                      <a:pt x="510" y="38"/>
                    </a:cubicBezTo>
                    <a:cubicBezTo>
                      <a:pt x="510" y="37"/>
                      <a:pt x="510" y="37"/>
                      <a:pt x="510" y="37"/>
                    </a:cubicBezTo>
                    <a:cubicBezTo>
                      <a:pt x="510" y="37"/>
                      <a:pt x="510" y="37"/>
                      <a:pt x="510" y="37"/>
                    </a:cubicBezTo>
                    <a:cubicBezTo>
                      <a:pt x="510" y="36"/>
                      <a:pt x="510" y="36"/>
                      <a:pt x="510" y="36"/>
                    </a:cubicBezTo>
                    <a:cubicBezTo>
                      <a:pt x="510" y="36"/>
                      <a:pt x="507" y="36"/>
                      <a:pt x="507" y="36"/>
                    </a:cubicBezTo>
                    <a:cubicBezTo>
                      <a:pt x="507" y="36"/>
                      <a:pt x="507" y="36"/>
                      <a:pt x="507" y="36"/>
                    </a:cubicBezTo>
                    <a:cubicBezTo>
                      <a:pt x="507" y="36"/>
                      <a:pt x="507" y="36"/>
                      <a:pt x="507" y="36"/>
                    </a:cubicBezTo>
                    <a:cubicBezTo>
                      <a:pt x="507" y="36"/>
                      <a:pt x="507" y="36"/>
                      <a:pt x="508" y="36"/>
                    </a:cubicBezTo>
                    <a:cubicBezTo>
                      <a:pt x="508" y="36"/>
                      <a:pt x="508" y="36"/>
                      <a:pt x="508" y="35"/>
                    </a:cubicBezTo>
                    <a:cubicBezTo>
                      <a:pt x="508" y="35"/>
                      <a:pt x="508" y="35"/>
                      <a:pt x="508" y="35"/>
                    </a:cubicBezTo>
                    <a:cubicBezTo>
                      <a:pt x="508" y="35"/>
                      <a:pt x="508" y="35"/>
                      <a:pt x="508" y="35"/>
                    </a:cubicBezTo>
                    <a:cubicBezTo>
                      <a:pt x="509" y="35"/>
                      <a:pt x="509" y="35"/>
                      <a:pt x="509" y="36"/>
                    </a:cubicBezTo>
                    <a:cubicBezTo>
                      <a:pt x="509" y="36"/>
                      <a:pt x="509" y="36"/>
                      <a:pt x="510" y="36"/>
                    </a:cubicBezTo>
                    <a:cubicBezTo>
                      <a:pt x="510" y="36"/>
                      <a:pt x="510" y="35"/>
                      <a:pt x="510" y="35"/>
                    </a:cubicBezTo>
                    <a:cubicBezTo>
                      <a:pt x="510" y="35"/>
                      <a:pt x="510" y="35"/>
                      <a:pt x="510" y="35"/>
                    </a:cubicBezTo>
                    <a:cubicBezTo>
                      <a:pt x="510" y="35"/>
                      <a:pt x="510" y="34"/>
                      <a:pt x="510" y="34"/>
                    </a:cubicBezTo>
                    <a:cubicBezTo>
                      <a:pt x="510" y="34"/>
                      <a:pt x="509" y="34"/>
                      <a:pt x="509" y="34"/>
                    </a:cubicBezTo>
                    <a:cubicBezTo>
                      <a:pt x="508" y="33"/>
                      <a:pt x="507" y="33"/>
                      <a:pt x="507" y="33"/>
                    </a:cubicBezTo>
                    <a:cubicBezTo>
                      <a:pt x="506" y="33"/>
                      <a:pt x="505" y="33"/>
                      <a:pt x="505" y="33"/>
                    </a:cubicBezTo>
                    <a:cubicBezTo>
                      <a:pt x="504" y="33"/>
                      <a:pt x="502" y="33"/>
                      <a:pt x="502" y="33"/>
                    </a:cubicBezTo>
                    <a:cubicBezTo>
                      <a:pt x="502" y="33"/>
                      <a:pt x="502" y="33"/>
                      <a:pt x="502" y="33"/>
                    </a:cubicBezTo>
                    <a:cubicBezTo>
                      <a:pt x="501" y="33"/>
                      <a:pt x="501" y="33"/>
                      <a:pt x="501" y="33"/>
                    </a:cubicBezTo>
                    <a:cubicBezTo>
                      <a:pt x="501" y="33"/>
                      <a:pt x="500" y="33"/>
                      <a:pt x="500" y="34"/>
                    </a:cubicBezTo>
                    <a:cubicBezTo>
                      <a:pt x="499" y="34"/>
                      <a:pt x="499" y="35"/>
                      <a:pt x="499" y="35"/>
                    </a:cubicBezTo>
                    <a:cubicBezTo>
                      <a:pt x="499" y="35"/>
                      <a:pt x="498" y="36"/>
                      <a:pt x="498" y="36"/>
                    </a:cubicBezTo>
                    <a:cubicBezTo>
                      <a:pt x="497" y="36"/>
                      <a:pt x="497" y="36"/>
                      <a:pt x="497" y="36"/>
                    </a:cubicBezTo>
                    <a:cubicBezTo>
                      <a:pt x="497" y="36"/>
                      <a:pt x="497" y="36"/>
                      <a:pt x="497" y="36"/>
                    </a:cubicBezTo>
                    <a:cubicBezTo>
                      <a:pt x="496" y="36"/>
                      <a:pt x="496" y="36"/>
                      <a:pt x="496" y="36"/>
                    </a:cubicBezTo>
                    <a:cubicBezTo>
                      <a:pt x="496" y="36"/>
                      <a:pt x="496" y="36"/>
                      <a:pt x="495" y="36"/>
                    </a:cubicBezTo>
                    <a:cubicBezTo>
                      <a:pt x="495" y="37"/>
                      <a:pt x="495" y="37"/>
                      <a:pt x="495" y="37"/>
                    </a:cubicBezTo>
                    <a:cubicBezTo>
                      <a:pt x="495" y="37"/>
                      <a:pt x="495" y="37"/>
                      <a:pt x="495" y="37"/>
                    </a:cubicBezTo>
                    <a:cubicBezTo>
                      <a:pt x="495" y="37"/>
                      <a:pt x="494" y="37"/>
                      <a:pt x="494" y="37"/>
                    </a:cubicBezTo>
                    <a:cubicBezTo>
                      <a:pt x="494" y="37"/>
                      <a:pt x="494" y="36"/>
                      <a:pt x="494" y="36"/>
                    </a:cubicBezTo>
                    <a:cubicBezTo>
                      <a:pt x="494" y="36"/>
                      <a:pt x="494" y="36"/>
                      <a:pt x="494" y="36"/>
                    </a:cubicBezTo>
                    <a:cubicBezTo>
                      <a:pt x="495" y="36"/>
                      <a:pt x="495" y="36"/>
                      <a:pt x="495" y="36"/>
                    </a:cubicBezTo>
                    <a:cubicBezTo>
                      <a:pt x="495" y="36"/>
                      <a:pt x="495" y="36"/>
                      <a:pt x="495" y="36"/>
                    </a:cubicBezTo>
                    <a:cubicBezTo>
                      <a:pt x="495" y="36"/>
                      <a:pt x="495" y="36"/>
                      <a:pt x="495" y="36"/>
                    </a:cubicBezTo>
                    <a:cubicBezTo>
                      <a:pt x="495" y="35"/>
                      <a:pt x="494" y="35"/>
                      <a:pt x="494" y="35"/>
                    </a:cubicBezTo>
                    <a:cubicBezTo>
                      <a:pt x="494" y="35"/>
                      <a:pt x="494" y="35"/>
                      <a:pt x="494" y="35"/>
                    </a:cubicBezTo>
                    <a:cubicBezTo>
                      <a:pt x="494" y="35"/>
                      <a:pt x="494" y="35"/>
                      <a:pt x="494" y="35"/>
                    </a:cubicBezTo>
                    <a:cubicBezTo>
                      <a:pt x="494" y="34"/>
                      <a:pt x="494" y="34"/>
                      <a:pt x="494" y="34"/>
                    </a:cubicBezTo>
                    <a:cubicBezTo>
                      <a:pt x="494" y="35"/>
                      <a:pt x="495" y="35"/>
                      <a:pt x="495" y="35"/>
                    </a:cubicBezTo>
                    <a:cubicBezTo>
                      <a:pt x="495" y="35"/>
                      <a:pt x="495" y="35"/>
                      <a:pt x="495" y="35"/>
                    </a:cubicBezTo>
                    <a:cubicBezTo>
                      <a:pt x="495" y="35"/>
                      <a:pt x="495" y="35"/>
                      <a:pt x="495" y="35"/>
                    </a:cubicBezTo>
                    <a:cubicBezTo>
                      <a:pt x="496" y="35"/>
                      <a:pt x="496" y="35"/>
                      <a:pt x="496" y="35"/>
                    </a:cubicBezTo>
                    <a:cubicBezTo>
                      <a:pt x="496" y="35"/>
                      <a:pt x="496" y="35"/>
                      <a:pt x="496" y="35"/>
                    </a:cubicBezTo>
                    <a:cubicBezTo>
                      <a:pt x="496" y="35"/>
                      <a:pt x="497" y="35"/>
                      <a:pt x="496" y="34"/>
                    </a:cubicBezTo>
                    <a:cubicBezTo>
                      <a:pt x="496" y="34"/>
                      <a:pt x="496" y="34"/>
                      <a:pt x="496" y="34"/>
                    </a:cubicBezTo>
                    <a:cubicBezTo>
                      <a:pt x="496" y="34"/>
                      <a:pt x="496" y="34"/>
                      <a:pt x="496" y="34"/>
                    </a:cubicBezTo>
                    <a:cubicBezTo>
                      <a:pt x="496" y="34"/>
                      <a:pt x="496" y="34"/>
                      <a:pt x="496" y="34"/>
                    </a:cubicBezTo>
                    <a:cubicBezTo>
                      <a:pt x="497" y="33"/>
                      <a:pt x="497" y="33"/>
                      <a:pt x="497" y="33"/>
                    </a:cubicBezTo>
                    <a:cubicBezTo>
                      <a:pt x="497" y="33"/>
                      <a:pt x="497" y="33"/>
                      <a:pt x="497" y="33"/>
                    </a:cubicBezTo>
                    <a:cubicBezTo>
                      <a:pt x="497" y="34"/>
                      <a:pt x="497" y="34"/>
                      <a:pt x="497" y="35"/>
                    </a:cubicBezTo>
                    <a:cubicBezTo>
                      <a:pt x="497" y="35"/>
                      <a:pt x="497" y="35"/>
                      <a:pt x="497" y="35"/>
                    </a:cubicBezTo>
                    <a:cubicBezTo>
                      <a:pt x="497" y="35"/>
                      <a:pt x="497" y="35"/>
                      <a:pt x="497" y="35"/>
                    </a:cubicBezTo>
                    <a:cubicBezTo>
                      <a:pt x="497" y="35"/>
                      <a:pt x="498" y="35"/>
                      <a:pt x="498" y="34"/>
                    </a:cubicBezTo>
                    <a:cubicBezTo>
                      <a:pt x="498" y="34"/>
                      <a:pt x="499" y="34"/>
                      <a:pt x="499" y="33"/>
                    </a:cubicBezTo>
                    <a:cubicBezTo>
                      <a:pt x="499" y="33"/>
                      <a:pt x="498" y="33"/>
                      <a:pt x="497" y="33"/>
                    </a:cubicBezTo>
                    <a:cubicBezTo>
                      <a:pt x="497" y="33"/>
                      <a:pt x="497" y="33"/>
                      <a:pt x="497" y="33"/>
                    </a:cubicBezTo>
                    <a:cubicBezTo>
                      <a:pt x="496" y="33"/>
                      <a:pt x="496" y="33"/>
                      <a:pt x="496" y="33"/>
                    </a:cubicBezTo>
                    <a:cubicBezTo>
                      <a:pt x="496" y="33"/>
                      <a:pt x="495" y="33"/>
                      <a:pt x="495" y="33"/>
                    </a:cubicBezTo>
                    <a:cubicBezTo>
                      <a:pt x="495" y="32"/>
                      <a:pt x="496" y="32"/>
                      <a:pt x="497" y="32"/>
                    </a:cubicBezTo>
                    <a:cubicBezTo>
                      <a:pt x="497" y="32"/>
                      <a:pt x="499" y="32"/>
                      <a:pt x="500" y="32"/>
                    </a:cubicBezTo>
                    <a:cubicBezTo>
                      <a:pt x="499" y="32"/>
                      <a:pt x="499" y="32"/>
                      <a:pt x="499" y="32"/>
                    </a:cubicBezTo>
                    <a:cubicBezTo>
                      <a:pt x="499" y="32"/>
                      <a:pt x="498" y="32"/>
                      <a:pt x="497" y="32"/>
                    </a:cubicBezTo>
                    <a:cubicBezTo>
                      <a:pt x="496" y="31"/>
                      <a:pt x="494" y="31"/>
                      <a:pt x="493" y="31"/>
                    </a:cubicBezTo>
                    <a:cubicBezTo>
                      <a:pt x="493" y="31"/>
                      <a:pt x="493" y="31"/>
                      <a:pt x="492" y="31"/>
                    </a:cubicBezTo>
                    <a:cubicBezTo>
                      <a:pt x="491" y="31"/>
                      <a:pt x="491" y="31"/>
                      <a:pt x="489" y="31"/>
                    </a:cubicBezTo>
                    <a:cubicBezTo>
                      <a:pt x="486" y="31"/>
                      <a:pt x="487" y="31"/>
                      <a:pt x="486" y="31"/>
                    </a:cubicBezTo>
                    <a:cubicBezTo>
                      <a:pt x="484" y="30"/>
                      <a:pt x="484" y="30"/>
                      <a:pt x="483" y="30"/>
                    </a:cubicBezTo>
                    <a:cubicBezTo>
                      <a:pt x="482" y="30"/>
                      <a:pt x="482" y="30"/>
                      <a:pt x="482" y="30"/>
                    </a:cubicBezTo>
                    <a:cubicBezTo>
                      <a:pt x="482" y="29"/>
                      <a:pt x="481" y="29"/>
                      <a:pt x="481" y="29"/>
                    </a:cubicBezTo>
                    <a:cubicBezTo>
                      <a:pt x="480" y="29"/>
                      <a:pt x="480" y="29"/>
                      <a:pt x="480" y="29"/>
                    </a:cubicBezTo>
                    <a:cubicBezTo>
                      <a:pt x="480" y="29"/>
                      <a:pt x="480" y="30"/>
                      <a:pt x="480" y="30"/>
                    </a:cubicBezTo>
                    <a:cubicBezTo>
                      <a:pt x="480" y="30"/>
                      <a:pt x="480" y="30"/>
                      <a:pt x="481" y="30"/>
                    </a:cubicBezTo>
                    <a:cubicBezTo>
                      <a:pt x="481" y="30"/>
                      <a:pt x="481" y="30"/>
                      <a:pt x="481" y="30"/>
                    </a:cubicBezTo>
                    <a:cubicBezTo>
                      <a:pt x="481" y="30"/>
                      <a:pt x="481" y="30"/>
                      <a:pt x="481" y="30"/>
                    </a:cubicBezTo>
                    <a:cubicBezTo>
                      <a:pt x="481" y="31"/>
                      <a:pt x="481" y="31"/>
                      <a:pt x="481" y="31"/>
                    </a:cubicBezTo>
                    <a:cubicBezTo>
                      <a:pt x="481" y="31"/>
                      <a:pt x="481" y="31"/>
                      <a:pt x="481" y="31"/>
                    </a:cubicBezTo>
                    <a:cubicBezTo>
                      <a:pt x="481" y="31"/>
                      <a:pt x="481" y="31"/>
                      <a:pt x="480" y="31"/>
                    </a:cubicBezTo>
                    <a:cubicBezTo>
                      <a:pt x="480" y="31"/>
                      <a:pt x="480" y="31"/>
                      <a:pt x="479" y="31"/>
                    </a:cubicBezTo>
                    <a:cubicBezTo>
                      <a:pt x="479" y="31"/>
                      <a:pt x="479" y="31"/>
                      <a:pt x="479" y="31"/>
                    </a:cubicBezTo>
                    <a:cubicBezTo>
                      <a:pt x="479" y="31"/>
                      <a:pt x="478" y="32"/>
                      <a:pt x="477" y="32"/>
                    </a:cubicBezTo>
                    <a:cubicBezTo>
                      <a:pt x="477" y="32"/>
                      <a:pt x="477" y="32"/>
                      <a:pt x="477" y="32"/>
                    </a:cubicBezTo>
                    <a:cubicBezTo>
                      <a:pt x="477" y="32"/>
                      <a:pt x="476" y="32"/>
                      <a:pt x="476" y="32"/>
                    </a:cubicBezTo>
                    <a:cubicBezTo>
                      <a:pt x="476" y="32"/>
                      <a:pt x="476" y="33"/>
                      <a:pt x="476" y="33"/>
                    </a:cubicBezTo>
                    <a:cubicBezTo>
                      <a:pt x="476" y="33"/>
                      <a:pt x="476" y="34"/>
                      <a:pt x="476" y="34"/>
                    </a:cubicBezTo>
                    <a:cubicBezTo>
                      <a:pt x="477" y="33"/>
                      <a:pt x="477" y="33"/>
                      <a:pt x="477" y="33"/>
                    </a:cubicBezTo>
                    <a:cubicBezTo>
                      <a:pt x="477" y="33"/>
                      <a:pt x="477" y="33"/>
                      <a:pt x="477" y="33"/>
                    </a:cubicBezTo>
                    <a:cubicBezTo>
                      <a:pt x="477" y="33"/>
                      <a:pt x="478" y="33"/>
                      <a:pt x="478" y="33"/>
                    </a:cubicBezTo>
                    <a:cubicBezTo>
                      <a:pt x="478" y="33"/>
                      <a:pt x="479" y="33"/>
                      <a:pt x="479" y="33"/>
                    </a:cubicBezTo>
                    <a:cubicBezTo>
                      <a:pt x="479" y="33"/>
                      <a:pt x="478" y="34"/>
                      <a:pt x="478" y="34"/>
                    </a:cubicBezTo>
                    <a:cubicBezTo>
                      <a:pt x="478" y="34"/>
                      <a:pt x="478" y="34"/>
                      <a:pt x="478" y="34"/>
                    </a:cubicBezTo>
                    <a:cubicBezTo>
                      <a:pt x="477" y="34"/>
                      <a:pt x="477" y="34"/>
                      <a:pt x="477" y="34"/>
                    </a:cubicBezTo>
                    <a:cubicBezTo>
                      <a:pt x="477" y="34"/>
                      <a:pt x="477" y="34"/>
                      <a:pt x="477" y="34"/>
                    </a:cubicBezTo>
                    <a:cubicBezTo>
                      <a:pt x="477" y="34"/>
                      <a:pt x="477" y="35"/>
                      <a:pt x="476" y="35"/>
                    </a:cubicBezTo>
                    <a:cubicBezTo>
                      <a:pt x="476" y="34"/>
                      <a:pt x="477" y="35"/>
                      <a:pt x="477" y="35"/>
                    </a:cubicBezTo>
                    <a:cubicBezTo>
                      <a:pt x="478" y="35"/>
                      <a:pt x="478" y="35"/>
                      <a:pt x="478" y="35"/>
                    </a:cubicBezTo>
                    <a:cubicBezTo>
                      <a:pt x="478" y="35"/>
                      <a:pt x="478" y="35"/>
                      <a:pt x="478" y="35"/>
                    </a:cubicBezTo>
                    <a:cubicBezTo>
                      <a:pt x="477" y="36"/>
                      <a:pt x="478" y="37"/>
                      <a:pt x="478" y="38"/>
                    </a:cubicBezTo>
                    <a:cubicBezTo>
                      <a:pt x="478" y="38"/>
                      <a:pt x="478" y="38"/>
                      <a:pt x="478" y="38"/>
                    </a:cubicBezTo>
                    <a:cubicBezTo>
                      <a:pt x="478" y="38"/>
                      <a:pt x="478" y="38"/>
                      <a:pt x="478" y="38"/>
                    </a:cubicBezTo>
                    <a:cubicBezTo>
                      <a:pt x="478" y="38"/>
                      <a:pt x="477" y="38"/>
                      <a:pt x="477" y="38"/>
                    </a:cubicBezTo>
                    <a:cubicBezTo>
                      <a:pt x="476" y="38"/>
                      <a:pt x="476" y="38"/>
                      <a:pt x="476" y="38"/>
                    </a:cubicBezTo>
                    <a:cubicBezTo>
                      <a:pt x="476" y="38"/>
                      <a:pt x="476" y="38"/>
                      <a:pt x="476" y="38"/>
                    </a:cubicBezTo>
                    <a:cubicBezTo>
                      <a:pt x="475" y="38"/>
                      <a:pt x="475" y="38"/>
                      <a:pt x="475" y="38"/>
                    </a:cubicBezTo>
                    <a:cubicBezTo>
                      <a:pt x="475" y="38"/>
                      <a:pt x="475" y="37"/>
                      <a:pt x="475" y="37"/>
                    </a:cubicBezTo>
                    <a:cubicBezTo>
                      <a:pt x="475" y="37"/>
                      <a:pt x="475" y="37"/>
                      <a:pt x="475" y="37"/>
                    </a:cubicBezTo>
                    <a:cubicBezTo>
                      <a:pt x="474" y="37"/>
                      <a:pt x="474" y="37"/>
                      <a:pt x="474" y="37"/>
                    </a:cubicBezTo>
                    <a:cubicBezTo>
                      <a:pt x="474" y="37"/>
                      <a:pt x="474" y="37"/>
                      <a:pt x="474" y="37"/>
                    </a:cubicBezTo>
                    <a:cubicBezTo>
                      <a:pt x="474" y="37"/>
                      <a:pt x="473" y="37"/>
                      <a:pt x="473" y="37"/>
                    </a:cubicBezTo>
                    <a:cubicBezTo>
                      <a:pt x="474" y="37"/>
                      <a:pt x="474" y="37"/>
                      <a:pt x="474" y="37"/>
                    </a:cubicBezTo>
                    <a:cubicBezTo>
                      <a:pt x="474" y="37"/>
                      <a:pt x="474" y="37"/>
                      <a:pt x="474" y="37"/>
                    </a:cubicBezTo>
                    <a:cubicBezTo>
                      <a:pt x="473" y="37"/>
                      <a:pt x="472" y="37"/>
                      <a:pt x="472" y="37"/>
                    </a:cubicBezTo>
                    <a:cubicBezTo>
                      <a:pt x="472" y="37"/>
                      <a:pt x="472" y="37"/>
                      <a:pt x="472" y="37"/>
                    </a:cubicBezTo>
                    <a:cubicBezTo>
                      <a:pt x="471" y="37"/>
                      <a:pt x="471" y="37"/>
                      <a:pt x="471" y="37"/>
                    </a:cubicBezTo>
                    <a:cubicBezTo>
                      <a:pt x="472" y="37"/>
                      <a:pt x="472" y="38"/>
                      <a:pt x="472" y="38"/>
                    </a:cubicBezTo>
                    <a:cubicBezTo>
                      <a:pt x="471" y="38"/>
                      <a:pt x="471" y="38"/>
                      <a:pt x="472" y="38"/>
                    </a:cubicBezTo>
                    <a:cubicBezTo>
                      <a:pt x="472" y="39"/>
                      <a:pt x="472" y="39"/>
                      <a:pt x="472" y="39"/>
                    </a:cubicBezTo>
                    <a:cubicBezTo>
                      <a:pt x="472" y="39"/>
                      <a:pt x="471" y="39"/>
                      <a:pt x="471" y="39"/>
                    </a:cubicBezTo>
                    <a:cubicBezTo>
                      <a:pt x="471" y="39"/>
                      <a:pt x="470" y="39"/>
                      <a:pt x="470" y="39"/>
                    </a:cubicBezTo>
                    <a:cubicBezTo>
                      <a:pt x="470" y="38"/>
                      <a:pt x="470" y="38"/>
                      <a:pt x="469" y="38"/>
                    </a:cubicBezTo>
                    <a:cubicBezTo>
                      <a:pt x="469" y="38"/>
                      <a:pt x="468" y="38"/>
                      <a:pt x="468" y="38"/>
                    </a:cubicBezTo>
                    <a:cubicBezTo>
                      <a:pt x="468" y="37"/>
                      <a:pt x="468" y="38"/>
                      <a:pt x="467" y="38"/>
                    </a:cubicBezTo>
                    <a:cubicBezTo>
                      <a:pt x="467" y="38"/>
                      <a:pt x="467" y="38"/>
                      <a:pt x="467" y="38"/>
                    </a:cubicBezTo>
                    <a:cubicBezTo>
                      <a:pt x="467" y="38"/>
                      <a:pt x="467" y="38"/>
                      <a:pt x="467" y="38"/>
                    </a:cubicBezTo>
                    <a:cubicBezTo>
                      <a:pt x="467" y="37"/>
                      <a:pt x="467" y="37"/>
                      <a:pt x="467" y="37"/>
                    </a:cubicBezTo>
                    <a:cubicBezTo>
                      <a:pt x="466" y="37"/>
                      <a:pt x="465" y="37"/>
                      <a:pt x="465" y="37"/>
                    </a:cubicBezTo>
                    <a:cubicBezTo>
                      <a:pt x="464" y="37"/>
                      <a:pt x="464" y="37"/>
                      <a:pt x="464" y="37"/>
                    </a:cubicBezTo>
                    <a:cubicBezTo>
                      <a:pt x="464" y="37"/>
                      <a:pt x="464" y="37"/>
                      <a:pt x="464" y="37"/>
                    </a:cubicBezTo>
                    <a:cubicBezTo>
                      <a:pt x="464" y="37"/>
                      <a:pt x="463" y="37"/>
                      <a:pt x="463" y="37"/>
                    </a:cubicBezTo>
                    <a:cubicBezTo>
                      <a:pt x="464" y="37"/>
                      <a:pt x="464" y="37"/>
                      <a:pt x="464" y="37"/>
                    </a:cubicBezTo>
                    <a:cubicBezTo>
                      <a:pt x="464" y="38"/>
                      <a:pt x="463" y="37"/>
                      <a:pt x="462" y="37"/>
                    </a:cubicBezTo>
                    <a:cubicBezTo>
                      <a:pt x="462" y="37"/>
                      <a:pt x="462" y="37"/>
                      <a:pt x="462" y="37"/>
                    </a:cubicBezTo>
                    <a:cubicBezTo>
                      <a:pt x="462" y="37"/>
                      <a:pt x="462" y="38"/>
                      <a:pt x="462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38"/>
                      <a:pt x="460" y="38"/>
                      <a:pt x="460" y="38"/>
                    </a:cubicBezTo>
                    <a:cubicBezTo>
                      <a:pt x="459" y="38"/>
                      <a:pt x="459" y="38"/>
                      <a:pt x="458" y="38"/>
                    </a:cubicBezTo>
                    <a:cubicBezTo>
                      <a:pt x="458" y="38"/>
                      <a:pt x="458" y="38"/>
                      <a:pt x="457" y="38"/>
                    </a:cubicBezTo>
                    <a:cubicBezTo>
                      <a:pt x="457" y="37"/>
                      <a:pt x="456" y="37"/>
                      <a:pt x="456" y="37"/>
                    </a:cubicBezTo>
                    <a:cubicBezTo>
                      <a:pt x="456" y="36"/>
                      <a:pt x="455" y="36"/>
                      <a:pt x="455" y="36"/>
                    </a:cubicBezTo>
                    <a:cubicBezTo>
                      <a:pt x="455" y="36"/>
                      <a:pt x="455" y="36"/>
                      <a:pt x="455" y="36"/>
                    </a:cubicBezTo>
                    <a:cubicBezTo>
                      <a:pt x="455" y="36"/>
                      <a:pt x="455" y="36"/>
                      <a:pt x="455" y="36"/>
                    </a:cubicBezTo>
                    <a:cubicBezTo>
                      <a:pt x="455" y="35"/>
                      <a:pt x="455" y="35"/>
                      <a:pt x="455" y="35"/>
                    </a:cubicBezTo>
                    <a:cubicBezTo>
                      <a:pt x="455" y="35"/>
                      <a:pt x="455" y="35"/>
                      <a:pt x="455" y="35"/>
                    </a:cubicBezTo>
                    <a:cubicBezTo>
                      <a:pt x="455" y="35"/>
                      <a:pt x="454" y="35"/>
                      <a:pt x="454" y="36"/>
                    </a:cubicBezTo>
                    <a:cubicBezTo>
                      <a:pt x="454" y="36"/>
                      <a:pt x="454" y="37"/>
                      <a:pt x="453" y="37"/>
                    </a:cubicBezTo>
                    <a:cubicBezTo>
                      <a:pt x="453" y="38"/>
                      <a:pt x="453" y="38"/>
                      <a:pt x="453" y="38"/>
                    </a:cubicBezTo>
                    <a:cubicBezTo>
                      <a:pt x="453" y="39"/>
                      <a:pt x="453" y="39"/>
                      <a:pt x="453" y="39"/>
                    </a:cubicBezTo>
                    <a:cubicBezTo>
                      <a:pt x="452" y="39"/>
                      <a:pt x="452" y="39"/>
                      <a:pt x="452" y="39"/>
                    </a:cubicBezTo>
                    <a:cubicBezTo>
                      <a:pt x="452" y="39"/>
                      <a:pt x="452" y="39"/>
                      <a:pt x="452" y="39"/>
                    </a:cubicBezTo>
                    <a:cubicBezTo>
                      <a:pt x="452" y="40"/>
                      <a:pt x="452" y="40"/>
                      <a:pt x="452" y="40"/>
                    </a:cubicBezTo>
                    <a:cubicBezTo>
                      <a:pt x="452" y="40"/>
                      <a:pt x="452" y="40"/>
                      <a:pt x="452" y="40"/>
                    </a:cubicBezTo>
                    <a:cubicBezTo>
                      <a:pt x="452" y="40"/>
                      <a:pt x="451" y="40"/>
                      <a:pt x="451" y="41"/>
                    </a:cubicBezTo>
                    <a:cubicBezTo>
                      <a:pt x="451" y="41"/>
                      <a:pt x="450" y="41"/>
                      <a:pt x="450" y="42"/>
                    </a:cubicBezTo>
                    <a:cubicBezTo>
                      <a:pt x="450" y="42"/>
                      <a:pt x="450" y="42"/>
                      <a:pt x="450" y="42"/>
                    </a:cubicBezTo>
                    <a:cubicBezTo>
                      <a:pt x="450" y="42"/>
                      <a:pt x="449" y="42"/>
                      <a:pt x="449" y="42"/>
                    </a:cubicBezTo>
                    <a:cubicBezTo>
                      <a:pt x="449" y="42"/>
                      <a:pt x="449" y="42"/>
                      <a:pt x="449" y="42"/>
                    </a:cubicBezTo>
                    <a:cubicBezTo>
                      <a:pt x="449" y="42"/>
                      <a:pt x="449" y="41"/>
                      <a:pt x="449" y="41"/>
                    </a:cubicBezTo>
                    <a:cubicBezTo>
                      <a:pt x="449" y="41"/>
                      <a:pt x="449" y="41"/>
                      <a:pt x="449" y="41"/>
                    </a:cubicBezTo>
                    <a:cubicBezTo>
                      <a:pt x="449" y="41"/>
                      <a:pt x="449" y="41"/>
                      <a:pt x="448" y="41"/>
                    </a:cubicBezTo>
                    <a:cubicBezTo>
                      <a:pt x="448" y="41"/>
                      <a:pt x="448" y="41"/>
                      <a:pt x="448" y="41"/>
                    </a:cubicBezTo>
                    <a:cubicBezTo>
                      <a:pt x="448" y="41"/>
                      <a:pt x="448" y="41"/>
                      <a:pt x="447" y="41"/>
                    </a:cubicBezTo>
                    <a:cubicBezTo>
                      <a:pt x="447" y="41"/>
                      <a:pt x="447" y="41"/>
                      <a:pt x="447" y="41"/>
                    </a:cubicBezTo>
                    <a:cubicBezTo>
                      <a:pt x="447" y="41"/>
                      <a:pt x="447" y="40"/>
                      <a:pt x="447" y="40"/>
                    </a:cubicBezTo>
                    <a:cubicBezTo>
                      <a:pt x="446" y="40"/>
                      <a:pt x="446" y="40"/>
                      <a:pt x="446" y="40"/>
                    </a:cubicBezTo>
                    <a:cubicBezTo>
                      <a:pt x="446" y="40"/>
                      <a:pt x="446" y="40"/>
                      <a:pt x="445" y="40"/>
                    </a:cubicBezTo>
                    <a:cubicBezTo>
                      <a:pt x="445" y="40"/>
                      <a:pt x="445" y="40"/>
                      <a:pt x="445" y="40"/>
                    </a:cubicBezTo>
                    <a:cubicBezTo>
                      <a:pt x="445" y="39"/>
                      <a:pt x="445" y="39"/>
                      <a:pt x="445" y="39"/>
                    </a:cubicBezTo>
                    <a:cubicBezTo>
                      <a:pt x="445" y="39"/>
                      <a:pt x="445" y="39"/>
                      <a:pt x="445" y="39"/>
                    </a:cubicBezTo>
                    <a:cubicBezTo>
                      <a:pt x="445" y="39"/>
                      <a:pt x="444" y="38"/>
                      <a:pt x="444" y="38"/>
                    </a:cubicBezTo>
                    <a:cubicBezTo>
                      <a:pt x="444" y="38"/>
                      <a:pt x="444" y="37"/>
                      <a:pt x="444" y="37"/>
                    </a:cubicBezTo>
                    <a:cubicBezTo>
                      <a:pt x="444" y="37"/>
                      <a:pt x="443" y="37"/>
                      <a:pt x="443" y="37"/>
                    </a:cubicBezTo>
                    <a:cubicBezTo>
                      <a:pt x="443" y="37"/>
                      <a:pt x="443" y="37"/>
                      <a:pt x="443" y="37"/>
                    </a:cubicBezTo>
                    <a:cubicBezTo>
                      <a:pt x="443" y="37"/>
                      <a:pt x="443" y="37"/>
                      <a:pt x="443" y="37"/>
                    </a:cubicBezTo>
                    <a:cubicBezTo>
                      <a:pt x="443" y="36"/>
                      <a:pt x="443" y="36"/>
                      <a:pt x="443" y="36"/>
                    </a:cubicBezTo>
                    <a:cubicBezTo>
                      <a:pt x="444" y="36"/>
                      <a:pt x="444" y="36"/>
                      <a:pt x="444" y="36"/>
                    </a:cubicBezTo>
                    <a:cubicBezTo>
                      <a:pt x="444" y="36"/>
                      <a:pt x="445" y="36"/>
                      <a:pt x="445" y="36"/>
                    </a:cubicBezTo>
                    <a:cubicBezTo>
                      <a:pt x="445" y="36"/>
                      <a:pt x="445" y="36"/>
                      <a:pt x="445" y="36"/>
                    </a:cubicBezTo>
                    <a:cubicBezTo>
                      <a:pt x="444" y="36"/>
                      <a:pt x="444" y="35"/>
                      <a:pt x="444" y="35"/>
                    </a:cubicBezTo>
                    <a:cubicBezTo>
                      <a:pt x="444" y="35"/>
                      <a:pt x="443" y="35"/>
                      <a:pt x="443" y="35"/>
                    </a:cubicBezTo>
                    <a:cubicBezTo>
                      <a:pt x="443" y="35"/>
                      <a:pt x="443" y="35"/>
                      <a:pt x="443" y="35"/>
                    </a:cubicBezTo>
                    <a:cubicBezTo>
                      <a:pt x="443" y="35"/>
                      <a:pt x="443" y="36"/>
                      <a:pt x="443" y="36"/>
                    </a:cubicBezTo>
                    <a:cubicBezTo>
                      <a:pt x="443" y="36"/>
                      <a:pt x="442" y="36"/>
                      <a:pt x="442" y="36"/>
                    </a:cubicBezTo>
                    <a:cubicBezTo>
                      <a:pt x="442" y="36"/>
                      <a:pt x="442" y="36"/>
                      <a:pt x="442" y="35"/>
                    </a:cubicBezTo>
                    <a:cubicBezTo>
                      <a:pt x="442" y="35"/>
                      <a:pt x="441" y="35"/>
                      <a:pt x="441" y="35"/>
                    </a:cubicBezTo>
                    <a:cubicBezTo>
                      <a:pt x="441" y="34"/>
                      <a:pt x="440" y="34"/>
                      <a:pt x="440" y="34"/>
                    </a:cubicBezTo>
                    <a:cubicBezTo>
                      <a:pt x="439" y="33"/>
                      <a:pt x="439" y="33"/>
                      <a:pt x="439" y="33"/>
                    </a:cubicBezTo>
                    <a:cubicBezTo>
                      <a:pt x="438" y="33"/>
                      <a:pt x="438" y="32"/>
                      <a:pt x="437" y="32"/>
                    </a:cubicBezTo>
                    <a:cubicBezTo>
                      <a:pt x="437" y="32"/>
                      <a:pt x="436" y="32"/>
                      <a:pt x="436" y="32"/>
                    </a:cubicBezTo>
                    <a:cubicBezTo>
                      <a:pt x="436" y="32"/>
                      <a:pt x="436" y="33"/>
                      <a:pt x="436" y="33"/>
                    </a:cubicBezTo>
                    <a:cubicBezTo>
                      <a:pt x="436" y="33"/>
                      <a:pt x="436" y="33"/>
                      <a:pt x="437" y="34"/>
                    </a:cubicBezTo>
                    <a:cubicBezTo>
                      <a:pt x="437" y="34"/>
                      <a:pt x="437" y="35"/>
                      <a:pt x="437" y="35"/>
                    </a:cubicBezTo>
                    <a:cubicBezTo>
                      <a:pt x="438" y="35"/>
                      <a:pt x="438" y="36"/>
                      <a:pt x="438" y="36"/>
                    </a:cubicBezTo>
                    <a:cubicBezTo>
                      <a:pt x="438" y="37"/>
                      <a:pt x="438" y="37"/>
                      <a:pt x="437" y="38"/>
                    </a:cubicBezTo>
                    <a:cubicBezTo>
                      <a:pt x="437" y="38"/>
                      <a:pt x="437" y="37"/>
                      <a:pt x="437" y="37"/>
                    </a:cubicBezTo>
                    <a:cubicBezTo>
                      <a:pt x="437" y="36"/>
                      <a:pt x="437" y="35"/>
                      <a:pt x="437" y="35"/>
                    </a:cubicBezTo>
                    <a:cubicBezTo>
                      <a:pt x="436" y="34"/>
                      <a:pt x="436" y="34"/>
                      <a:pt x="435" y="33"/>
                    </a:cubicBezTo>
                    <a:cubicBezTo>
                      <a:pt x="435" y="33"/>
                      <a:pt x="434" y="33"/>
                      <a:pt x="434" y="33"/>
                    </a:cubicBezTo>
                    <a:cubicBezTo>
                      <a:pt x="434" y="33"/>
                      <a:pt x="434" y="33"/>
                      <a:pt x="433" y="33"/>
                    </a:cubicBezTo>
                    <a:cubicBezTo>
                      <a:pt x="433" y="33"/>
                      <a:pt x="433" y="33"/>
                      <a:pt x="433" y="33"/>
                    </a:cubicBezTo>
                    <a:cubicBezTo>
                      <a:pt x="433" y="33"/>
                      <a:pt x="433" y="33"/>
                      <a:pt x="432" y="32"/>
                    </a:cubicBezTo>
                    <a:cubicBezTo>
                      <a:pt x="432" y="32"/>
                      <a:pt x="432" y="32"/>
                      <a:pt x="432" y="32"/>
                    </a:cubicBezTo>
                    <a:cubicBezTo>
                      <a:pt x="431" y="32"/>
                      <a:pt x="429" y="31"/>
                      <a:pt x="429" y="31"/>
                    </a:cubicBezTo>
                    <a:cubicBezTo>
                      <a:pt x="429" y="31"/>
                      <a:pt x="428" y="31"/>
                      <a:pt x="428" y="31"/>
                    </a:cubicBezTo>
                    <a:cubicBezTo>
                      <a:pt x="427" y="31"/>
                      <a:pt x="427" y="30"/>
                      <a:pt x="427" y="30"/>
                    </a:cubicBezTo>
                    <a:cubicBezTo>
                      <a:pt x="426" y="30"/>
                      <a:pt x="426" y="30"/>
                      <a:pt x="425" y="30"/>
                    </a:cubicBezTo>
                    <a:cubicBezTo>
                      <a:pt x="425" y="30"/>
                      <a:pt x="425" y="30"/>
                      <a:pt x="425" y="30"/>
                    </a:cubicBezTo>
                    <a:cubicBezTo>
                      <a:pt x="425" y="30"/>
                      <a:pt x="423" y="30"/>
                      <a:pt x="422" y="30"/>
                    </a:cubicBezTo>
                    <a:cubicBezTo>
                      <a:pt x="422" y="30"/>
                      <a:pt x="422" y="30"/>
                      <a:pt x="422" y="30"/>
                    </a:cubicBezTo>
                    <a:cubicBezTo>
                      <a:pt x="421" y="29"/>
                      <a:pt x="419" y="29"/>
                      <a:pt x="418" y="29"/>
                    </a:cubicBezTo>
                    <a:cubicBezTo>
                      <a:pt x="418" y="29"/>
                      <a:pt x="418" y="29"/>
                      <a:pt x="418" y="29"/>
                    </a:cubicBezTo>
                    <a:cubicBezTo>
                      <a:pt x="418" y="29"/>
                      <a:pt x="417" y="29"/>
                      <a:pt x="417" y="29"/>
                    </a:cubicBezTo>
                    <a:cubicBezTo>
                      <a:pt x="416" y="29"/>
                      <a:pt x="416" y="29"/>
                      <a:pt x="416" y="29"/>
                    </a:cubicBezTo>
                    <a:cubicBezTo>
                      <a:pt x="416" y="29"/>
                      <a:pt x="415" y="29"/>
                      <a:pt x="415" y="29"/>
                    </a:cubicBezTo>
                    <a:cubicBezTo>
                      <a:pt x="414" y="29"/>
                      <a:pt x="415" y="29"/>
                      <a:pt x="415" y="29"/>
                    </a:cubicBezTo>
                    <a:cubicBezTo>
                      <a:pt x="416" y="29"/>
                      <a:pt x="415" y="30"/>
                      <a:pt x="415" y="29"/>
                    </a:cubicBezTo>
                    <a:cubicBezTo>
                      <a:pt x="414" y="29"/>
                      <a:pt x="413" y="29"/>
                      <a:pt x="413" y="28"/>
                    </a:cubicBezTo>
                    <a:cubicBezTo>
                      <a:pt x="413" y="28"/>
                      <a:pt x="412" y="28"/>
                      <a:pt x="411" y="28"/>
                    </a:cubicBezTo>
                    <a:cubicBezTo>
                      <a:pt x="411" y="28"/>
                      <a:pt x="411" y="28"/>
                      <a:pt x="411" y="28"/>
                    </a:cubicBezTo>
                    <a:cubicBezTo>
                      <a:pt x="411" y="28"/>
                      <a:pt x="410" y="28"/>
                      <a:pt x="410" y="27"/>
                    </a:cubicBezTo>
                    <a:cubicBezTo>
                      <a:pt x="410" y="27"/>
                      <a:pt x="410" y="27"/>
                      <a:pt x="410" y="27"/>
                    </a:cubicBezTo>
                    <a:cubicBezTo>
                      <a:pt x="409" y="27"/>
                      <a:pt x="409" y="27"/>
                      <a:pt x="409" y="27"/>
                    </a:cubicBezTo>
                    <a:cubicBezTo>
                      <a:pt x="409" y="27"/>
                      <a:pt x="409" y="26"/>
                      <a:pt x="409" y="26"/>
                    </a:cubicBezTo>
                    <a:cubicBezTo>
                      <a:pt x="409" y="26"/>
                      <a:pt x="409" y="26"/>
                      <a:pt x="409" y="26"/>
                    </a:cubicBezTo>
                    <a:cubicBezTo>
                      <a:pt x="409" y="26"/>
                      <a:pt x="409" y="26"/>
                      <a:pt x="409" y="26"/>
                    </a:cubicBezTo>
                    <a:cubicBezTo>
                      <a:pt x="409" y="26"/>
                      <a:pt x="410" y="26"/>
                      <a:pt x="411" y="26"/>
                    </a:cubicBezTo>
                    <a:cubicBezTo>
                      <a:pt x="411" y="26"/>
                      <a:pt x="411" y="26"/>
                      <a:pt x="411" y="26"/>
                    </a:cubicBezTo>
                    <a:cubicBezTo>
                      <a:pt x="411" y="26"/>
                      <a:pt x="411" y="26"/>
                      <a:pt x="410" y="26"/>
                    </a:cubicBezTo>
                    <a:cubicBezTo>
                      <a:pt x="410" y="25"/>
                      <a:pt x="410" y="25"/>
                      <a:pt x="410" y="25"/>
                    </a:cubicBezTo>
                    <a:cubicBezTo>
                      <a:pt x="410" y="25"/>
                      <a:pt x="410" y="25"/>
                      <a:pt x="409" y="25"/>
                    </a:cubicBezTo>
                    <a:cubicBezTo>
                      <a:pt x="408" y="25"/>
                      <a:pt x="407" y="26"/>
                      <a:pt x="405" y="25"/>
                    </a:cubicBezTo>
                    <a:cubicBezTo>
                      <a:pt x="403" y="25"/>
                      <a:pt x="404" y="25"/>
                      <a:pt x="403" y="25"/>
                    </a:cubicBezTo>
                    <a:cubicBezTo>
                      <a:pt x="402" y="25"/>
                      <a:pt x="401" y="25"/>
                      <a:pt x="401" y="25"/>
                    </a:cubicBezTo>
                    <a:cubicBezTo>
                      <a:pt x="400" y="25"/>
                      <a:pt x="399" y="24"/>
                      <a:pt x="399" y="24"/>
                    </a:cubicBezTo>
                    <a:cubicBezTo>
                      <a:pt x="399" y="25"/>
                      <a:pt x="399" y="25"/>
                      <a:pt x="399" y="25"/>
                    </a:cubicBezTo>
                    <a:cubicBezTo>
                      <a:pt x="399" y="25"/>
                      <a:pt x="398" y="25"/>
                      <a:pt x="397" y="25"/>
                    </a:cubicBezTo>
                    <a:cubicBezTo>
                      <a:pt x="397" y="25"/>
                      <a:pt x="396" y="25"/>
                      <a:pt x="396" y="25"/>
                    </a:cubicBezTo>
                    <a:cubicBezTo>
                      <a:pt x="396" y="25"/>
                      <a:pt x="396" y="25"/>
                      <a:pt x="396" y="25"/>
                    </a:cubicBezTo>
                    <a:cubicBezTo>
                      <a:pt x="396" y="25"/>
                      <a:pt x="396" y="25"/>
                      <a:pt x="395" y="25"/>
                    </a:cubicBezTo>
                    <a:cubicBezTo>
                      <a:pt x="395" y="25"/>
                      <a:pt x="395" y="25"/>
                      <a:pt x="394" y="25"/>
                    </a:cubicBezTo>
                    <a:cubicBezTo>
                      <a:pt x="394" y="25"/>
                      <a:pt x="394" y="25"/>
                      <a:pt x="394" y="25"/>
                    </a:cubicBezTo>
                    <a:cubicBezTo>
                      <a:pt x="394" y="26"/>
                      <a:pt x="394" y="26"/>
                      <a:pt x="394" y="26"/>
                    </a:cubicBezTo>
                    <a:cubicBezTo>
                      <a:pt x="394" y="26"/>
                      <a:pt x="394" y="27"/>
                      <a:pt x="395" y="27"/>
                    </a:cubicBezTo>
                    <a:cubicBezTo>
                      <a:pt x="395" y="27"/>
                      <a:pt x="395" y="27"/>
                      <a:pt x="395" y="27"/>
                    </a:cubicBezTo>
                    <a:cubicBezTo>
                      <a:pt x="395" y="27"/>
                      <a:pt x="394" y="27"/>
                      <a:pt x="394" y="27"/>
                    </a:cubicBezTo>
                    <a:cubicBezTo>
                      <a:pt x="394" y="27"/>
                      <a:pt x="394" y="27"/>
                      <a:pt x="394" y="27"/>
                    </a:cubicBezTo>
                    <a:cubicBezTo>
                      <a:pt x="394" y="27"/>
                      <a:pt x="393" y="27"/>
                      <a:pt x="393" y="27"/>
                    </a:cubicBezTo>
                    <a:cubicBezTo>
                      <a:pt x="393" y="27"/>
                      <a:pt x="393" y="27"/>
                      <a:pt x="393" y="27"/>
                    </a:cubicBezTo>
                    <a:cubicBezTo>
                      <a:pt x="393" y="27"/>
                      <a:pt x="393" y="27"/>
                      <a:pt x="393" y="26"/>
                    </a:cubicBezTo>
                    <a:cubicBezTo>
                      <a:pt x="393" y="26"/>
                      <a:pt x="393" y="26"/>
                      <a:pt x="393" y="26"/>
                    </a:cubicBezTo>
                    <a:cubicBezTo>
                      <a:pt x="393" y="26"/>
                      <a:pt x="393" y="26"/>
                      <a:pt x="392" y="26"/>
                    </a:cubicBezTo>
                    <a:cubicBezTo>
                      <a:pt x="392" y="26"/>
                      <a:pt x="392" y="26"/>
                      <a:pt x="392" y="26"/>
                    </a:cubicBezTo>
                    <a:cubicBezTo>
                      <a:pt x="392" y="26"/>
                      <a:pt x="392" y="26"/>
                      <a:pt x="392" y="26"/>
                    </a:cubicBezTo>
                    <a:cubicBezTo>
                      <a:pt x="392" y="26"/>
                      <a:pt x="392" y="26"/>
                      <a:pt x="392" y="26"/>
                    </a:cubicBezTo>
                    <a:cubicBezTo>
                      <a:pt x="392" y="26"/>
                      <a:pt x="393" y="25"/>
                      <a:pt x="393" y="25"/>
                    </a:cubicBezTo>
                    <a:cubicBezTo>
                      <a:pt x="393" y="25"/>
                      <a:pt x="393" y="25"/>
                      <a:pt x="393" y="25"/>
                    </a:cubicBezTo>
                    <a:cubicBezTo>
                      <a:pt x="393" y="25"/>
                      <a:pt x="393" y="25"/>
                      <a:pt x="393" y="25"/>
                    </a:cubicBezTo>
                    <a:cubicBezTo>
                      <a:pt x="393" y="24"/>
                      <a:pt x="393" y="24"/>
                      <a:pt x="392" y="23"/>
                    </a:cubicBezTo>
                    <a:cubicBezTo>
                      <a:pt x="392" y="23"/>
                      <a:pt x="392" y="23"/>
                      <a:pt x="392" y="23"/>
                    </a:cubicBezTo>
                    <a:cubicBezTo>
                      <a:pt x="392" y="23"/>
                      <a:pt x="392" y="23"/>
                      <a:pt x="392" y="23"/>
                    </a:cubicBezTo>
                    <a:cubicBezTo>
                      <a:pt x="392" y="23"/>
                      <a:pt x="391" y="23"/>
                      <a:pt x="391" y="23"/>
                    </a:cubicBezTo>
                    <a:cubicBezTo>
                      <a:pt x="391" y="23"/>
                      <a:pt x="391" y="23"/>
                      <a:pt x="391" y="23"/>
                    </a:cubicBezTo>
                    <a:cubicBezTo>
                      <a:pt x="392" y="24"/>
                      <a:pt x="392" y="24"/>
                      <a:pt x="392" y="24"/>
                    </a:cubicBezTo>
                    <a:cubicBezTo>
                      <a:pt x="392" y="24"/>
                      <a:pt x="392" y="24"/>
                      <a:pt x="392" y="24"/>
                    </a:cubicBezTo>
                    <a:cubicBezTo>
                      <a:pt x="391" y="24"/>
                      <a:pt x="391" y="24"/>
                      <a:pt x="391" y="24"/>
                    </a:cubicBezTo>
                    <a:cubicBezTo>
                      <a:pt x="391" y="24"/>
                      <a:pt x="390" y="24"/>
                      <a:pt x="389" y="24"/>
                    </a:cubicBezTo>
                    <a:cubicBezTo>
                      <a:pt x="389" y="24"/>
                      <a:pt x="389" y="24"/>
                      <a:pt x="389" y="24"/>
                    </a:cubicBezTo>
                    <a:cubicBezTo>
                      <a:pt x="388" y="24"/>
                      <a:pt x="388" y="24"/>
                      <a:pt x="388" y="24"/>
                    </a:cubicBezTo>
                    <a:cubicBezTo>
                      <a:pt x="388" y="24"/>
                      <a:pt x="387" y="24"/>
                      <a:pt x="387" y="24"/>
                    </a:cubicBezTo>
                    <a:cubicBezTo>
                      <a:pt x="387" y="23"/>
                      <a:pt x="386" y="23"/>
                      <a:pt x="386" y="23"/>
                    </a:cubicBezTo>
                    <a:cubicBezTo>
                      <a:pt x="386" y="23"/>
                      <a:pt x="386" y="23"/>
                      <a:pt x="387" y="23"/>
                    </a:cubicBezTo>
                    <a:cubicBezTo>
                      <a:pt x="387" y="23"/>
                      <a:pt x="387" y="23"/>
                      <a:pt x="387" y="23"/>
                    </a:cubicBezTo>
                    <a:cubicBezTo>
                      <a:pt x="387" y="22"/>
                      <a:pt x="387" y="22"/>
                      <a:pt x="387" y="22"/>
                    </a:cubicBezTo>
                    <a:cubicBezTo>
                      <a:pt x="387" y="22"/>
                      <a:pt x="387" y="22"/>
                      <a:pt x="386" y="22"/>
                    </a:cubicBezTo>
                    <a:cubicBezTo>
                      <a:pt x="386" y="22"/>
                      <a:pt x="386" y="22"/>
                      <a:pt x="386" y="23"/>
                    </a:cubicBezTo>
                    <a:cubicBezTo>
                      <a:pt x="386" y="23"/>
                      <a:pt x="385" y="23"/>
                      <a:pt x="385" y="23"/>
                    </a:cubicBezTo>
                    <a:cubicBezTo>
                      <a:pt x="385" y="23"/>
                      <a:pt x="385" y="23"/>
                      <a:pt x="384" y="23"/>
                    </a:cubicBezTo>
                    <a:cubicBezTo>
                      <a:pt x="384" y="23"/>
                      <a:pt x="384" y="22"/>
                      <a:pt x="383" y="22"/>
                    </a:cubicBezTo>
                    <a:cubicBezTo>
                      <a:pt x="383" y="22"/>
                      <a:pt x="383" y="22"/>
                      <a:pt x="383" y="22"/>
                    </a:cubicBezTo>
                    <a:cubicBezTo>
                      <a:pt x="383" y="22"/>
                      <a:pt x="382" y="23"/>
                      <a:pt x="382" y="23"/>
                    </a:cubicBezTo>
                    <a:cubicBezTo>
                      <a:pt x="382" y="23"/>
                      <a:pt x="382" y="23"/>
                      <a:pt x="382" y="23"/>
                    </a:cubicBezTo>
                    <a:cubicBezTo>
                      <a:pt x="382" y="23"/>
                      <a:pt x="382" y="23"/>
                      <a:pt x="382" y="23"/>
                    </a:cubicBezTo>
                    <a:cubicBezTo>
                      <a:pt x="381" y="23"/>
                      <a:pt x="381" y="23"/>
                      <a:pt x="381" y="24"/>
                    </a:cubicBezTo>
                    <a:cubicBezTo>
                      <a:pt x="381" y="24"/>
                      <a:pt x="381" y="24"/>
                      <a:pt x="381" y="24"/>
                    </a:cubicBezTo>
                    <a:cubicBezTo>
                      <a:pt x="381" y="24"/>
                      <a:pt x="381" y="24"/>
                      <a:pt x="381" y="24"/>
                    </a:cubicBezTo>
                    <a:cubicBezTo>
                      <a:pt x="381" y="24"/>
                      <a:pt x="381" y="24"/>
                      <a:pt x="382" y="24"/>
                    </a:cubicBezTo>
                    <a:cubicBezTo>
                      <a:pt x="382" y="24"/>
                      <a:pt x="382" y="24"/>
                      <a:pt x="382" y="24"/>
                    </a:cubicBezTo>
                    <a:cubicBezTo>
                      <a:pt x="382" y="24"/>
                      <a:pt x="383" y="24"/>
                      <a:pt x="384" y="24"/>
                    </a:cubicBezTo>
                    <a:cubicBezTo>
                      <a:pt x="384" y="24"/>
                      <a:pt x="384" y="24"/>
                      <a:pt x="384" y="24"/>
                    </a:cubicBezTo>
                    <a:cubicBezTo>
                      <a:pt x="384" y="24"/>
                      <a:pt x="384" y="24"/>
                      <a:pt x="385" y="24"/>
                    </a:cubicBezTo>
                    <a:cubicBezTo>
                      <a:pt x="385" y="24"/>
                      <a:pt x="385" y="24"/>
                      <a:pt x="385" y="24"/>
                    </a:cubicBezTo>
                    <a:cubicBezTo>
                      <a:pt x="385" y="24"/>
                      <a:pt x="385" y="24"/>
                      <a:pt x="385" y="25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84" y="25"/>
                      <a:pt x="383" y="25"/>
                      <a:pt x="382" y="25"/>
                    </a:cubicBezTo>
                    <a:cubicBezTo>
                      <a:pt x="382" y="26"/>
                      <a:pt x="382" y="26"/>
                      <a:pt x="382" y="26"/>
                    </a:cubicBezTo>
                    <a:cubicBezTo>
                      <a:pt x="381" y="26"/>
                      <a:pt x="381" y="26"/>
                      <a:pt x="381" y="26"/>
                    </a:cubicBezTo>
                    <a:cubicBezTo>
                      <a:pt x="380" y="26"/>
                      <a:pt x="380" y="26"/>
                      <a:pt x="380" y="26"/>
                    </a:cubicBezTo>
                    <a:cubicBezTo>
                      <a:pt x="380" y="26"/>
                      <a:pt x="380" y="26"/>
                      <a:pt x="380" y="26"/>
                    </a:cubicBezTo>
                    <a:cubicBezTo>
                      <a:pt x="380" y="26"/>
                      <a:pt x="379" y="26"/>
                      <a:pt x="379" y="27"/>
                    </a:cubicBezTo>
                    <a:cubicBezTo>
                      <a:pt x="379" y="27"/>
                      <a:pt x="379" y="27"/>
                      <a:pt x="379" y="27"/>
                    </a:cubicBezTo>
                    <a:cubicBezTo>
                      <a:pt x="378" y="27"/>
                      <a:pt x="378" y="27"/>
                      <a:pt x="378" y="27"/>
                    </a:cubicBezTo>
                    <a:cubicBezTo>
                      <a:pt x="378" y="27"/>
                      <a:pt x="377" y="27"/>
                      <a:pt x="377" y="27"/>
                    </a:cubicBezTo>
                    <a:cubicBezTo>
                      <a:pt x="377" y="27"/>
                      <a:pt x="377" y="27"/>
                      <a:pt x="377" y="27"/>
                    </a:cubicBezTo>
                    <a:cubicBezTo>
                      <a:pt x="376" y="27"/>
                      <a:pt x="376" y="27"/>
                      <a:pt x="376" y="27"/>
                    </a:cubicBezTo>
                    <a:cubicBezTo>
                      <a:pt x="376" y="27"/>
                      <a:pt x="376" y="27"/>
                      <a:pt x="376" y="27"/>
                    </a:cubicBezTo>
                    <a:cubicBezTo>
                      <a:pt x="376" y="27"/>
                      <a:pt x="376" y="27"/>
                      <a:pt x="376" y="27"/>
                    </a:cubicBezTo>
                    <a:cubicBezTo>
                      <a:pt x="375" y="27"/>
                      <a:pt x="375" y="28"/>
                      <a:pt x="374" y="28"/>
                    </a:cubicBezTo>
                    <a:cubicBezTo>
                      <a:pt x="374" y="28"/>
                      <a:pt x="374" y="28"/>
                      <a:pt x="373" y="28"/>
                    </a:cubicBezTo>
                    <a:cubicBezTo>
                      <a:pt x="373" y="28"/>
                      <a:pt x="372" y="28"/>
                      <a:pt x="372" y="28"/>
                    </a:cubicBezTo>
                    <a:cubicBezTo>
                      <a:pt x="372" y="28"/>
                      <a:pt x="372" y="28"/>
                      <a:pt x="372" y="28"/>
                    </a:cubicBezTo>
                    <a:cubicBezTo>
                      <a:pt x="372" y="28"/>
                      <a:pt x="372" y="28"/>
                      <a:pt x="372" y="28"/>
                    </a:cubicBezTo>
                    <a:cubicBezTo>
                      <a:pt x="371" y="28"/>
                      <a:pt x="371" y="28"/>
                      <a:pt x="371" y="28"/>
                    </a:cubicBezTo>
                    <a:cubicBezTo>
                      <a:pt x="370" y="28"/>
                      <a:pt x="370" y="28"/>
                      <a:pt x="370" y="28"/>
                    </a:cubicBezTo>
                    <a:cubicBezTo>
                      <a:pt x="370" y="28"/>
                      <a:pt x="370" y="28"/>
                      <a:pt x="370" y="28"/>
                    </a:cubicBezTo>
                    <a:cubicBezTo>
                      <a:pt x="370" y="28"/>
                      <a:pt x="370" y="28"/>
                      <a:pt x="370" y="29"/>
                    </a:cubicBezTo>
                    <a:cubicBezTo>
                      <a:pt x="370" y="29"/>
                      <a:pt x="370" y="29"/>
                      <a:pt x="370" y="29"/>
                    </a:cubicBezTo>
                    <a:cubicBezTo>
                      <a:pt x="369" y="29"/>
                      <a:pt x="369" y="29"/>
                      <a:pt x="369" y="29"/>
                    </a:cubicBezTo>
                    <a:cubicBezTo>
                      <a:pt x="369" y="29"/>
                      <a:pt x="369" y="29"/>
                      <a:pt x="369" y="29"/>
                    </a:cubicBezTo>
                    <a:cubicBezTo>
                      <a:pt x="369" y="29"/>
                      <a:pt x="369" y="29"/>
                      <a:pt x="369" y="29"/>
                    </a:cubicBezTo>
                    <a:cubicBezTo>
                      <a:pt x="369" y="29"/>
                      <a:pt x="368" y="30"/>
                      <a:pt x="368" y="30"/>
                    </a:cubicBezTo>
                    <a:cubicBezTo>
                      <a:pt x="368" y="30"/>
                      <a:pt x="367" y="30"/>
                      <a:pt x="367" y="30"/>
                    </a:cubicBezTo>
                    <a:cubicBezTo>
                      <a:pt x="366" y="30"/>
                      <a:pt x="367" y="30"/>
                      <a:pt x="367" y="30"/>
                    </a:cubicBezTo>
                    <a:cubicBezTo>
                      <a:pt x="368" y="30"/>
                      <a:pt x="368" y="30"/>
                      <a:pt x="368" y="30"/>
                    </a:cubicBezTo>
                    <a:cubicBezTo>
                      <a:pt x="368" y="29"/>
                      <a:pt x="368" y="29"/>
                      <a:pt x="368" y="29"/>
                    </a:cubicBezTo>
                    <a:cubicBezTo>
                      <a:pt x="369" y="28"/>
                      <a:pt x="369" y="28"/>
                      <a:pt x="369" y="28"/>
                    </a:cubicBezTo>
                    <a:cubicBezTo>
                      <a:pt x="369" y="28"/>
                      <a:pt x="369" y="28"/>
                      <a:pt x="369" y="28"/>
                    </a:cubicBezTo>
                    <a:cubicBezTo>
                      <a:pt x="369" y="28"/>
                      <a:pt x="369" y="28"/>
                      <a:pt x="369" y="28"/>
                    </a:cubicBezTo>
                    <a:cubicBezTo>
                      <a:pt x="369" y="27"/>
                      <a:pt x="370" y="27"/>
                      <a:pt x="370" y="27"/>
                    </a:cubicBezTo>
                    <a:cubicBezTo>
                      <a:pt x="371" y="27"/>
                      <a:pt x="371" y="27"/>
                      <a:pt x="371" y="27"/>
                    </a:cubicBezTo>
                    <a:cubicBezTo>
                      <a:pt x="371" y="27"/>
                      <a:pt x="371" y="27"/>
                      <a:pt x="371" y="27"/>
                    </a:cubicBezTo>
                    <a:cubicBezTo>
                      <a:pt x="371" y="27"/>
                      <a:pt x="372" y="27"/>
                      <a:pt x="372" y="26"/>
                    </a:cubicBezTo>
                    <a:cubicBezTo>
                      <a:pt x="372" y="26"/>
                      <a:pt x="372" y="26"/>
                      <a:pt x="373" y="26"/>
                    </a:cubicBezTo>
                    <a:cubicBezTo>
                      <a:pt x="373" y="26"/>
                      <a:pt x="373" y="26"/>
                      <a:pt x="373" y="26"/>
                    </a:cubicBezTo>
                    <a:cubicBezTo>
                      <a:pt x="373" y="26"/>
                      <a:pt x="373" y="26"/>
                      <a:pt x="373" y="26"/>
                    </a:cubicBezTo>
                    <a:cubicBezTo>
                      <a:pt x="373" y="25"/>
                      <a:pt x="373" y="25"/>
                      <a:pt x="373" y="25"/>
                    </a:cubicBezTo>
                    <a:cubicBezTo>
                      <a:pt x="373" y="25"/>
                      <a:pt x="373" y="25"/>
                      <a:pt x="373" y="25"/>
                    </a:cubicBezTo>
                    <a:cubicBezTo>
                      <a:pt x="373" y="25"/>
                      <a:pt x="373" y="25"/>
                      <a:pt x="373" y="25"/>
                    </a:cubicBezTo>
                    <a:cubicBezTo>
                      <a:pt x="373" y="25"/>
                      <a:pt x="374" y="25"/>
                      <a:pt x="374" y="25"/>
                    </a:cubicBezTo>
                    <a:cubicBezTo>
                      <a:pt x="375" y="25"/>
                      <a:pt x="375" y="25"/>
                      <a:pt x="375" y="25"/>
                    </a:cubicBezTo>
                    <a:cubicBezTo>
                      <a:pt x="376" y="25"/>
                      <a:pt x="376" y="25"/>
                      <a:pt x="376" y="25"/>
                    </a:cubicBezTo>
                    <a:cubicBezTo>
                      <a:pt x="376" y="25"/>
                      <a:pt x="376" y="25"/>
                      <a:pt x="377" y="24"/>
                    </a:cubicBezTo>
                    <a:cubicBezTo>
                      <a:pt x="377" y="24"/>
                      <a:pt x="377" y="24"/>
                      <a:pt x="377" y="24"/>
                    </a:cubicBezTo>
                    <a:cubicBezTo>
                      <a:pt x="378" y="24"/>
                      <a:pt x="378" y="23"/>
                      <a:pt x="378" y="23"/>
                    </a:cubicBezTo>
                    <a:cubicBezTo>
                      <a:pt x="378" y="23"/>
                      <a:pt x="379" y="23"/>
                      <a:pt x="379" y="23"/>
                    </a:cubicBezTo>
                    <a:cubicBezTo>
                      <a:pt x="379" y="23"/>
                      <a:pt x="380" y="22"/>
                      <a:pt x="380" y="22"/>
                    </a:cubicBezTo>
                    <a:cubicBezTo>
                      <a:pt x="381" y="22"/>
                      <a:pt x="381" y="22"/>
                      <a:pt x="382" y="22"/>
                    </a:cubicBezTo>
                    <a:cubicBezTo>
                      <a:pt x="382" y="22"/>
                      <a:pt x="382" y="21"/>
                      <a:pt x="382" y="21"/>
                    </a:cubicBezTo>
                    <a:cubicBezTo>
                      <a:pt x="382" y="21"/>
                      <a:pt x="382" y="21"/>
                      <a:pt x="382" y="21"/>
                    </a:cubicBezTo>
                    <a:cubicBezTo>
                      <a:pt x="382" y="21"/>
                      <a:pt x="382" y="21"/>
                      <a:pt x="382" y="20"/>
                    </a:cubicBezTo>
                    <a:cubicBezTo>
                      <a:pt x="383" y="20"/>
                      <a:pt x="383" y="20"/>
                      <a:pt x="383" y="20"/>
                    </a:cubicBezTo>
                    <a:cubicBezTo>
                      <a:pt x="383" y="20"/>
                      <a:pt x="383" y="20"/>
                      <a:pt x="383" y="20"/>
                    </a:cubicBezTo>
                    <a:cubicBezTo>
                      <a:pt x="383" y="19"/>
                      <a:pt x="383" y="19"/>
                      <a:pt x="383" y="19"/>
                    </a:cubicBezTo>
                    <a:cubicBezTo>
                      <a:pt x="383" y="19"/>
                      <a:pt x="383" y="19"/>
                      <a:pt x="383" y="19"/>
                    </a:cubicBezTo>
                    <a:cubicBezTo>
                      <a:pt x="383" y="19"/>
                      <a:pt x="384" y="20"/>
                      <a:pt x="384" y="20"/>
                    </a:cubicBezTo>
                    <a:cubicBezTo>
                      <a:pt x="384" y="20"/>
                      <a:pt x="384" y="20"/>
                      <a:pt x="384" y="20"/>
                    </a:cubicBezTo>
                    <a:cubicBezTo>
                      <a:pt x="385" y="20"/>
                      <a:pt x="385" y="19"/>
                      <a:pt x="385" y="19"/>
                    </a:cubicBezTo>
                    <a:cubicBezTo>
                      <a:pt x="385" y="19"/>
                      <a:pt x="385" y="19"/>
                      <a:pt x="386" y="19"/>
                    </a:cubicBezTo>
                    <a:cubicBezTo>
                      <a:pt x="386" y="19"/>
                      <a:pt x="386" y="19"/>
                      <a:pt x="386" y="19"/>
                    </a:cubicBezTo>
                    <a:cubicBezTo>
                      <a:pt x="386" y="19"/>
                      <a:pt x="386" y="18"/>
                      <a:pt x="386" y="18"/>
                    </a:cubicBezTo>
                    <a:cubicBezTo>
                      <a:pt x="386" y="18"/>
                      <a:pt x="387" y="18"/>
                      <a:pt x="387" y="18"/>
                    </a:cubicBezTo>
                    <a:cubicBezTo>
                      <a:pt x="387" y="19"/>
                      <a:pt x="388" y="19"/>
                      <a:pt x="388" y="19"/>
                    </a:cubicBezTo>
                    <a:cubicBezTo>
                      <a:pt x="389" y="18"/>
                      <a:pt x="389" y="18"/>
                      <a:pt x="389" y="18"/>
                    </a:cubicBezTo>
                    <a:cubicBezTo>
                      <a:pt x="389" y="18"/>
                      <a:pt x="389" y="18"/>
                      <a:pt x="389" y="18"/>
                    </a:cubicBezTo>
                    <a:cubicBezTo>
                      <a:pt x="389" y="18"/>
                      <a:pt x="389" y="18"/>
                      <a:pt x="389" y="17"/>
                    </a:cubicBezTo>
                    <a:cubicBezTo>
                      <a:pt x="389" y="17"/>
                      <a:pt x="389" y="17"/>
                      <a:pt x="390" y="17"/>
                    </a:cubicBezTo>
                    <a:cubicBezTo>
                      <a:pt x="390" y="17"/>
                      <a:pt x="391" y="17"/>
                      <a:pt x="391" y="17"/>
                    </a:cubicBezTo>
                    <a:cubicBezTo>
                      <a:pt x="391" y="16"/>
                      <a:pt x="392" y="16"/>
                      <a:pt x="392" y="16"/>
                    </a:cubicBezTo>
                    <a:cubicBezTo>
                      <a:pt x="393" y="16"/>
                      <a:pt x="393" y="15"/>
                      <a:pt x="393" y="15"/>
                    </a:cubicBezTo>
                    <a:cubicBezTo>
                      <a:pt x="394" y="15"/>
                      <a:pt x="394" y="15"/>
                      <a:pt x="394" y="15"/>
                    </a:cubicBezTo>
                    <a:cubicBezTo>
                      <a:pt x="394" y="14"/>
                      <a:pt x="394" y="14"/>
                      <a:pt x="394" y="14"/>
                    </a:cubicBezTo>
                    <a:cubicBezTo>
                      <a:pt x="394" y="14"/>
                      <a:pt x="394" y="14"/>
                      <a:pt x="394" y="14"/>
                    </a:cubicBezTo>
                    <a:cubicBezTo>
                      <a:pt x="394" y="14"/>
                      <a:pt x="394" y="14"/>
                      <a:pt x="393" y="14"/>
                    </a:cubicBezTo>
                    <a:cubicBezTo>
                      <a:pt x="393" y="14"/>
                      <a:pt x="393" y="14"/>
                      <a:pt x="393" y="14"/>
                    </a:cubicBezTo>
                    <a:cubicBezTo>
                      <a:pt x="393" y="13"/>
                      <a:pt x="393" y="13"/>
                      <a:pt x="393" y="13"/>
                    </a:cubicBezTo>
                    <a:cubicBezTo>
                      <a:pt x="393" y="13"/>
                      <a:pt x="393" y="13"/>
                      <a:pt x="393" y="13"/>
                    </a:cubicBezTo>
                    <a:cubicBezTo>
                      <a:pt x="393" y="13"/>
                      <a:pt x="392" y="13"/>
                      <a:pt x="392" y="12"/>
                    </a:cubicBezTo>
                    <a:cubicBezTo>
                      <a:pt x="392" y="12"/>
                      <a:pt x="392" y="12"/>
                      <a:pt x="392" y="12"/>
                    </a:cubicBezTo>
                    <a:cubicBezTo>
                      <a:pt x="392" y="12"/>
                      <a:pt x="392" y="12"/>
                      <a:pt x="392" y="12"/>
                    </a:cubicBezTo>
                    <a:cubicBezTo>
                      <a:pt x="392" y="12"/>
                      <a:pt x="393" y="12"/>
                      <a:pt x="393" y="12"/>
                    </a:cubicBezTo>
                    <a:cubicBezTo>
                      <a:pt x="393" y="12"/>
                      <a:pt x="393" y="12"/>
                      <a:pt x="393" y="12"/>
                    </a:cubicBezTo>
                    <a:cubicBezTo>
                      <a:pt x="394" y="12"/>
                      <a:pt x="394" y="12"/>
                      <a:pt x="394" y="12"/>
                    </a:cubicBezTo>
                    <a:cubicBezTo>
                      <a:pt x="394" y="13"/>
                      <a:pt x="394" y="13"/>
                      <a:pt x="394" y="12"/>
                    </a:cubicBezTo>
                    <a:cubicBezTo>
                      <a:pt x="394" y="12"/>
                      <a:pt x="394" y="12"/>
                      <a:pt x="394" y="12"/>
                    </a:cubicBezTo>
                    <a:cubicBezTo>
                      <a:pt x="394" y="12"/>
                      <a:pt x="394" y="12"/>
                      <a:pt x="394" y="12"/>
                    </a:cubicBezTo>
                    <a:cubicBezTo>
                      <a:pt x="395" y="12"/>
                      <a:pt x="395" y="11"/>
                      <a:pt x="395" y="11"/>
                    </a:cubicBezTo>
                    <a:cubicBezTo>
                      <a:pt x="394" y="11"/>
                      <a:pt x="394" y="11"/>
                      <a:pt x="394" y="11"/>
                    </a:cubicBezTo>
                    <a:cubicBezTo>
                      <a:pt x="394" y="11"/>
                      <a:pt x="393" y="11"/>
                      <a:pt x="393" y="10"/>
                    </a:cubicBezTo>
                    <a:cubicBezTo>
                      <a:pt x="393" y="10"/>
                      <a:pt x="393" y="10"/>
                      <a:pt x="393" y="10"/>
                    </a:cubicBezTo>
                    <a:cubicBezTo>
                      <a:pt x="393" y="10"/>
                      <a:pt x="393" y="10"/>
                      <a:pt x="393" y="10"/>
                    </a:cubicBezTo>
                    <a:cubicBezTo>
                      <a:pt x="393" y="10"/>
                      <a:pt x="393" y="9"/>
                      <a:pt x="393" y="9"/>
                    </a:cubicBezTo>
                    <a:cubicBezTo>
                      <a:pt x="393" y="9"/>
                      <a:pt x="393" y="9"/>
                      <a:pt x="393" y="9"/>
                    </a:cubicBezTo>
                    <a:cubicBezTo>
                      <a:pt x="392" y="9"/>
                      <a:pt x="392" y="8"/>
                      <a:pt x="392" y="9"/>
                    </a:cubicBezTo>
                    <a:cubicBezTo>
                      <a:pt x="392" y="9"/>
                      <a:pt x="392" y="9"/>
                      <a:pt x="393" y="10"/>
                    </a:cubicBezTo>
                    <a:cubicBezTo>
                      <a:pt x="392" y="10"/>
                      <a:pt x="392" y="10"/>
                      <a:pt x="392" y="10"/>
                    </a:cubicBezTo>
                    <a:cubicBezTo>
                      <a:pt x="392" y="9"/>
                      <a:pt x="392" y="9"/>
                      <a:pt x="392" y="9"/>
                    </a:cubicBezTo>
                    <a:cubicBezTo>
                      <a:pt x="392" y="9"/>
                      <a:pt x="392" y="9"/>
                      <a:pt x="392" y="9"/>
                    </a:cubicBezTo>
                    <a:cubicBezTo>
                      <a:pt x="392" y="10"/>
                      <a:pt x="392" y="10"/>
                      <a:pt x="391" y="10"/>
                    </a:cubicBezTo>
                    <a:cubicBezTo>
                      <a:pt x="391" y="10"/>
                      <a:pt x="391" y="10"/>
                      <a:pt x="391" y="10"/>
                    </a:cubicBezTo>
                    <a:cubicBezTo>
                      <a:pt x="391" y="9"/>
                      <a:pt x="391" y="9"/>
                      <a:pt x="391" y="9"/>
                    </a:cubicBezTo>
                    <a:cubicBezTo>
                      <a:pt x="391" y="9"/>
                      <a:pt x="391" y="9"/>
                      <a:pt x="391" y="9"/>
                    </a:cubicBezTo>
                    <a:cubicBezTo>
                      <a:pt x="391" y="8"/>
                      <a:pt x="391" y="8"/>
                      <a:pt x="391" y="8"/>
                    </a:cubicBezTo>
                    <a:cubicBezTo>
                      <a:pt x="391" y="8"/>
                      <a:pt x="391" y="8"/>
                      <a:pt x="391" y="8"/>
                    </a:cubicBezTo>
                    <a:cubicBezTo>
                      <a:pt x="390" y="8"/>
                      <a:pt x="390" y="8"/>
                      <a:pt x="390" y="8"/>
                    </a:cubicBezTo>
                    <a:cubicBezTo>
                      <a:pt x="390" y="8"/>
                      <a:pt x="390" y="8"/>
                      <a:pt x="389" y="8"/>
                    </a:cubicBezTo>
                    <a:cubicBezTo>
                      <a:pt x="389" y="8"/>
                      <a:pt x="389" y="8"/>
                      <a:pt x="389" y="8"/>
                    </a:cubicBezTo>
                    <a:cubicBezTo>
                      <a:pt x="389" y="7"/>
                      <a:pt x="389" y="7"/>
                      <a:pt x="389" y="7"/>
                    </a:cubicBezTo>
                    <a:cubicBezTo>
                      <a:pt x="389" y="7"/>
                      <a:pt x="389" y="7"/>
                      <a:pt x="388" y="7"/>
                    </a:cubicBezTo>
                    <a:cubicBezTo>
                      <a:pt x="388" y="7"/>
                      <a:pt x="387" y="7"/>
                      <a:pt x="387" y="6"/>
                    </a:cubicBezTo>
                    <a:cubicBezTo>
                      <a:pt x="387" y="7"/>
                      <a:pt x="387" y="7"/>
                      <a:pt x="387" y="6"/>
                    </a:cubicBezTo>
                    <a:cubicBezTo>
                      <a:pt x="387" y="6"/>
                      <a:pt x="387" y="6"/>
                      <a:pt x="387" y="6"/>
                    </a:cubicBezTo>
                    <a:cubicBezTo>
                      <a:pt x="387" y="6"/>
                      <a:pt x="387" y="6"/>
                      <a:pt x="386" y="6"/>
                    </a:cubicBezTo>
                    <a:cubicBezTo>
                      <a:pt x="386" y="6"/>
                      <a:pt x="386" y="6"/>
                      <a:pt x="386" y="6"/>
                    </a:cubicBezTo>
                    <a:cubicBezTo>
                      <a:pt x="386" y="6"/>
                      <a:pt x="386" y="6"/>
                      <a:pt x="385" y="6"/>
                    </a:cubicBezTo>
                    <a:cubicBezTo>
                      <a:pt x="384" y="6"/>
                      <a:pt x="384" y="6"/>
                      <a:pt x="384" y="6"/>
                    </a:cubicBezTo>
                    <a:cubicBezTo>
                      <a:pt x="383" y="6"/>
                      <a:pt x="383" y="6"/>
                      <a:pt x="383" y="6"/>
                    </a:cubicBezTo>
                    <a:cubicBezTo>
                      <a:pt x="382" y="6"/>
                      <a:pt x="382" y="6"/>
                      <a:pt x="381" y="6"/>
                    </a:cubicBezTo>
                    <a:cubicBezTo>
                      <a:pt x="380" y="6"/>
                      <a:pt x="380" y="6"/>
                      <a:pt x="379" y="6"/>
                    </a:cubicBezTo>
                    <a:cubicBezTo>
                      <a:pt x="378" y="6"/>
                      <a:pt x="378" y="6"/>
                      <a:pt x="378" y="6"/>
                    </a:cubicBezTo>
                    <a:cubicBezTo>
                      <a:pt x="377" y="6"/>
                      <a:pt x="376" y="6"/>
                      <a:pt x="376" y="6"/>
                    </a:cubicBezTo>
                    <a:cubicBezTo>
                      <a:pt x="376" y="6"/>
                      <a:pt x="376" y="6"/>
                      <a:pt x="376" y="6"/>
                    </a:cubicBezTo>
                    <a:cubicBezTo>
                      <a:pt x="375" y="7"/>
                      <a:pt x="375" y="7"/>
                      <a:pt x="374" y="7"/>
                    </a:cubicBezTo>
                    <a:cubicBezTo>
                      <a:pt x="373" y="7"/>
                      <a:pt x="373" y="7"/>
                      <a:pt x="373" y="7"/>
                    </a:cubicBezTo>
                    <a:cubicBezTo>
                      <a:pt x="372" y="7"/>
                      <a:pt x="372" y="7"/>
                      <a:pt x="372" y="7"/>
                    </a:cubicBezTo>
                    <a:cubicBezTo>
                      <a:pt x="372" y="7"/>
                      <a:pt x="372" y="7"/>
                      <a:pt x="371" y="7"/>
                    </a:cubicBezTo>
                    <a:cubicBezTo>
                      <a:pt x="371" y="7"/>
                      <a:pt x="371" y="7"/>
                      <a:pt x="371" y="7"/>
                    </a:cubicBezTo>
                    <a:cubicBezTo>
                      <a:pt x="371" y="7"/>
                      <a:pt x="371" y="6"/>
                      <a:pt x="372" y="6"/>
                    </a:cubicBezTo>
                    <a:cubicBezTo>
                      <a:pt x="372" y="6"/>
                      <a:pt x="373" y="5"/>
                      <a:pt x="373" y="5"/>
                    </a:cubicBezTo>
                    <a:cubicBezTo>
                      <a:pt x="373" y="4"/>
                      <a:pt x="373" y="4"/>
                      <a:pt x="373" y="4"/>
                    </a:cubicBezTo>
                    <a:cubicBezTo>
                      <a:pt x="373" y="4"/>
                      <a:pt x="372" y="4"/>
                      <a:pt x="371" y="4"/>
                    </a:cubicBezTo>
                    <a:cubicBezTo>
                      <a:pt x="370" y="4"/>
                      <a:pt x="369" y="4"/>
                      <a:pt x="369" y="3"/>
                    </a:cubicBezTo>
                    <a:cubicBezTo>
                      <a:pt x="369" y="3"/>
                      <a:pt x="368" y="3"/>
                      <a:pt x="368" y="3"/>
                    </a:cubicBezTo>
                    <a:cubicBezTo>
                      <a:pt x="368" y="3"/>
                      <a:pt x="367" y="3"/>
                      <a:pt x="366" y="3"/>
                    </a:cubicBezTo>
                    <a:cubicBezTo>
                      <a:pt x="365" y="3"/>
                      <a:pt x="365" y="2"/>
                      <a:pt x="365" y="2"/>
                    </a:cubicBezTo>
                    <a:cubicBezTo>
                      <a:pt x="366" y="2"/>
                      <a:pt x="366" y="2"/>
                      <a:pt x="366" y="1"/>
                    </a:cubicBezTo>
                    <a:cubicBezTo>
                      <a:pt x="366" y="1"/>
                      <a:pt x="367" y="1"/>
                      <a:pt x="368" y="1"/>
                    </a:cubicBezTo>
                    <a:cubicBezTo>
                      <a:pt x="369" y="1"/>
                      <a:pt x="370" y="1"/>
                      <a:pt x="370" y="1"/>
                    </a:cubicBezTo>
                    <a:cubicBezTo>
                      <a:pt x="370" y="1"/>
                      <a:pt x="370" y="1"/>
                      <a:pt x="369" y="0"/>
                    </a:cubicBezTo>
                    <a:cubicBezTo>
                      <a:pt x="368" y="0"/>
                      <a:pt x="367" y="0"/>
                      <a:pt x="365" y="0"/>
                    </a:cubicBezTo>
                    <a:cubicBezTo>
                      <a:pt x="364" y="0"/>
                      <a:pt x="364" y="0"/>
                      <a:pt x="364" y="0"/>
                    </a:cubicBezTo>
                    <a:cubicBezTo>
                      <a:pt x="363" y="0"/>
                      <a:pt x="363" y="0"/>
                      <a:pt x="363" y="0"/>
                    </a:cubicBezTo>
                    <a:cubicBezTo>
                      <a:pt x="362" y="0"/>
                      <a:pt x="360" y="1"/>
                      <a:pt x="359" y="1"/>
                    </a:cubicBezTo>
                    <a:cubicBezTo>
                      <a:pt x="359" y="1"/>
                      <a:pt x="359" y="1"/>
                      <a:pt x="359" y="1"/>
                    </a:cubicBezTo>
                    <a:cubicBezTo>
                      <a:pt x="358" y="1"/>
                      <a:pt x="358" y="1"/>
                      <a:pt x="358" y="1"/>
                    </a:cubicBezTo>
                    <a:cubicBezTo>
                      <a:pt x="357" y="2"/>
                      <a:pt x="356" y="3"/>
                      <a:pt x="355" y="3"/>
                    </a:cubicBezTo>
                    <a:cubicBezTo>
                      <a:pt x="355" y="4"/>
                      <a:pt x="354" y="4"/>
                      <a:pt x="353" y="4"/>
                    </a:cubicBezTo>
                    <a:cubicBezTo>
                      <a:pt x="353" y="4"/>
                      <a:pt x="353" y="4"/>
                      <a:pt x="353" y="4"/>
                    </a:cubicBezTo>
                    <a:cubicBezTo>
                      <a:pt x="353" y="4"/>
                      <a:pt x="353" y="4"/>
                      <a:pt x="353" y="4"/>
                    </a:cubicBezTo>
                    <a:cubicBezTo>
                      <a:pt x="352" y="5"/>
                      <a:pt x="353" y="5"/>
                      <a:pt x="353" y="5"/>
                    </a:cubicBezTo>
                    <a:cubicBezTo>
                      <a:pt x="353" y="5"/>
                      <a:pt x="354" y="5"/>
                      <a:pt x="354" y="6"/>
                    </a:cubicBezTo>
                    <a:cubicBezTo>
                      <a:pt x="354" y="6"/>
                      <a:pt x="354" y="6"/>
                      <a:pt x="354" y="6"/>
                    </a:cubicBezTo>
                    <a:cubicBezTo>
                      <a:pt x="354" y="6"/>
                      <a:pt x="354" y="7"/>
                      <a:pt x="353" y="7"/>
                    </a:cubicBezTo>
                    <a:cubicBezTo>
                      <a:pt x="353" y="7"/>
                      <a:pt x="353" y="7"/>
                      <a:pt x="353" y="7"/>
                    </a:cubicBezTo>
                    <a:cubicBezTo>
                      <a:pt x="352" y="7"/>
                      <a:pt x="352" y="7"/>
                      <a:pt x="352" y="7"/>
                    </a:cubicBezTo>
                    <a:cubicBezTo>
                      <a:pt x="352" y="7"/>
                      <a:pt x="352" y="7"/>
                      <a:pt x="352" y="7"/>
                    </a:cubicBezTo>
                    <a:cubicBezTo>
                      <a:pt x="351" y="7"/>
                      <a:pt x="351" y="7"/>
                      <a:pt x="351" y="7"/>
                    </a:cubicBezTo>
                    <a:cubicBezTo>
                      <a:pt x="351" y="7"/>
                      <a:pt x="351" y="7"/>
                      <a:pt x="350" y="7"/>
                    </a:cubicBezTo>
                    <a:cubicBezTo>
                      <a:pt x="350" y="7"/>
                      <a:pt x="350" y="7"/>
                      <a:pt x="350" y="7"/>
                    </a:cubicBezTo>
                    <a:cubicBezTo>
                      <a:pt x="350" y="7"/>
                      <a:pt x="350" y="7"/>
                      <a:pt x="350" y="7"/>
                    </a:cubicBezTo>
                    <a:cubicBezTo>
                      <a:pt x="349" y="7"/>
                      <a:pt x="349" y="7"/>
                      <a:pt x="349" y="7"/>
                    </a:cubicBezTo>
                    <a:cubicBezTo>
                      <a:pt x="349" y="7"/>
                      <a:pt x="349" y="7"/>
                      <a:pt x="349" y="7"/>
                    </a:cubicBezTo>
                    <a:cubicBezTo>
                      <a:pt x="348" y="7"/>
                      <a:pt x="348" y="7"/>
                      <a:pt x="348" y="6"/>
                    </a:cubicBezTo>
                    <a:cubicBezTo>
                      <a:pt x="347" y="6"/>
                      <a:pt x="347" y="7"/>
                      <a:pt x="346" y="7"/>
                    </a:cubicBezTo>
                    <a:cubicBezTo>
                      <a:pt x="346" y="7"/>
                      <a:pt x="346" y="7"/>
                      <a:pt x="346" y="7"/>
                    </a:cubicBezTo>
                    <a:cubicBezTo>
                      <a:pt x="347" y="7"/>
                      <a:pt x="348" y="8"/>
                      <a:pt x="349" y="9"/>
                    </a:cubicBezTo>
                    <a:cubicBezTo>
                      <a:pt x="349" y="9"/>
                      <a:pt x="349" y="9"/>
                      <a:pt x="349" y="9"/>
                    </a:cubicBezTo>
                    <a:cubicBezTo>
                      <a:pt x="350" y="9"/>
                      <a:pt x="350" y="9"/>
                      <a:pt x="350" y="9"/>
                    </a:cubicBezTo>
                    <a:cubicBezTo>
                      <a:pt x="351" y="9"/>
                      <a:pt x="351" y="9"/>
                      <a:pt x="351" y="9"/>
                    </a:cubicBezTo>
                    <a:cubicBezTo>
                      <a:pt x="350" y="10"/>
                      <a:pt x="350" y="11"/>
                      <a:pt x="349" y="11"/>
                    </a:cubicBezTo>
                    <a:cubicBezTo>
                      <a:pt x="349" y="11"/>
                      <a:pt x="349" y="11"/>
                      <a:pt x="348" y="12"/>
                    </a:cubicBezTo>
                    <a:cubicBezTo>
                      <a:pt x="348" y="12"/>
                      <a:pt x="348" y="12"/>
                      <a:pt x="348" y="12"/>
                    </a:cubicBezTo>
                    <a:cubicBezTo>
                      <a:pt x="348" y="12"/>
                      <a:pt x="348" y="12"/>
                      <a:pt x="348" y="12"/>
                    </a:cubicBezTo>
                    <a:cubicBezTo>
                      <a:pt x="348" y="12"/>
                      <a:pt x="348" y="12"/>
                      <a:pt x="348" y="12"/>
                    </a:cubicBezTo>
                    <a:cubicBezTo>
                      <a:pt x="348" y="11"/>
                      <a:pt x="349" y="11"/>
                      <a:pt x="349" y="11"/>
                    </a:cubicBezTo>
                    <a:cubicBezTo>
                      <a:pt x="349" y="11"/>
                      <a:pt x="349" y="11"/>
                      <a:pt x="349" y="11"/>
                    </a:cubicBezTo>
                    <a:cubicBezTo>
                      <a:pt x="349" y="11"/>
                      <a:pt x="349" y="10"/>
                      <a:pt x="349" y="10"/>
                    </a:cubicBezTo>
                    <a:cubicBezTo>
                      <a:pt x="349" y="10"/>
                      <a:pt x="349" y="10"/>
                      <a:pt x="349" y="10"/>
                    </a:cubicBezTo>
                    <a:cubicBezTo>
                      <a:pt x="348" y="10"/>
                      <a:pt x="348" y="10"/>
                      <a:pt x="348" y="10"/>
                    </a:cubicBezTo>
                    <a:cubicBezTo>
                      <a:pt x="348" y="9"/>
                      <a:pt x="348" y="9"/>
                      <a:pt x="347" y="9"/>
                    </a:cubicBezTo>
                    <a:cubicBezTo>
                      <a:pt x="347" y="8"/>
                      <a:pt x="346" y="9"/>
                      <a:pt x="346" y="9"/>
                    </a:cubicBezTo>
                    <a:cubicBezTo>
                      <a:pt x="345" y="9"/>
                      <a:pt x="345" y="9"/>
                      <a:pt x="345" y="9"/>
                    </a:cubicBezTo>
                    <a:cubicBezTo>
                      <a:pt x="345" y="9"/>
                      <a:pt x="344" y="9"/>
                      <a:pt x="344" y="9"/>
                    </a:cubicBezTo>
                    <a:cubicBezTo>
                      <a:pt x="343" y="10"/>
                      <a:pt x="343" y="10"/>
                      <a:pt x="342" y="10"/>
                    </a:cubicBezTo>
                    <a:cubicBezTo>
                      <a:pt x="342" y="10"/>
                      <a:pt x="341" y="10"/>
                      <a:pt x="341" y="11"/>
                    </a:cubicBezTo>
                    <a:cubicBezTo>
                      <a:pt x="340" y="11"/>
                      <a:pt x="340" y="11"/>
                      <a:pt x="340" y="11"/>
                    </a:cubicBezTo>
                    <a:cubicBezTo>
                      <a:pt x="340" y="11"/>
                      <a:pt x="340" y="11"/>
                      <a:pt x="340" y="11"/>
                    </a:cubicBezTo>
                    <a:cubicBezTo>
                      <a:pt x="340" y="11"/>
                      <a:pt x="339" y="11"/>
                      <a:pt x="339" y="10"/>
                    </a:cubicBezTo>
                    <a:cubicBezTo>
                      <a:pt x="339" y="10"/>
                      <a:pt x="339" y="10"/>
                      <a:pt x="338" y="11"/>
                    </a:cubicBezTo>
                    <a:cubicBezTo>
                      <a:pt x="338" y="10"/>
                      <a:pt x="338" y="10"/>
                      <a:pt x="338" y="10"/>
                    </a:cubicBezTo>
                    <a:cubicBezTo>
                      <a:pt x="338" y="10"/>
                      <a:pt x="338" y="10"/>
                      <a:pt x="338" y="10"/>
                    </a:cubicBezTo>
                    <a:cubicBezTo>
                      <a:pt x="337" y="10"/>
                      <a:pt x="337" y="10"/>
                      <a:pt x="337" y="10"/>
                    </a:cubicBezTo>
                    <a:cubicBezTo>
                      <a:pt x="337" y="10"/>
                      <a:pt x="338" y="10"/>
                      <a:pt x="337" y="9"/>
                    </a:cubicBezTo>
                    <a:cubicBezTo>
                      <a:pt x="337" y="9"/>
                      <a:pt x="337" y="9"/>
                      <a:pt x="336" y="10"/>
                    </a:cubicBezTo>
                    <a:cubicBezTo>
                      <a:pt x="335" y="10"/>
                      <a:pt x="335" y="10"/>
                      <a:pt x="335" y="10"/>
                    </a:cubicBezTo>
                    <a:cubicBezTo>
                      <a:pt x="334" y="10"/>
                      <a:pt x="335" y="9"/>
                      <a:pt x="334" y="9"/>
                    </a:cubicBezTo>
                    <a:cubicBezTo>
                      <a:pt x="334" y="9"/>
                      <a:pt x="334" y="9"/>
                      <a:pt x="334" y="9"/>
                    </a:cubicBezTo>
                    <a:cubicBezTo>
                      <a:pt x="333" y="9"/>
                      <a:pt x="332" y="10"/>
                      <a:pt x="332" y="10"/>
                    </a:cubicBezTo>
                    <a:cubicBezTo>
                      <a:pt x="331" y="10"/>
                      <a:pt x="331" y="10"/>
                      <a:pt x="331" y="10"/>
                    </a:cubicBezTo>
                    <a:cubicBezTo>
                      <a:pt x="330" y="10"/>
                      <a:pt x="330" y="10"/>
                      <a:pt x="329" y="10"/>
                    </a:cubicBezTo>
                    <a:cubicBezTo>
                      <a:pt x="329" y="10"/>
                      <a:pt x="329" y="10"/>
                      <a:pt x="329" y="11"/>
                    </a:cubicBezTo>
                    <a:cubicBezTo>
                      <a:pt x="329" y="11"/>
                      <a:pt x="329" y="11"/>
                      <a:pt x="329" y="11"/>
                    </a:cubicBezTo>
                    <a:cubicBezTo>
                      <a:pt x="329" y="11"/>
                      <a:pt x="328" y="11"/>
                      <a:pt x="326" y="12"/>
                    </a:cubicBezTo>
                    <a:cubicBezTo>
                      <a:pt x="326" y="12"/>
                      <a:pt x="326" y="12"/>
                      <a:pt x="326" y="12"/>
                    </a:cubicBezTo>
                    <a:cubicBezTo>
                      <a:pt x="325" y="12"/>
                      <a:pt x="323" y="12"/>
                      <a:pt x="322" y="12"/>
                    </a:cubicBezTo>
                    <a:cubicBezTo>
                      <a:pt x="322" y="12"/>
                      <a:pt x="320" y="13"/>
                      <a:pt x="319" y="13"/>
                    </a:cubicBezTo>
                    <a:cubicBezTo>
                      <a:pt x="319" y="13"/>
                      <a:pt x="319" y="13"/>
                      <a:pt x="318" y="13"/>
                    </a:cubicBezTo>
                    <a:cubicBezTo>
                      <a:pt x="317" y="14"/>
                      <a:pt x="317" y="14"/>
                      <a:pt x="316" y="14"/>
                    </a:cubicBezTo>
                    <a:cubicBezTo>
                      <a:pt x="316" y="13"/>
                      <a:pt x="316" y="13"/>
                      <a:pt x="316" y="13"/>
                    </a:cubicBezTo>
                    <a:cubicBezTo>
                      <a:pt x="316" y="14"/>
                      <a:pt x="315" y="14"/>
                      <a:pt x="314" y="14"/>
                    </a:cubicBezTo>
                    <a:cubicBezTo>
                      <a:pt x="314" y="14"/>
                      <a:pt x="313" y="15"/>
                      <a:pt x="313" y="15"/>
                    </a:cubicBezTo>
                    <a:cubicBezTo>
                      <a:pt x="312" y="15"/>
                      <a:pt x="312" y="16"/>
                      <a:pt x="311" y="16"/>
                    </a:cubicBezTo>
                    <a:cubicBezTo>
                      <a:pt x="311" y="16"/>
                      <a:pt x="310" y="16"/>
                      <a:pt x="309" y="17"/>
                    </a:cubicBezTo>
                    <a:cubicBezTo>
                      <a:pt x="310" y="17"/>
                      <a:pt x="310" y="17"/>
                      <a:pt x="310" y="17"/>
                    </a:cubicBezTo>
                    <a:cubicBezTo>
                      <a:pt x="310" y="17"/>
                      <a:pt x="310" y="17"/>
                      <a:pt x="310" y="17"/>
                    </a:cubicBezTo>
                    <a:cubicBezTo>
                      <a:pt x="310" y="17"/>
                      <a:pt x="309" y="18"/>
                      <a:pt x="308" y="18"/>
                    </a:cubicBezTo>
                    <a:cubicBezTo>
                      <a:pt x="308" y="18"/>
                      <a:pt x="308" y="18"/>
                      <a:pt x="308" y="18"/>
                    </a:cubicBezTo>
                    <a:cubicBezTo>
                      <a:pt x="308" y="19"/>
                      <a:pt x="308" y="19"/>
                      <a:pt x="308" y="19"/>
                    </a:cubicBezTo>
                    <a:cubicBezTo>
                      <a:pt x="307" y="18"/>
                      <a:pt x="307" y="18"/>
                      <a:pt x="307" y="18"/>
                    </a:cubicBezTo>
                    <a:cubicBezTo>
                      <a:pt x="306" y="18"/>
                      <a:pt x="306" y="18"/>
                      <a:pt x="306" y="18"/>
                    </a:cubicBezTo>
                    <a:cubicBezTo>
                      <a:pt x="306" y="19"/>
                      <a:pt x="306" y="19"/>
                      <a:pt x="307" y="19"/>
                    </a:cubicBezTo>
                    <a:cubicBezTo>
                      <a:pt x="307" y="19"/>
                      <a:pt x="307" y="19"/>
                      <a:pt x="307" y="20"/>
                    </a:cubicBezTo>
                    <a:cubicBezTo>
                      <a:pt x="306" y="20"/>
                      <a:pt x="306" y="20"/>
                      <a:pt x="306" y="20"/>
                    </a:cubicBezTo>
                    <a:cubicBezTo>
                      <a:pt x="306" y="19"/>
                      <a:pt x="306" y="20"/>
                      <a:pt x="305" y="20"/>
                    </a:cubicBezTo>
                    <a:cubicBezTo>
                      <a:pt x="305" y="20"/>
                      <a:pt x="305" y="20"/>
                      <a:pt x="305" y="20"/>
                    </a:cubicBezTo>
                    <a:cubicBezTo>
                      <a:pt x="305" y="20"/>
                      <a:pt x="306" y="21"/>
                      <a:pt x="307" y="21"/>
                    </a:cubicBezTo>
                    <a:cubicBezTo>
                      <a:pt x="307" y="21"/>
                      <a:pt x="307" y="21"/>
                      <a:pt x="307" y="21"/>
                    </a:cubicBezTo>
                    <a:cubicBezTo>
                      <a:pt x="308" y="21"/>
                      <a:pt x="309" y="23"/>
                      <a:pt x="310" y="23"/>
                    </a:cubicBezTo>
                    <a:cubicBezTo>
                      <a:pt x="310" y="24"/>
                      <a:pt x="310" y="24"/>
                      <a:pt x="310" y="24"/>
                    </a:cubicBezTo>
                    <a:cubicBezTo>
                      <a:pt x="309" y="25"/>
                      <a:pt x="309" y="25"/>
                      <a:pt x="309" y="25"/>
                    </a:cubicBezTo>
                    <a:cubicBezTo>
                      <a:pt x="309" y="25"/>
                      <a:pt x="308" y="25"/>
                      <a:pt x="308" y="24"/>
                    </a:cubicBezTo>
                    <a:cubicBezTo>
                      <a:pt x="308" y="24"/>
                      <a:pt x="308" y="24"/>
                      <a:pt x="308" y="24"/>
                    </a:cubicBezTo>
                    <a:cubicBezTo>
                      <a:pt x="308" y="24"/>
                      <a:pt x="307" y="23"/>
                      <a:pt x="307" y="23"/>
                    </a:cubicBezTo>
                    <a:cubicBezTo>
                      <a:pt x="306" y="23"/>
                      <a:pt x="305" y="24"/>
                      <a:pt x="304" y="24"/>
                    </a:cubicBezTo>
                    <a:cubicBezTo>
                      <a:pt x="303" y="24"/>
                      <a:pt x="303" y="24"/>
                      <a:pt x="303" y="24"/>
                    </a:cubicBezTo>
                    <a:cubicBezTo>
                      <a:pt x="303" y="24"/>
                      <a:pt x="303" y="24"/>
                      <a:pt x="303" y="24"/>
                    </a:cubicBezTo>
                    <a:cubicBezTo>
                      <a:pt x="302" y="24"/>
                      <a:pt x="301" y="24"/>
                      <a:pt x="300" y="24"/>
                    </a:cubicBezTo>
                    <a:cubicBezTo>
                      <a:pt x="298" y="24"/>
                      <a:pt x="298" y="24"/>
                      <a:pt x="298" y="24"/>
                    </a:cubicBezTo>
                    <a:cubicBezTo>
                      <a:pt x="296" y="24"/>
                      <a:pt x="295" y="24"/>
                      <a:pt x="295" y="24"/>
                    </a:cubicBezTo>
                    <a:cubicBezTo>
                      <a:pt x="295" y="24"/>
                      <a:pt x="293" y="25"/>
                      <a:pt x="291" y="25"/>
                    </a:cubicBezTo>
                    <a:cubicBezTo>
                      <a:pt x="289" y="25"/>
                      <a:pt x="289" y="25"/>
                      <a:pt x="288" y="25"/>
                    </a:cubicBezTo>
                    <a:cubicBezTo>
                      <a:pt x="287" y="25"/>
                      <a:pt x="289" y="25"/>
                      <a:pt x="288" y="27"/>
                    </a:cubicBezTo>
                    <a:cubicBezTo>
                      <a:pt x="287" y="28"/>
                      <a:pt x="287" y="27"/>
                      <a:pt x="288" y="28"/>
                    </a:cubicBezTo>
                    <a:cubicBezTo>
                      <a:pt x="289" y="29"/>
                      <a:pt x="289" y="29"/>
                      <a:pt x="289" y="29"/>
                    </a:cubicBezTo>
                    <a:cubicBezTo>
                      <a:pt x="289" y="29"/>
                      <a:pt x="289" y="29"/>
                      <a:pt x="289" y="29"/>
                    </a:cubicBezTo>
                    <a:cubicBezTo>
                      <a:pt x="289" y="29"/>
                      <a:pt x="289" y="31"/>
                      <a:pt x="289" y="31"/>
                    </a:cubicBezTo>
                    <a:cubicBezTo>
                      <a:pt x="289" y="31"/>
                      <a:pt x="290" y="32"/>
                      <a:pt x="290" y="32"/>
                    </a:cubicBezTo>
                    <a:cubicBezTo>
                      <a:pt x="290" y="32"/>
                      <a:pt x="291" y="33"/>
                      <a:pt x="291" y="32"/>
                    </a:cubicBezTo>
                    <a:cubicBezTo>
                      <a:pt x="292" y="32"/>
                      <a:pt x="293" y="33"/>
                      <a:pt x="293" y="33"/>
                    </a:cubicBezTo>
                    <a:cubicBezTo>
                      <a:pt x="294" y="34"/>
                      <a:pt x="294" y="34"/>
                      <a:pt x="294" y="35"/>
                    </a:cubicBezTo>
                    <a:cubicBezTo>
                      <a:pt x="295" y="35"/>
                      <a:pt x="296" y="35"/>
                      <a:pt x="296" y="35"/>
                    </a:cubicBezTo>
                    <a:cubicBezTo>
                      <a:pt x="297" y="35"/>
                      <a:pt x="297" y="36"/>
                      <a:pt x="298" y="36"/>
                    </a:cubicBezTo>
                    <a:cubicBezTo>
                      <a:pt x="298" y="37"/>
                      <a:pt x="298" y="38"/>
                      <a:pt x="297" y="38"/>
                    </a:cubicBezTo>
                    <a:cubicBezTo>
                      <a:pt x="297" y="38"/>
                      <a:pt x="296" y="39"/>
                      <a:pt x="296" y="39"/>
                    </a:cubicBezTo>
                    <a:cubicBezTo>
                      <a:pt x="296" y="39"/>
                      <a:pt x="297" y="40"/>
                      <a:pt x="297" y="41"/>
                    </a:cubicBezTo>
                    <a:cubicBezTo>
                      <a:pt x="298" y="41"/>
                      <a:pt x="298" y="42"/>
                      <a:pt x="299" y="44"/>
                    </a:cubicBezTo>
                    <a:cubicBezTo>
                      <a:pt x="299" y="45"/>
                      <a:pt x="298" y="44"/>
                      <a:pt x="298" y="44"/>
                    </a:cubicBezTo>
                    <a:cubicBezTo>
                      <a:pt x="298" y="44"/>
                      <a:pt x="296" y="45"/>
                      <a:pt x="297" y="45"/>
                    </a:cubicBezTo>
                    <a:cubicBezTo>
                      <a:pt x="297" y="45"/>
                      <a:pt x="296" y="46"/>
                      <a:pt x="296" y="46"/>
                    </a:cubicBezTo>
                    <a:cubicBezTo>
                      <a:pt x="296" y="46"/>
                      <a:pt x="295" y="45"/>
                      <a:pt x="295" y="45"/>
                    </a:cubicBezTo>
                    <a:cubicBezTo>
                      <a:pt x="294" y="44"/>
                      <a:pt x="294" y="44"/>
                      <a:pt x="294" y="44"/>
                    </a:cubicBezTo>
                    <a:cubicBezTo>
                      <a:pt x="295" y="44"/>
                      <a:pt x="295" y="44"/>
                      <a:pt x="296" y="44"/>
                    </a:cubicBezTo>
                    <a:cubicBezTo>
                      <a:pt x="296" y="43"/>
                      <a:pt x="296" y="42"/>
                      <a:pt x="296" y="42"/>
                    </a:cubicBezTo>
                    <a:cubicBezTo>
                      <a:pt x="296" y="41"/>
                      <a:pt x="296" y="41"/>
                      <a:pt x="296" y="41"/>
                    </a:cubicBezTo>
                    <a:cubicBezTo>
                      <a:pt x="295" y="41"/>
                      <a:pt x="295" y="41"/>
                      <a:pt x="295" y="41"/>
                    </a:cubicBezTo>
                    <a:cubicBezTo>
                      <a:pt x="295" y="41"/>
                      <a:pt x="295" y="41"/>
                      <a:pt x="295" y="41"/>
                    </a:cubicBezTo>
                    <a:cubicBezTo>
                      <a:pt x="295" y="41"/>
                      <a:pt x="294" y="42"/>
                      <a:pt x="294" y="43"/>
                    </a:cubicBezTo>
                    <a:cubicBezTo>
                      <a:pt x="294" y="44"/>
                      <a:pt x="293" y="44"/>
                      <a:pt x="293" y="44"/>
                    </a:cubicBezTo>
                    <a:cubicBezTo>
                      <a:pt x="293" y="45"/>
                      <a:pt x="293" y="44"/>
                      <a:pt x="293" y="44"/>
                    </a:cubicBezTo>
                    <a:cubicBezTo>
                      <a:pt x="293" y="44"/>
                      <a:pt x="293" y="43"/>
                      <a:pt x="293" y="42"/>
                    </a:cubicBezTo>
                    <a:cubicBezTo>
                      <a:pt x="293" y="42"/>
                      <a:pt x="293" y="40"/>
                      <a:pt x="293" y="40"/>
                    </a:cubicBezTo>
                    <a:cubicBezTo>
                      <a:pt x="294" y="39"/>
                      <a:pt x="294" y="39"/>
                      <a:pt x="294" y="39"/>
                    </a:cubicBezTo>
                    <a:cubicBezTo>
                      <a:pt x="294" y="39"/>
                      <a:pt x="294" y="39"/>
                      <a:pt x="294" y="38"/>
                    </a:cubicBezTo>
                    <a:cubicBezTo>
                      <a:pt x="294" y="38"/>
                      <a:pt x="294" y="38"/>
                      <a:pt x="294" y="38"/>
                    </a:cubicBezTo>
                    <a:cubicBezTo>
                      <a:pt x="295" y="38"/>
                      <a:pt x="296" y="37"/>
                      <a:pt x="296" y="36"/>
                    </a:cubicBezTo>
                    <a:cubicBezTo>
                      <a:pt x="296" y="36"/>
                      <a:pt x="296" y="36"/>
                      <a:pt x="296" y="36"/>
                    </a:cubicBezTo>
                    <a:cubicBezTo>
                      <a:pt x="296" y="36"/>
                      <a:pt x="295" y="36"/>
                      <a:pt x="293" y="36"/>
                    </a:cubicBezTo>
                    <a:cubicBezTo>
                      <a:pt x="291" y="37"/>
                      <a:pt x="291" y="36"/>
                      <a:pt x="291" y="36"/>
                    </a:cubicBezTo>
                    <a:cubicBezTo>
                      <a:pt x="290" y="36"/>
                      <a:pt x="290" y="35"/>
                      <a:pt x="290" y="35"/>
                    </a:cubicBezTo>
                    <a:cubicBezTo>
                      <a:pt x="289" y="34"/>
                      <a:pt x="289" y="34"/>
                      <a:pt x="288" y="34"/>
                    </a:cubicBezTo>
                    <a:cubicBezTo>
                      <a:pt x="287" y="33"/>
                      <a:pt x="286" y="34"/>
                      <a:pt x="286" y="34"/>
                    </a:cubicBezTo>
                    <a:cubicBezTo>
                      <a:pt x="285" y="34"/>
                      <a:pt x="282" y="32"/>
                      <a:pt x="281" y="32"/>
                    </a:cubicBezTo>
                    <a:cubicBezTo>
                      <a:pt x="281" y="32"/>
                      <a:pt x="280" y="32"/>
                      <a:pt x="280" y="33"/>
                    </a:cubicBezTo>
                    <a:cubicBezTo>
                      <a:pt x="280" y="33"/>
                      <a:pt x="279" y="33"/>
                      <a:pt x="278" y="33"/>
                    </a:cubicBezTo>
                    <a:cubicBezTo>
                      <a:pt x="278" y="33"/>
                      <a:pt x="278" y="34"/>
                      <a:pt x="278" y="34"/>
                    </a:cubicBezTo>
                    <a:cubicBezTo>
                      <a:pt x="279" y="34"/>
                      <a:pt x="279" y="34"/>
                      <a:pt x="279" y="34"/>
                    </a:cubicBezTo>
                    <a:cubicBezTo>
                      <a:pt x="279" y="34"/>
                      <a:pt x="279" y="34"/>
                      <a:pt x="280" y="36"/>
                    </a:cubicBezTo>
                    <a:cubicBezTo>
                      <a:pt x="281" y="37"/>
                      <a:pt x="279" y="36"/>
                      <a:pt x="278" y="36"/>
                    </a:cubicBezTo>
                    <a:cubicBezTo>
                      <a:pt x="278" y="36"/>
                      <a:pt x="278" y="36"/>
                      <a:pt x="277" y="35"/>
                    </a:cubicBezTo>
                    <a:cubicBezTo>
                      <a:pt x="277" y="34"/>
                      <a:pt x="277" y="34"/>
                      <a:pt x="276" y="34"/>
                    </a:cubicBezTo>
                    <a:cubicBezTo>
                      <a:pt x="275" y="34"/>
                      <a:pt x="275" y="35"/>
                      <a:pt x="273" y="35"/>
                    </a:cubicBezTo>
                    <a:cubicBezTo>
                      <a:pt x="272" y="35"/>
                      <a:pt x="273" y="35"/>
                      <a:pt x="274" y="37"/>
                    </a:cubicBezTo>
                    <a:cubicBezTo>
                      <a:pt x="274" y="38"/>
                      <a:pt x="275" y="36"/>
                      <a:pt x="277" y="38"/>
                    </a:cubicBezTo>
                    <a:cubicBezTo>
                      <a:pt x="280" y="40"/>
                      <a:pt x="278" y="38"/>
                      <a:pt x="278" y="38"/>
                    </a:cubicBezTo>
                    <a:cubicBezTo>
                      <a:pt x="279" y="38"/>
                      <a:pt x="279" y="38"/>
                      <a:pt x="280" y="39"/>
                    </a:cubicBezTo>
                    <a:cubicBezTo>
                      <a:pt x="280" y="39"/>
                      <a:pt x="280" y="39"/>
                      <a:pt x="280" y="38"/>
                    </a:cubicBezTo>
                    <a:cubicBezTo>
                      <a:pt x="281" y="38"/>
                      <a:pt x="281" y="39"/>
                      <a:pt x="281" y="39"/>
                    </a:cubicBezTo>
                    <a:cubicBezTo>
                      <a:pt x="280" y="40"/>
                      <a:pt x="281" y="40"/>
                      <a:pt x="281" y="40"/>
                    </a:cubicBezTo>
                    <a:cubicBezTo>
                      <a:pt x="281" y="41"/>
                      <a:pt x="282" y="40"/>
                      <a:pt x="283" y="40"/>
                    </a:cubicBezTo>
                    <a:cubicBezTo>
                      <a:pt x="283" y="40"/>
                      <a:pt x="283" y="40"/>
                      <a:pt x="283" y="40"/>
                    </a:cubicBezTo>
                    <a:cubicBezTo>
                      <a:pt x="283" y="40"/>
                      <a:pt x="283" y="41"/>
                      <a:pt x="283" y="41"/>
                    </a:cubicBezTo>
                    <a:cubicBezTo>
                      <a:pt x="282" y="41"/>
                      <a:pt x="281" y="41"/>
                      <a:pt x="280" y="41"/>
                    </a:cubicBezTo>
                    <a:cubicBezTo>
                      <a:pt x="280" y="40"/>
                      <a:pt x="280" y="40"/>
                      <a:pt x="280" y="40"/>
                    </a:cubicBezTo>
                    <a:cubicBezTo>
                      <a:pt x="279" y="40"/>
                      <a:pt x="279" y="40"/>
                      <a:pt x="279" y="40"/>
                    </a:cubicBezTo>
                    <a:cubicBezTo>
                      <a:pt x="279" y="40"/>
                      <a:pt x="278" y="40"/>
                      <a:pt x="277" y="40"/>
                    </a:cubicBezTo>
                    <a:cubicBezTo>
                      <a:pt x="276" y="40"/>
                      <a:pt x="276" y="40"/>
                      <a:pt x="276" y="40"/>
                    </a:cubicBezTo>
                    <a:cubicBezTo>
                      <a:pt x="276" y="39"/>
                      <a:pt x="273" y="39"/>
                      <a:pt x="273" y="39"/>
                    </a:cubicBezTo>
                    <a:cubicBezTo>
                      <a:pt x="272" y="39"/>
                      <a:pt x="272" y="39"/>
                      <a:pt x="272" y="39"/>
                    </a:cubicBezTo>
                    <a:cubicBezTo>
                      <a:pt x="272" y="38"/>
                      <a:pt x="272" y="38"/>
                      <a:pt x="272" y="38"/>
                    </a:cubicBezTo>
                    <a:cubicBezTo>
                      <a:pt x="272" y="38"/>
                      <a:pt x="272" y="37"/>
                      <a:pt x="272" y="37"/>
                    </a:cubicBezTo>
                    <a:cubicBezTo>
                      <a:pt x="271" y="37"/>
                      <a:pt x="271" y="37"/>
                      <a:pt x="271" y="36"/>
                    </a:cubicBezTo>
                    <a:cubicBezTo>
                      <a:pt x="272" y="36"/>
                      <a:pt x="272" y="36"/>
                      <a:pt x="272" y="36"/>
                    </a:cubicBezTo>
                    <a:cubicBezTo>
                      <a:pt x="272" y="36"/>
                      <a:pt x="272" y="36"/>
                      <a:pt x="272" y="36"/>
                    </a:cubicBezTo>
                    <a:cubicBezTo>
                      <a:pt x="271" y="36"/>
                      <a:pt x="271" y="35"/>
                      <a:pt x="271" y="35"/>
                    </a:cubicBezTo>
                    <a:cubicBezTo>
                      <a:pt x="271" y="35"/>
                      <a:pt x="272" y="34"/>
                      <a:pt x="272" y="34"/>
                    </a:cubicBezTo>
                    <a:cubicBezTo>
                      <a:pt x="272" y="33"/>
                      <a:pt x="273" y="33"/>
                      <a:pt x="272" y="33"/>
                    </a:cubicBezTo>
                    <a:cubicBezTo>
                      <a:pt x="272" y="32"/>
                      <a:pt x="272" y="32"/>
                      <a:pt x="272" y="32"/>
                    </a:cubicBezTo>
                    <a:cubicBezTo>
                      <a:pt x="272" y="32"/>
                      <a:pt x="272" y="31"/>
                      <a:pt x="272" y="31"/>
                    </a:cubicBezTo>
                    <a:cubicBezTo>
                      <a:pt x="272" y="31"/>
                      <a:pt x="272" y="31"/>
                      <a:pt x="272" y="31"/>
                    </a:cubicBezTo>
                    <a:cubicBezTo>
                      <a:pt x="272" y="30"/>
                      <a:pt x="272" y="30"/>
                      <a:pt x="271" y="30"/>
                    </a:cubicBezTo>
                    <a:cubicBezTo>
                      <a:pt x="271" y="29"/>
                      <a:pt x="271" y="29"/>
                      <a:pt x="271" y="29"/>
                    </a:cubicBezTo>
                    <a:cubicBezTo>
                      <a:pt x="271" y="29"/>
                      <a:pt x="271" y="29"/>
                      <a:pt x="271" y="29"/>
                    </a:cubicBezTo>
                    <a:cubicBezTo>
                      <a:pt x="270" y="29"/>
                      <a:pt x="270" y="30"/>
                      <a:pt x="270" y="30"/>
                    </a:cubicBezTo>
                    <a:cubicBezTo>
                      <a:pt x="271" y="32"/>
                      <a:pt x="271" y="32"/>
                      <a:pt x="271" y="32"/>
                    </a:cubicBezTo>
                    <a:cubicBezTo>
                      <a:pt x="271" y="35"/>
                      <a:pt x="271" y="35"/>
                      <a:pt x="271" y="35"/>
                    </a:cubicBezTo>
                    <a:cubicBezTo>
                      <a:pt x="269" y="35"/>
                      <a:pt x="267" y="35"/>
                      <a:pt x="266" y="35"/>
                    </a:cubicBezTo>
                    <a:cubicBezTo>
                      <a:pt x="266" y="36"/>
                      <a:pt x="266" y="36"/>
                      <a:pt x="266" y="36"/>
                    </a:cubicBezTo>
                    <a:cubicBezTo>
                      <a:pt x="265" y="36"/>
                      <a:pt x="266" y="36"/>
                      <a:pt x="265" y="37"/>
                    </a:cubicBezTo>
                    <a:cubicBezTo>
                      <a:pt x="264" y="38"/>
                      <a:pt x="264" y="37"/>
                      <a:pt x="263" y="38"/>
                    </a:cubicBezTo>
                    <a:cubicBezTo>
                      <a:pt x="263" y="39"/>
                      <a:pt x="263" y="39"/>
                      <a:pt x="263" y="39"/>
                    </a:cubicBezTo>
                    <a:cubicBezTo>
                      <a:pt x="264" y="39"/>
                      <a:pt x="265" y="39"/>
                      <a:pt x="265" y="39"/>
                    </a:cubicBezTo>
                    <a:cubicBezTo>
                      <a:pt x="265" y="40"/>
                      <a:pt x="265" y="40"/>
                      <a:pt x="266" y="40"/>
                    </a:cubicBezTo>
                    <a:cubicBezTo>
                      <a:pt x="266" y="40"/>
                      <a:pt x="267" y="41"/>
                      <a:pt x="267" y="41"/>
                    </a:cubicBezTo>
                    <a:cubicBezTo>
                      <a:pt x="267" y="42"/>
                      <a:pt x="267" y="42"/>
                      <a:pt x="268" y="42"/>
                    </a:cubicBezTo>
                    <a:cubicBezTo>
                      <a:pt x="268" y="43"/>
                      <a:pt x="267" y="43"/>
                      <a:pt x="267" y="44"/>
                    </a:cubicBezTo>
                    <a:cubicBezTo>
                      <a:pt x="266" y="45"/>
                      <a:pt x="266" y="46"/>
                      <a:pt x="266" y="46"/>
                    </a:cubicBezTo>
                    <a:cubicBezTo>
                      <a:pt x="266" y="46"/>
                      <a:pt x="266" y="46"/>
                      <a:pt x="266" y="46"/>
                    </a:cubicBezTo>
                    <a:cubicBezTo>
                      <a:pt x="266" y="47"/>
                      <a:pt x="266" y="47"/>
                      <a:pt x="266" y="47"/>
                    </a:cubicBezTo>
                    <a:cubicBezTo>
                      <a:pt x="266" y="47"/>
                      <a:pt x="266" y="48"/>
                      <a:pt x="266" y="49"/>
                    </a:cubicBezTo>
                    <a:cubicBezTo>
                      <a:pt x="266" y="49"/>
                      <a:pt x="266" y="50"/>
                      <a:pt x="266" y="50"/>
                    </a:cubicBezTo>
                    <a:cubicBezTo>
                      <a:pt x="266" y="51"/>
                      <a:pt x="267" y="51"/>
                      <a:pt x="268" y="51"/>
                    </a:cubicBezTo>
                    <a:cubicBezTo>
                      <a:pt x="269" y="51"/>
                      <a:pt x="269" y="51"/>
                      <a:pt x="269" y="51"/>
                    </a:cubicBezTo>
                    <a:cubicBezTo>
                      <a:pt x="269" y="51"/>
                      <a:pt x="269" y="51"/>
                      <a:pt x="270" y="51"/>
                    </a:cubicBezTo>
                    <a:cubicBezTo>
                      <a:pt x="272" y="51"/>
                      <a:pt x="272" y="51"/>
                      <a:pt x="272" y="51"/>
                    </a:cubicBezTo>
                    <a:cubicBezTo>
                      <a:pt x="271" y="51"/>
                      <a:pt x="271" y="51"/>
                      <a:pt x="272" y="50"/>
                    </a:cubicBezTo>
                    <a:cubicBezTo>
                      <a:pt x="272" y="50"/>
                      <a:pt x="273" y="50"/>
                      <a:pt x="274" y="51"/>
                    </a:cubicBezTo>
                    <a:cubicBezTo>
                      <a:pt x="275" y="51"/>
                      <a:pt x="276" y="51"/>
                      <a:pt x="276" y="51"/>
                    </a:cubicBezTo>
                    <a:cubicBezTo>
                      <a:pt x="276" y="52"/>
                      <a:pt x="276" y="52"/>
                      <a:pt x="276" y="52"/>
                    </a:cubicBezTo>
                    <a:cubicBezTo>
                      <a:pt x="276" y="52"/>
                      <a:pt x="277" y="52"/>
                      <a:pt x="278" y="52"/>
                    </a:cubicBezTo>
                    <a:cubicBezTo>
                      <a:pt x="279" y="52"/>
                      <a:pt x="279" y="53"/>
                      <a:pt x="278" y="53"/>
                    </a:cubicBezTo>
                    <a:cubicBezTo>
                      <a:pt x="278" y="54"/>
                      <a:pt x="278" y="54"/>
                      <a:pt x="279" y="54"/>
                    </a:cubicBezTo>
                    <a:cubicBezTo>
                      <a:pt x="280" y="55"/>
                      <a:pt x="281" y="55"/>
                      <a:pt x="280" y="56"/>
                    </a:cubicBezTo>
                    <a:cubicBezTo>
                      <a:pt x="280" y="57"/>
                      <a:pt x="279" y="56"/>
                      <a:pt x="279" y="56"/>
                    </a:cubicBezTo>
                    <a:cubicBezTo>
                      <a:pt x="278" y="56"/>
                      <a:pt x="278" y="57"/>
                      <a:pt x="279" y="57"/>
                    </a:cubicBezTo>
                    <a:cubicBezTo>
                      <a:pt x="279" y="58"/>
                      <a:pt x="279" y="58"/>
                      <a:pt x="280" y="59"/>
                    </a:cubicBezTo>
                    <a:cubicBezTo>
                      <a:pt x="281" y="60"/>
                      <a:pt x="281" y="60"/>
                      <a:pt x="281" y="60"/>
                    </a:cubicBezTo>
                    <a:cubicBezTo>
                      <a:pt x="282" y="60"/>
                      <a:pt x="282" y="60"/>
                      <a:pt x="281" y="60"/>
                    </a:cubicBezTo>
                    <a:cubicBezTo>
                      <a:pt x="280" y="60"/>
                      <a:pt x="280" y="60"/>
                      <a:pt x="280" y="60"/>
                    </a:cubicBezTo>
                    <a:cubicBezTo>
                      <a:pt x="280" y="60"/>
                      <a:pt x="279" y="60"/>
                      <a:pt x="278" y="59"/>
                    </a:cubicBezTo>
                    <a:cubicBezTo>
                      <a:pt x="277" y="59"/>
                      <a:pt x="278" y="59"/>
                      <a:pt x="278" y="59"/>
                    </a:cubicBezTo>
                    <a:cubicBezTo>
                      <a:pt x="278" y="59"/>
                      <a:pt x="278" y="59"/>
                      <a:pt x="277" y="56"/>
                    </a:cubicBezTo>
                    <a:cubicBezTo>
                      <a:pt x="276" y="53"/>
                      <a:pt x="278" y="55"/>
                      <a:pt x="277" y="54"/>
                    </a:cubicBezTo>
                    <a:cubicBezTo>
                      <a:pt x="277" y="53"/>
                      <a:pt x="276" y="54"/>
                      <a:pt x="276" y="53"/>
                    </a:cubicBezTo>
                    <a:cubicBezTo>
                      <a:pt x="275" y="53"/>
                      <a:pt x="276" y="53"/>
                      <a:pt x="276" y="53"/>
                    </a:cubicBezTo>
                    <a:cubicBezTo>
                      <a:pt x="276" y="52"/>
                      <a:pt x="275" y="52"/>
                      <a:pt x="274" y="52"/>
                    </a:cubicBezTo>
                    <a:cubicBezTo>
                      <a:pt x="273" y="52"/>
                      <a:pt x="272" y="52"/>
                      <a:pt x="271" y="53"/>
                    </a:cubicBezTo>
                    <a:cubicBezTo>
                      <a:pt x="269" y="53"/>
                      <a:pt x="269" y="53"/>
                      <a:pt x="268" y="54"/>
                    </a:cubicBezTo>
                    <a:cubicBezTo>
                      <a:pt x="267" y="55"/>
                      <a:pt x="268" y="55"/>
                      <a:pt x="269" y="56"/>
                    </a:cubicBezTo>
                    <a:cubicBezTo>
                      <a:pt x="269" y="57"/>
                      <a:pt x="270" y="58"/>
                      <a:pt x="269" y="59"/>
                    </a:cubicBezTo>
                    <a:cubicBezTo>
                      <a:pt x="269" y="60"/>
                      <a:pt x="268" y="60"/>
                      <a:pt x="267" y="61"/>
                    </a:cubicBezTo>
                    <a:cubicBezTo>
                      <a:pt x="266" y="61"/>
                      <a:pt x="266" y="61"/>
                      <a:pt x="266" y="61"/>
                    </a:cubicBezTo>
                    <a:cubicBezTo>
                      <a:pt x="267" y="62"/>
                      <a:pt x="267" y="62"/>
                      <a:pt x="267" y="63"/>
                    </a:cubicBezTo>
                    <a:cubicBezTo>
                      <a:pt x="266" y="63"/>
                      <a:pt x="266" y="63"/>
                      <a:pt x="266" y="64"/>
                    </a:cubicBezTo>
                    <a:cubicBezTo>
                      <a:pt x="265" y="64"/>
                      <a:pt x="265" y="64"/>
                      <a:pt x="265" y="65"/>
                    </a:cubicBezTo>
                    <a:cubicBezTo>
                      <a:pt x="264" y="65"/>
                      <a:pt x="264" y="65"/>
                      <a:pt x="264" y="65"/>
                    </a:cubicBezTo>
                    <a:cubicBezTo>
                      <a:pt x="264" y="65"/>
                      <a:pt x="264" y="65"/>
                      <a:pt x="263" y="65"/>
                    </a:cubicBezTo>
                    <a:cubicBezTo>
                      <a:pt x="263" y="65"/>
                      <a:pt x="262" y="65"/>
                      <a:pt x="262" y="65"/>
                    </a:cubicBezTo>
                    <a:cubicBezTo>
                      <a:pt x="262" y="66"/>
                      <a:pt x="262" y="66"/>
                      <a:pt x="262" y="66"/>
                    </a:cubicBezTo>
                    <a:cubicBezTo>
                      <a:pt x="262" y="66"/>
                      <a:pt x="261" y="67"/>
                      <a:pt x="261" y="67"/>
                    </a:cubicBezTo>
                    <a:cubicBezTo>
                      <a:pt x="261" y="67"/>
                      <a:pt x="260" y="67"/>
                      <a:pt x="260" y="67"/>
                    </a:cubicBezTo>
                    <a:cubicBezTo>
                      <a:pt x="260" y="67"/>
                      <a:pt x="260" y="67"/>
                      <a:pt x="260" y="67"/>
                    </a:cubicBezTo>
                    <a:cubicBezTo>
                      <a:pt x="259" y="67"/>
                      <a:pt x="259" y="67"/>
                      <a:pt x="259" y="67"/>
                    </a:cubicBezTo>
                    <a:cubicBezTo>
                      <a:pt x="259" y="67"/>
                      <a:pt x="258" y="67"/>
                      <a:pt x="257" y="67"/>
                    </a:cubicBezTo>
                    <a:cubicBezTo>
                      <a:pt x="256" y="67"/>
                      <a:pt x="256" y="67"/>
                      <a:pt x="256" y="67"/>
                    </a:cubicBezTo>
                    <a:cubicBezTo>
                      <a:pt x="256" y="67"/>
                      <a:pt x="255" y="67"/>
                      <a:pt x="255" y="67"/>
                    </a:cubicBezTo>
                    <a:cubicBezTo>
                      <a:pt x="255" y="67"/>
                      <a:pt x="254" y="67"/>
                      <a:pt x="254" y="66"/>
                    </a:cubicBezTo>
                    <a:cubicBezTo>
                      <a:pt x="254" y="66"/>
                      <a:pt x="254" y="66"/>
                      <a:pt x="254" y="66"/>
                    </a:cubicBezTo>
                    <a:cubicBezTo>
                      <a:pt x="254" y="66"/>
                      <a:pt x="253" y="66"/>
                      <a:pt x="253" y="66"/>
                    </a:cubicBezTo>
                    <a:cubicBezTo>
                      <a:pt x="253" y="66"/>
                      <a:pt x="252" y="66"/>
                      <a:pt x="252" y="66"/>
                    </a:cubicBezTo>
                    <a:cubicBezTo>
                      <a:pt x="251" y="65"/>
                      <a:pt x="251" y="65"/>
                      <a:pt x="251" y="65"/>
                    </a:cubicBezTo>
                    <a:cubicBezTo>
                      <a:pt x="251" y="64"/>
                      <a:pt x="251" y="64"/>
                      <a:pt x="251" y="64"/>
                    </a:cubicBezTo>
                    <a:cubicBezTo>
                      <a:pt x="252" y="64"/>
                      <a:pt x="252" y="64"/>
                      <a:pt x="252" y="64"/>
                    </a:cubicBezTo>
                    <a:cubicBezTo>
                      <a:pt x="252" y="64"/>
                      <a:pt x="252" y="64"/>
                      <a:pt x="252" y="64"/>
                    </a:cubicBezTo>
                    <a:cubicBezTo>
                      <a:pt x="252" y="64"/>
                      <a:pt x="253" y="64"/>
                      <a:pt x="253" y="64"/>
                    </a:cubicBezTo>
                    <a:cubicBezTo>
                      <a:pt x="253" y="64"/>
                      <a:pt x="254" y="64"/>
                      <a:pt x="254" y="64"/>
                    </a:cubicBezTo>
                    <a:cubicBezTo>
                      <a:pt x="254" y="64"/>
                      <a:pt x="255" y="65"/>
                      <a:pt x="255" y="65"/>
                    </a:cubicBezTo>
                    <a:cubicBezTo>
                      <a:pt x="256" y="65"/>
                      <a:pt x="256" y="65"/>
                      <a:pt x="256" y="65"/>
                    </a:cubicBezTo>
                    <a:cubicBezTo>
                      <a:pt x="256" y="66"/>
                      <a:pt x="257" y="65"/>
                      <a:pt x="257" y="65"/>
                    </a:cubicBezTo>
                    <a:cubicBezTo>
                      <a:pt x="257" y="65"/>
                      <a:pt x="257" y="65"/>
                      <a:pt x="257" y="65"/>
                    </a:cubicBezTo>
                    <a:cubicBezTo>
                      <a:pt x="258" y="65"/>
                      <a:pt x="258" y="65"/>
                      <a:pt x="258" y="65"/>
                    </a:cubicBezTo>
                    <a:cubicBezTo>
                      <a:pt x="259" y="65"/>
                      <a:pt x="259" y="64"/>
                      <a:pt x="259" y="64"/>
                    </a:cubicBezTo>
                    <a:cubicBezTo>
                      <a:pt x="259" y="64"/>
                      <a:pt x="259" y="64"/>
                      <a:pt x="259" y="64"/>
                    </a:cubicBezTo>
                    <a:cubicBezTo>
                      <a:pt x="259" y="64"/>
                      <a:pt x="259" y="63"/>
                      <a:pt x="260" y="63"/>
                    </a:cubicBezTo>
                    <a:cubicBezTo>
                      <a:pt x="260" y="64"/>
                      <a:pt x="260" y="64"/>
                      <a:pt x="260" y="64"/>
                    </a:cubicBezTo>
                    <a:cubicBezTo>
                      <a:pt x="260" y="63"/>
                      <a:pt x="261" y="63"/>
                      <a:pt x="261" y="62"/>
                    </a:cubicBezTo>
                    <a:cubicBezTo>
                      <a:pt x="261" y="62"/>
                      <a:pt x="261" y="62"/>
                      <a:pt x="261" y="62"/>
                    </a:cubicBezTo>
                    <a:cubicBezTo>
                      <a:pt x="262" y="62"/>
                      <a:pt x="262" y="61"/>
                      <a:pt x="262" y="60"/>
                    </a:cubicBezTo>
                    <a:cubicBezTo>
                      <a:pt x="263" y="60"/>
                      <a:pt x="263" y="60"/>
                      <a:pt x="263" y="60"/>
                    </a:cubicBezTo>
                    <a:cubicBezTo>
                      <a:pt x="265" y="60"/>
                      <a:pt x="265" y="60"/>
                      <a:pt x="265" y="60"/>
                    </a:cubicBezTo>
                    <a:cubicBezTo>
                      <a:pt x="264" y="60"/>
                      <a:pt x="264" y="59"/>
                      <a:pt x="264" y="59"/>
                    </a:cubicBezTo>
                    <a:cubicBezTo>
                      <a:pt x="264" y="58"/>
                      <a:pt x="264" y="57"/>
                      <a:pt x="264" y="56"/>
                    </a:cubicBezTo>
                    <a:cubicBezTo>
                      <a:pt x="264" y="56"/>
                      <a:pt x="264" y="56"/>
                      <a:pt x="264" y="56"/>
                    </a:cubicBezTo>
                    <a:cubicBezTo>
                      <a:pt x="264" y="56"/>
                      <a:pt x="265" y="55"/>
                      <a:pt x="265" y="55"/>
                    </a:cubicBezTo>
                    <a:cubicBezTo>
                      <a:pt x="266" y="55"/>
                      <a:pt x="266" y="55"/>
                      <a:pt x="266" y="55"/>
                    </a:cubicBezTo>
                    <a:cubicBezTo>
                      <a:pt x="266" y="55"/>
                      <a:pt x="265" y="54"/>
                      <a:pt x="265" y="54"/>
                    </a:cubicBezTo>
                    <a:cubicBezTo>
                      <a:pt x="264" y="54"/>
                      <a:pt x="264" y="54"/>
                      <a:pt x="264" y="54"/>
                    </a:cubicBezTo>
                    <a:cubicBezTo>
                      <a:pt x="263" y="54"/>
                      <a:pt x="263" y="52"/>
                      <a:pt x="262" y="52"/>
                    </a:cubicBezTo>
                    <a:cubicBezTo>
                      <a:pt x="262" y="52"/>
                      <a:pt x="262" y="52"/>
                      <a:pt x="262" y="52"/>
                    </a:cubicBezTo>
                    <a:cubicBezTo>
                      <a:pt x="263" y="51"/>
                      <a:pt x="263" y="51"/>
                      <a:pt x="262" y="51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3" y="50"/>
                      <a:pt x="263" y="49"/>
                      <a:pt x="263" y="49"/>
                    </a:cubicBezTo>
                    <a:cubicBezTo>
                      <a:pt x="262" y="49"/>
                      <a:pt x="262" y="48"/>
                      <a:pt x="262" y="48"/>
                    </a:cubicBezTo>
                    <a:cubicBezTo>
                      <a:pt x="263" y="48"/>
                      <a:pt x="263" y="47"/>
                      <a:pt x="262" y="47"/>
                    </a:cubicBezTo>
                    <a:cubicBezTo>
                      <a:pt x="262" y="47"/>
                      <a:pt x="262" y="47"/>
                      <a:pt x="262" y="46"/>
                    </a:cubicBezTo>
                    <a:cubicBezTo>
                      <a:pt x="263" y="46"/>
                      <a:pt x="262" y="46"/>
                      <a:pt x="262" y="45"/>
                    </a:cubicBezTo>
                    <a:cubicBezTo>
                      <a:pt x="262" y="45"/>
                      <a:pt x="262" y="45"/>
                      <a:pt x="262" y="44"/>
                    </a:cubicBezTo>
                    <a:cubicBezTo>
                      <a:pt x="262" y="44"/>
                      <a:pt x="263" y="44"/>
                      <a:pt x="263" y="44"/>
                    </a:cubicBezTo>
                    <a:cubicBezTo>
                      <a:pt x="263" y="44"/>
                      <a:pt x="263" y="43"/>
                      <a:pt x="263" y="43"/>
                    </a:cubicBezTo>
                    <a:cubicBezTo>
                      <a:pt x="263" y="43"/>
                      <a:pt x="263" y="42"/>
                      <a:pt x="263" y="42"/>
                    </a:cubicBezTo>
                    <a:cubicBezTo>
                      <a:pt x="263" y="42"/>
                      <a:pt x="263" y="41"/>
                      <a:pt x="263" y="41"/>
                    </a:cubicBezTo>
                    <a:cubicBezTo>
                      <a:pt x="263" y="41"/>
                      <a:pt x="262" y="40"/>
                      <a:pt x="262" y="40"/>
                    </a:cubicBezTo>
                    <a:cubicBezTo>
                      <a:pt x="263" y="40"/>
                      <a:pt x="262" y="40"/>
                      <a:pt x="262" y="39"/>
                    </a:cubicBezTo>
                    <a:cubicBezTo>
                      <a:pt x="262" y="39"/>
                      <a:pt x="262" y="39"/>
                      <a:pt x="262" y="39"/>
                    </a:cubicBezTo>
                    <a:cubicBezTo>
                      <a:pt x="261" y="39"/>
                      <a:pt x="260" y="38"/>
                      <a:pt x="260" y="38"/>
                    </a:cubicBezTo>
                    <a:cubicBezTo>
                      <a:pt x="260" y="38"/>
                      <a:pt x="260" y="38"/>
                      <a:pt x="260" y="38"/>
                    </a:cubicBezTo>
                    <a:cubicBezTo>
                      <a:pt x="260" y="38"/>
                      <a:pt x="260" y="37"/>
                      <a:pt x="261" y="37"/>
                    </a:cubicBezTo>
                    <a:cubicBezTo>
                      <a:pt x="261" y="37"/>
                      <a:pt x="261" y="37"/>
                      <a:pt x="261" y="37"/>
                    </a:cubicBezTo>
                    <a:cubicBezTo>
                      <a:pt x="261" y="37"/>
                      <a:pt x="261" y="36"/>
                      <a:pt x="261" y="36"/>
                    </a:cubicBezTo>
                    <a:cubicBezTo>
                      <a:pt x="262" y="36"/>
                      <a:pt x="262" y="36"/>
                      <a:pt x="262" y="36"/>
                    </a:cubicBezTo>
                    <a:cubicBezTo>
                      <a:pt x="262" y="36"/>
                      <a:pt x="262" y="35"/>
                      <a:pt x="262" y="35"/>
                    </a:cubicBezTo>
                    <a:cubicBezTo>
                      <a:pt x="262" y="35"/>
                      <a:pt x="262" y="35"/>
                      <a:pt x="262" y="35"/>
                    </a:cubicBezTo>
                    <a:cubicBezTo>
                      <a:pt x="262" y="35"/>
                      <a:pt x="262" y="35"/>
                      <a:pt x="262" y="34"/>
                    </a:cubicBezTo>
                    <a:cubicBezTo>
                      <a:pt x="262" y="34"/>
                      <a:pt x="262" y="34"/>
                      <a:pt x="262" y="34"/>
                    </a:cubicBezTo>
                    <a:cubicBezTo>
                      <a:pt x="262" y="34"/>
                      <a:pt x="263" y="33"/>
                      <a:pt x="263" y="33"/>
                    </a:cubicBezTo>
                    <a:cubicBezTo>
                      <a:pt x="263" y="33"/>
                      <a:pt x="263" y="33"/>
                      <a:pt x="263" y="33"/>
                    </a:cubicBezTo>
                    <a:cubicBezTo>
                      <a:pt x="263" y="32"/>
                      <a:pt x="263" y="32"/>
                      <a:pt x="263" y="32"/>
                    </a:cubicBezTo>
                    <a:cubicBezTo>
                      <a:pt x="263" y="32"/>
                      <a:pt x="263" y="32"/>
                      <a:pt x="263" y="32"/>
                    </a:cubicBezTo>
                    <a:cubicBezTo>
                      <a:pt x="263" y="32"/>
                      <a:pt x="263" y="31"/>
                      <a:pt x="263" y="31"/>
                    </a:cubicBezTo>
                    <a:cubicBezTo>
                      <a:pt x="263" y="31"/>
                      <a:pt x="263" y="31"/>
                      <a:pt x="263" y="31"/>
                    </a:cubicBezTo>
                    <a:cubicBezTo>
                      <a:pt x="263" y="31"/>
                      <a:pt x="263" y="31"/>
                      <a:pt x="263" y="31"/>
                    </a:cubicBezTo>
                    <a:cubicBezTo>
                      <a:pt x="263" y="31"/>
                      <a:pt x="263" y="31"/>
                      <a:pt x="263" y="30"/>
                    </a:cubicBezTo>
                    <a:cubicBezTo>
                      <a:pt x="263" y="30"/>
                      <a:pt x="263" y="30"/>
                      <a:pt x="262" y="30"/>
                    </a:cubicBezTo>
                    <a:cubicBezTo>
                      <a:pt x="262" y="30"/>
                      <a:pt x="261" y="30"/>
                      <a:pt x="260" y="29"/>
                    </a:cubicBezTo>
                    <a:cubicBezTo>
                      <a:pt x="260" y="29"/>
                      <a:pt x="260" y="29"/>
                      <a:pt x="260" y="29"/>
                    </a:cubicBezTo>
                    <a:cubicBezTo>
                      <a:pt x="259" y="29"/>
                      <a:pt x="258" y="29"/>
                      <a:pt x="256" y="29"/>
                    </a:cubicBezTo>
                    <a:cubicBezTo>
                      <a:pt x="255" y="29"/>
                      <a:pt x="254" y="29"/>
                      <a:pt x="253" y="29"/>
                    </a:cubicBezTo>
                    <a:cubicBezTo>
                      <a:pt x="252" y="29"/>
                      <a:pt x="253" y="29"/>
                      <a:pt x="253" y="29"/>
                    </a:cubicBezTo>
                    <a:cubicBezTo>
                      <a:pt x="253" y="29"/>
                      <a:pt x="253" y="29"/>
                      <a:pt x="253" y="29"/>
                    </a:cubicBezTo>
                    <a:cubicBezTo>
                      <a:pt x="253" y="29"/>
                      <a:pt x="252" y="29"/>
                      <a:pt x="252" y="29"/>
                    </a:cubicBezTo>
                    <a:cubicBezTo>
                      <a:pt x="252" y="29"/>
                      <a:pt x="252" y="29"/>
                      <a:pt x="252" y="29"/>
                    </a:cubicBezTo>
                    <a:cubicBezTo>
                      <a:pt x="252" y="30"/>
                      <a:pt x="251" y="30"/>
                      <a:pt x="251" y="30"/>
                    </a:cubicBezTo>
                    <a:cubicBezTo>
                      <a:pt x="251" y="30"/>
                      <a:pt x="251" y="30"/>
                      <a:pt x="251" y="30"/>
                    </a:cubicBezTo>
                    <a:cubicBezTo>
                      <a:pt x="251" y="30"/>
                      <a:pt x="251" y="31"/>
                      <a:pt x="251" y="31"/>
                    </a:cubicBezTo>
                    <a:cubicBezTo>
                      <a:pt x="251" y="32"/>
                      <a:pt x="250" y="32"/>
                      <a:pt x="250" y="33"/>
                    </a:cubicBezTo>
                    <a:cubicBezTo>
                      <a:pt x="250" y="33"/>
                      <a:pt x="250" y="34"/>
                      <a:pt x="250" y="34"/>
                    </a:cubicBezTo>
                    <a:cubicBezTo>
                      <a:pt x="250" y="34"/>
                      <a:pt x="249" y="35"/>
                      <a:pt x="249" y="35"/>
                    </a:cubicBezTo>
                    <a:cubicBezTo>
                      <a:pt x="249" y="36"/>
                      <a:pt x="249" y="36"/>
                      <a:pt x="249" y="36"/>
                    </a:cubicBezTo>
                    <a:cubicBezTo>
                      <a:pt x="249" y="36"/>
                      <a:pt x="249" y="37"/>
                      <a:pt x="249" y="37"/>
                    </a:cubicBezTo>
                    <a:cubicBezTo>
                      <a:pt x="249" y="37"/>
                      <a:pt x="248" y="37"/>
                      <a:pt x="248" y="37"/>
                    </a:cubicBezTo>
                    <a:cubicBezTo>
                      <a:pt x="247" y="37"/>
                      <a:pt x="246" y="38"/>
                      <a:pt x="246" y="38"/>
                    </a:cubicBezTo>
                    <a:cubicBezTo>
                      <a:pt x="245" y="38"/>
                      <a:pt x="244" y="39"/>
                      <a:pt x="244" y="39"/>
                    </a:cubicBezTo>
                    <a:cubicBezTo>
                      <a:pt x="244" y="39"/>
                      <a:pt x="243" y="39"/>
                      <a:pt x="243" y="39"/>
                    </a:cubicBezTo>
                    <a:cubicBezTo>
                      <a:pt x="243" y="40"/>
                      <a:pt x="243" y="40"/>
                      <a:pt x="244" y="40"/>
                    </a:cubicBezTo>
                    <a:cubicBezTo>
                      <a:pt x="244" y="40"/>
                      <a:pt x="244" y="40"/>
                      <a:pt x="244" y="40"/>
                    </a:cubicBezTo>
                    <a:cubicBezTo>
                      <a:pt x="244" y="40"/>
                      <a:pt x="244" y="40"/>
                      <a:pt x="244" y="41"/>
                    </a:cubicBezTo>
                    <a:cubicBezTo>
                      <a:pt x="244" y="41"/>
                      <a:pt x="243" y="41"/>
                      <a:pt x="243" y="41"/>
                    </a:cubicBezTo>
                    <a:cubicBezTo>
                      <a:pt x="243" y="41"/>
                      <a:pt x="243" y="42"/>
                      <a:pt x="243" y="42"/>
                    </a:cubicBezTo>
                    <a:cubicBezTo>
                      <a:pt x="245" y="41"/>
                      <a:pt x="245" y="41"/>
                      <a:pt x="245" y="41"/>
                    </a:cubicBezTo>
                    <a:cubicBezTo>
                      <a:pt x="246" y="41"/>
                      <a:pt x="246" y="42"/>
                      <a:pt x="246" y="42"/>
                    </a:cubicBezTo>
                    <a:cubicBezTo>
                      <a:pt x="246" y="42"/>
                      <a:pt x="246" y="42"/>
                      <a:pt x="246" y="42"/>
                    </a:cubicBezTo>
                    <a:cubicBezTo>
                      <a:pt x="245" y="43"/>
                      <a:pt x="245" y="43"/>
                      <a:pt x="245" y="44"/>
                    </a:cubicBezTo>
                    <a:cubicBezTo>
                      <a:pt x="245" y="44"/>
                      <a:pt x="245" y="44"/>
                      <a:pt x="245" y="44"/>
                    </a:cubicBezTo>
                    <a:cubicBezTo>
                      <a:pt x="245" y="44"/>
                      <a:pt x="245" y="44"/>
                      <a:pt x="245" y="44"/>
                    </a:cubicBezTo>
                    <a:cubicBezTo>
                      <a:pt x="245" y="45"/>
                      <a:pt x="245" y="45"/>
                      <a:pt x="245" y="45"/>
                    </a:cubicBezTo>
                    <a:cubicBezTo>
                      <a:pt x="245" y="45"/>
                      <a:pt x="246" y="45"/>
                      <a:pt x="246" y="46"/>
                    </a:cubicBezTo>
                    <a:cubicBezTo>
                      <a:pt x="246" y="46"/>
                      <a:pt x="245" y="46"/>
                      <a:pt x="245" y="46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5" y="46"/>
                      <a:pt x="244" y="46"/>
                      <a:pt x="244" y="46"/>
                    </a:cubicBezTo>
                    <a:cubicBezTo>
                      <a:pt x="244" y="46"/>
                      <a:pt x="244" y="46"/>
                      <a:pt x="244" y="47"/>
                    </a:cubicBezTo>
                    <a:cubicBezTo>
                      <a:pt x="244" y="47"/>
                      <a:pt x="244" y="48"/>
                      <a:pt x="244" y="48"/>
                    </a:cubicBezTo>
                    <a:cubicBezTo>
                      <a:pt x="244" y="49"/>
                      <a:pt x="244" y="49"/>
                      <a:pt x="244" y="49"/>
                    </a:cubicBezTo>
                    <a:cubicBezTo>
                      <a:pt x="244" y="49"/>
                      <a:pt x="244" y="49"/>
                      <a:pt x="244" y="49"/>
                    </a:cubicBezTo>
                    <a:cubicBezTo>
                      <a:pt x="244" y="49"/>
                      <a:pt x="244" y="49"/>
                      <a:pt x="244" y="48"/>
                    </a:cubicBezTo>
                    <a:cubicBezTo>
                      <a:pt x="244" y="48"/>
                      <a:pt x="244" y="48"/>
                      <a:pt x="244" y="48"/>
                    </a:cubicBezTo>
                    <a:cubicBezTo>
                      <a:pt x="244" y="48"/>
                      <a:pt x="244" y="48"/>
                      <a:pt x="244" y="48"/>
                    </a:cubicBezTo>
                    <a:cubicBezTo>
                      <a:pt x="244" y="48"/>
                      <a:pt x="245" y="48"/>
                      <a:pt x="245" y="48"/>
                    </a:cubicBezTo>
                    <a:cubicBezTo>
                      <a:pt x="245" y="48"/>
                      <a:pt x="246" y="48"/>
                      <a:pt x="246" y="48"/>
                    </a:cubicBezTo>
                    <a:cubicBezTo>
                      <a:pt x="246" y="48"/>
                      <a:pt x="247" y="49"/>
                      <a:pt x="247" y="49"/>
                    </a:cubicBezTo>
                    <a:cubicBezTo>
                      <a:pt x="247" y="49"/>
                      <a:pt x="248" y="49"/>
                      <a:pt x="248" y="49"/>
                    </a:cubicBezTo>
                    <a:cubicBezTo>
                      <a:pt x="248" y="49"/>
                      <a:pt x="248" y="49"/>
                      <a:pt x="248" y="49"/>
                    </a:cubicBezTo>
                    <a:cubicBezTo>
                      <a:pt x="248" y="49"/>
                      <a:pt x="248" y="49"/>
                      <a:pt x="248" y="49"/>
                    </a:cubicBezTo>
                    <a:cubicBezTo>
                      <a:pt x="248" y="49"/>
                      <a:pt x="248" y="49"/>
                      <a:pt x="248" y="50"/>
                    </a:cubicBezTo>
                    <a:cubicBezTo>
                      <a:pt x="248" y="50"/>
                      <a:pt x="248" y="50"/>
                      <a:pt x="248" y="50"/>
                    </a:cubicBezTo>
                    <a:cubicBezTo>
                      <a:pt x="248" y="50"/>
                      <a:pt x="248" y="51"/>
                      <a:pt x="249" y="51"/>
                    </a:cubicBezTo>
                    <a:cubicBezTo>
                      <a:pt x="249" y="52"/>
                      <a:pt x="249" y="52"/>
                      <a:pt x="250" y="52"/>
                    </a:cubicBezTo>
                    <a:cubicBezTo>
                      <a:pt x="250" y="52"/>
                      <a:pt x="250" y="52"/>
                      <a:pt x="251" y="52"/>
                    </a:cubicBezTo>
                    <a:cubicBezTo>
                      <a:pt x="251" y="52"/>
                      <a:pt x="251" y="52"/>
                      <a:pt x="252" y="52"/>
                    </a:cubicBezTo>
                    <a:cubicBezTo>
                      <a:pt x="252" y="52"/>
                      <a:pt x="252" y="52"/>
                      <a:pt x="251" y="52"/>
                    </a:cubicBezTo>
                    <a:cubicBezTo>
                      <a:pt x="251" y="53"/>
                      <a:pt x="251" y="53"/>
                      <a:pt x="251" y="53"/>
                    </a:cubicBezTo>
                    <a:cubicBezTo>
                      <a:pt x="251" y="53"/>
                      <a:pt x="251" y="53"/>
                      <a:pt x="251" y="54"/>
                    </a:cubicBezTo>
                    <a:cubicBezTo>
                      <a:pt x="250" y="55"/>
                      <a:pt x="250" y="55"/>
                      <a:pt x="250" y="55"/>
                    </a:cubicBezTo>
                    <a:cubicBezTo>
                      <a:pt x="250" y="56"/>
                      <a:pt x="250" y="56"/>
                      <a:pt x="250" y="56"/>
                    </a:cubicBezTo>
                    <a:cubicBezTo>
                      <a:pt x="250" y="56"/>
                      <a:pt x="249" y="57"/>
                      <a:pt x="249" y="57"/>
                    </a:cubicBezTo>
                    <a:cubicBezTo>
                      <a:pt x="249" y="57"/>
                      <a:pt x="249" y="57"/>
                      <a:pt x="249" y="57"/>
                    </a:cubicBezTo>
                    <a:cubicBezTo>
                      <a:pt x="249" y="56"/>
                      <a:pt x="249" y="56"/>
                      <a:pt x="249" y="56"/>
                    </a:cubicBezTo>
                    <a:cubicBezTo>
                      <a:pt x="248" y="56"/>
                      <a:pt x="248" y="56"/>
                      <a:pt x="248" y="56"/>
                    </a:cubicBezTo>
                    <a:cubicBezTo>
                      <a:pt x="248" y="56"/>
                      <a:pt x="248" y="56"/>
                      <a:pt x="248" y="56"/>
                    </a:cubicBezTo>
                    <a:cubicBezTo>
                      <a:pt x="249" y="56"/>
                      <a:pt x="248" y="56"/>
                      <a:pt x="248" y="56"/>
                    </a:cubicBezTo>
                    <a:cubicBezTo>
                      <a:pt x="248" y="55"/>
                      <a:pt x="248" y="55"/>
                      <a:pt x="248" y="55"/>
                    </a:cubicBezTo>
                    <a:cubicBezTo>
                      <a:pt x="248" y="55"/>
                      <a:pt x="248" y="55"/>
                      <a:pt x="247" y="55"/>
                    </a:cubicBezTo>
                    <a:cubicBezTo>
                      <a:pt x="247" y="55"/>
                      <a:pt x="247" y="55"/>
                      <a:pt x="247" y="55"/>
                    </a:cubicBezTo>
                    <a:cubicBezTo>
                      <a:pt x="247" y="55"/>
                      <a:pt x="247" y="55"/>
                      <a:pt x="247" y="55"/>
                    </a:cubicBezTo>
                    <a:cubicBezTo>
                      <a:pt x="247" y="55"/>
                      <a:pt x="246" y="54"/>
                      <a:pt x="246" y="54"/>
                    </a:cubicBezTo>
                    <a:cubicBezTo>
                      <a:pt x="246" y="54"/>
                      <a:pt x="246" y="54"/>
                      <a:pt x="246" y="54"/>
                    </a:cubicBezTo>
                    <a:cubicBezTo>
                      <a:pt x="245" y="54"/>
                      <a:pt x="244" y="53"/>
                      <a:pt x="245" y="53"/>
                    </a:cubicBezTo>
                    <a:cubicBezTo>
                      <a:pt x="245" y="53"/>
                      <a:pt x="245" y="53"/>
                      <a:pt x="245" y="53"/>
                    </a:cubicBezTo>
                    <a:cubicBezTo>
                      <a:pt x="245" y="53"/>
                      <a:pt x="243" y="52"/>
                      <a:pt x="241" y="52"/>
                    </a:cubicBezTo>
                    <a:cubicBezTo>
                      <a:pt x="241" y="52"/>
                      <a:pt x="241" y="52"/>
                      <a:pt x="241" y="52"/>
                    </a:cubicBezTo>
                    <a:cubicBezTo>
                      <a:pt x="241" y="52"/>
                      <a:pt x="241" y="52"/>
                      <a:pt x="241" y="52"/>
                    </a:cubicBezTo>
                    <a:cubicBezTo>
                      <a:pt x="240" y="51"/>
                      <a:pt x="240" y="51"/>
                      <a:pt x="240" y="51"/>
                    </a:cubicBezTo>
                    <a:cubicBezTo>
                      <a:pt x="240" y="51"/>
                      <a:pt x="240" y="51"/>
                      <a:pt x="240" y="51"/>
                    </a:cubicBezTo>
                    <a:cubicBezTo>
                      <a:pt x="240" y="51"/>
                      <a:pt x="239" y="51"/>
                      <a:pt x="239" y="51"/>
                    </a:cubicBezTo>
                    <a:cubicBezTo>
                      <a:pt x="239" y="50"/>
                      <a:pt x="238" y="51"/>
                      <a:pt x="238" y="51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1"/>
                      <a:pt x="237" y="51"/>
                      <a:pt x="237" y="51"/>
                    </a:cubicBezTo>
                    <a:cubicBezTo>
                      <a:pt x="237" y="50"/>
                      <a:pt x="238" y="50"/>
                      <a:pt x="238" y="50"/>
                    </a:cubicBezTo>
                    <a:cubicBezTo>
                      <a:pt x="238" y="50"/>
                      <a:pt x="238" y="50"/>
                      <a:pt x="238" y="50"/>
                    </a:cubicBezTo>
                    <a:cubicBezTo>
                      <a:pt x="237" y="50"/>
                      <a:pt x="237" y="50"/>
                      <a:pt x="237" y="50"/>
                    </a:cubicBezTo>
                    <a:cubicBezTo>
                      <a:pt x="236" y="49"/>
                      <a:pt x="236" y="49"/>
                      <a:pt x="235" y="49"/>
                    </a:cubicBezTo>
                    <a:cubicBezTo>
                      <a:pt x="234" y="48"/>
                      <a:pt x="231" y="48"/>
                      <a:pt x="230" y="48"/>
                    </a:cubicBezTo>
                    <a:cubicBezTo>
                      <a:pt x="230" y="48"/>
                      <a:pt x="230" y="48"/>
                      <a:pt x="230" y="48"/>
                    </a:cubicBezTo>
                    <a:cubicBezTo>
                      <a:pt x="229" y="48"/>
                      <a:pt x="228" y="47"/>
                      <a:pt x="227" y="47"/>
                    </a:cubicBezTo>
                    <a:cubicBezTo>
                      <a:pt x="227" y="47"/>
                      <a:pt x="226" y="47"/>
                      <a:pt x="225" y="47"/>
                    </a:cubicBezTo>
                    <a:cubicBezTo>
                      <a:pt x="225" y="47"/>
                      <a:pt x="225" y="47"/>
                      <a:pt x="225" y="47"/>
                    </a:cubicBezTo>
                    <a:cubicBezTo>
                      <a:pt x="225" y="47"/>
                      <a:pt x="225" y="47"/>
                      <a:pt x="225" y="47"/>
                    </a:cubicBezTo>
                    <a:cubicBezTo>
                      <a:pt x="225" y="47"/>
                      <a:pt x="225" y="48"/>
                      <a:pt x="225" y="48"/>
                    </a:cubicBezTo>
                    <a:cubicBezTo>
                      <a:pt x="225" y="48"/>
                      <a:pt x="224" y="48"/>
                      <a:pt x="224" y="48"/>
                    </a:cubicBezTo>
                    <a:cubicBezTo>
                      <a:pt x="224" y="48"/>
                      <a:pt x="224" y="48"/>
                      <a:pt x="224" y="48"/>
                    </a:cubicBezTo>
                    <a:cubicBezTo>
                      <a:pt x="223" y="48"/>
                      <a:pt x="223" y="48"/>
                      <a:pt x="223" y="48"/>
                    </a:cubicBezTo>
                    <a:cubicBezTo>
                      <a:pt x="223" y="48"/>
                      <a:pt x="223" y="49"/>
                      <a:pt x="223" y="49"/>
                    </a:cubicBezTo>
                    <a:cubicBezTo>
                      <a:pt x="223" y="49"/>
                      <a:pt x="223" y="49"/>
                      <a:pt x="223" y="49"/>
                    </a:cubicBezTo>
                    <a:cubicBezTo>
                      <a:pt x="223" y="49"/>
                      <a:pt x="223" y="50"/>
                      <a:pt x="224" y="50"/>
                    </a:cubicBezTo>
                    <a:cubicBezTo>
                      <a:pt x="224" y="50"/>
                      <a:pt x="224" y="51"/>
                      <a:pt x="224" y="51"/>
                    </a:cubicBezTo>
                    <a:cubicBezTo>
                      <a:pt x="224" y="51"/>
                      <a:pt x="224" y="51"/>
                      <a:pt x="224" y="51"/>
                    </a:cubicBezTo>
                    <a:cubicBezTo>
                      <a:pt x="225" y="51"/>
                      <a:pt x="225" y="51"/>
                      <a:pt x="225" y="51"/>
                    </a:cubicBezTo>
                    <a:cubicBezTo>
                      <a:pt x="225" y="51"/>
                      <a:pt x="225" y="51"/>
                      <a:pt x="225" y="51"/>
                    </a:cubicBezTo>
                    <a:cubicBezTo>
                      <a:pt x="225" y="52"/>
                      <a:pt x="225" y="52"/>
                      <a:pt x="225" y="52"/>
                    </a:cubicBezTo>
                    <a:cubicBezTo>
                      <a:pt x="225" y="52"/>
                      <a:pt x="225" y="53"/>
                      <a:pt x="225" y="53"/>
                    </a:cubicBezTo>
                    <a:cubicBezTo>
                      <a:pt x="225" y="53"/>
                      <a:pt x="225" y="53"/>
                      <a:pt x="225" y="53"/>
                    </a:cubicBezTo>
                    <a:cubicBezTo>
                      <a:pt x="224" y="53"/>
                      <a:pt x="224" y="53"/>
                      <a:pt x="223" y="54"/>
                    </a:cubicBezTo>
                    <a:cubicBezTo>
                      <a:pt x="223" y="53"/>
                      <a:pt x="223" y="53"/>
                      <a:pt x="223" y="53"/>
                    </a:cubicBezTo>
                    <a:cubicBezTo>
                      <a:pt x="222" y="53"/>
                      <a:pt x="222" y="53"/>
                      <a:pt x="221" y="54"/>
                    </a:cubicBezTo>
                    <a:cubicBezTo>
                      <a:pt x="221" y="54"/>
                      <a:pt x="221" y="54"/>
                      <a:pt x="221" y="54"/>
                    </a:cubicBezTo>
                    <a:cubicBezTo>
                      <a:pt x="221" y="54"/>
                      <a:pt x="222" y="55"/>
                      <a:pt x="222" y="55"/>
                    </a:cubicBezTo>
                    <a:cubicBezTo>
                      <a:pt x="222" y="55"/>
                      <a:pt x="222" y="56"/>
                      <a:pt x="222" y="56"/>
                    </a:cubicBezTo>
                    <a:cubicBezTo>
                      <a:pt x="221" y="56"/>
                      <a:pt x="221" y="56"/>
                      <a:pt x="221" y="56"/>
                    </a:cubicBezTo>
                    <a:cubicBezTo>
                      <a:pt x="221" y="55"/>
                      <a:pt x="221" y="55"/>
                      <a:pt x="221" y="55"/>
                    </a:cubicBezTo>
                    <a:cubicBezTo>
                      <a:pt x="220" y="55"/>
                      <a:pt x="220" y="55"/>
                      <a:pt x="219" y="55"/>
                    </a:cubicBezTo>
                    <a:cubicBezTo>
                      <a:pt x="219" y="55"/>
                      <a:pt x="219" y="54"/>
                      <a:pt x="219" y="54"/>
                    </a:cubicBezTo>
                    <a:cubicBezTo>
                      <a:pt x="219" y="54"/>
                      <a:pt x="219" y="54"/>
                      <a:pt x="219" y="54"/>
                    </a:cubicBezTo>
                    <a:cubicBezTo>
                      <a:pt x="219" y="54"/>
                      <a:pt x="220" y="54"/>
                      <a:pt x="220" y="54"/>
                    </a:cubicBezTo>
                    <a:cubicBezTo>
                      <a:pt x="220" y="54"/>
                      <a:pt x="220" y="53"/>
                      <a:pt x="220" y="53"/>
                    </a:cubicBezTo>
                    <a:cubicBezTo>
                      <a:pt x="220" y="53"/>
                      <a:pt x="219" y="53"/>
                      <a:pt x="219" y="53"/>
                    </a:cubicBezTo>
                    <a:cubicBezTo>
                      <a:pt x="219" y="52"/>
                      <a:pt x="219" y="52"/>
                      <a:pt x="220" y="52"/>
                    </a:cubicBezTo>
                    <a:cubicBezTo>
                      <a:pt x="220" y="52"/>
                      <a:pt x="219" y="52"/>
                      <a:pt x="219" y="52"/>
                    </a:cubicBezTo>
                    <a:cubicBezTo>
                      <a:pt x="218" y="52"/>
                      <a:pt x="218" y="52"/>
                      <a:pt x="218" y="52"/>
                    </a:cubicBezTo>
                    <a:cubicBezTo>
                      <a:pt x="218" y="52"/>
                      <a:pt x="217" y="53"/>
                      <a:pt x="217" y="53"/>
                    </a:cubicBezTo>
                    <a:cubicBezTo>
                      <a:pt x="216" y="52"/>
                      <a:pt x="216" y="53"/>
                      <a:pt x="216" y="53"/>
                    </a:cubicBezTo>
                    <a:cubicBezTo>
                      <a:pt x="215" y="54"/>
                      <a:pt x="215" y="53"/>
                      <a:pt x="215" y="53"/>
                    </a:cubicBezTo>
                    <a:cubicBezTo>
                      <a:pt x="215" y="53"/>
                      <a:pt x="215" y="54"/>
                      <a:pt x="214" y="54"/>
                    </a:cubicBezTo>
                    <a:cubicBezTo>
                      <a:pt x="214" y="54"/>
                      <a:pt x="214" y="54"/>
                      <a:pt x="214" y="54"/>
                    </a:cubicBezTo>
                    <a:cubicBezTo>
                      <a:pt x="214" y="54"/>
                      <a:pt x="213" y="54"/>
                      <a:pt x="213" y="54"/>
                    </a:cubicBezTo>
                    <a:cubicBezTo>
                      <a:pt x="212" y="54"/>
                      <a:pt x="212" y="54"/>
                      <a:pt x="212" y="54"/>
                    </a:cubicBezTo>
                    <a:cubicBezTo>
                      <a:pt x="212" y="54"/>
                      <a:pt x="212" y="54"/>
                      <a:pt x="212" y="54"/>
                    </a:cubicBezTo>
                    <a:cubicBezTo>
                      <a:pt x="211" y="54"/>
                      <a:pt x="210" y="54"/>
                      <a:pt x="210" y="54"/>
                    </a:cubicBezTo>
                    <a:cubicBezTo>
                      <a:pt x="209" y="54"/>
                      <a:pt x="209" y="55"/>
                      <a:pt x="208" y="54"/>
                    </a:cubicBezTo>
                    <a:cubicBezTo>
                      <a:pt x="208" y="54"/>
                      <a:pt x="207" y="55"/>
                      <a:pt x="206" y="55"/>
                    </a:cubicBezTo>
                    <a:cubicBezTo>
                      <a:pt x="206" y="55"/>
                      <a:pt x="206" y="55"/>
                      <a:pt x="206" y="56"/>
                    </a:cubicBezTo>
                    <a:cubicBezTo>
                      <a:pt x="206" y="57"/>
                      <a:pt x="206" y="57"/>
                      <a:pt x="205" y="57"/>
                    </a:cubicBezTo>
                    <a:cubicBezTo>
                      <a:pt x="205" y="57"/>
                      <a:pt x="205" y="57"/>
                      <a:pt x="205" y="57"/>
                    </a:cubicBezTo>
                    <a:cubicBezTo>
                      <a:pt x="205" y="57"/>
                      <a:pt x="205" y="56"/>
                      <a:pt x="205" y="56"/>
                    </a:cubicBezTo>
                    <a:cubicBezTo>
                      <a:pt x="205" y="56"/>
                      <a:pt x="205" y="56"/>
                      <a:pt x="205" y="56"/>
                    </a:cubicBezTo>
                    <a:cubicBezTo>
                      <a:pt x="204" y="56"/>
                      <a:pt x="204" y="56"/>
                      <a:pt x="204" y="56"/>
                    </a:cubicBezTo>
                    <a:cubicBezTo>
                      <a:pt x="204" y="56"/>
                      <a:pt x="203" y="56"/>
                      <a:pt x="203" y="56"/>
                    </a:cubicBezTo>
                    <a:cubicBezTo>
                      <a:pt x="203" y="56"/>
                      <a:pt x="203" y="56"/>
                      <a:pt x="203" y="56"/>
                    </a:cubicBezTo>
                    <a:cubicBezTo>
                      <a:pt x="203" y="56"/>
                      <a:pt x="202" y="56"/>
                      <a:pt x="202" y="56"/>
                    </a:cubicBezTo>
                    <a:cubicBezTo>
                      <a:pt x="201" y="56"/>
                      <a:pt x="201" y="56"/>
                      <a:pt x="201" y="56"/>
                    </a:cubicBezTo>
                    <a:cubicBezTo>
                      <a:pt x="201" y="56"/>
                      <a:pt x="201" y="56"/>
                      <a:pt x="200" y="56"/>
                    </a:cubicBezTo>
                    <a:cubicBezTo>
                      <a:pt x="200" y="56"/>
                      <a:pt x="200" y="56"/>
                      <a:pt x="201" y="56"/>
                    </a:cubicBezTo>
                    <a:cubicBezTo>
                      <a:pt x="201" y="56"/>
                      <a:pt x="201" y="56"/>
                      <a:pt x="201" y="56"/>
                    </a:cubicBezTo>
                    <a:cubicBezTo>
                      <a:pt x="201" y="56"/>
                      <a:pt x="201" y="55"/>
                      <a:pt x="201" y="55"/>
                    </a:cubicBezTo>
                    <a:cubicBezTo>
                      <a:pt x="201" y="55"/>
                      <a:pt x="202" y="55"/>
                      <a:pt x="202" y="55"/>
                    </a:cubicBezTo>
                    <a:cubicBezTo>
                      <a:pt x="202" y="55"/>
                      <a:pt x="202" y="56"/>
                      <a:pt x="203" y="55"/>
                    </a:cubicBezTo>
                    <a:cubicBezTo>
                      <a:pt x="203" y="55"/>
                      <a:pt x="203" y="55"/>
                      <a:pt x="203" y="55"/>
                    </a:cubicBezTo>
                    <a:cubicBezTo>
                      <a:pt x="203" y="55"/>
                      <a:pt x="203" y="55"/>
                      <a:pt x="203" y="54"/>
                    </a:cubicBezTo>
                    <a:cubicBezTo>
                      <a:pt x="202" y="54"/>
                      <a:pt x="202" y="54"/>
                      <a:pt x="202" y="54"/>
                    </a:cubicBezTo>
                    <a:cubicBezTo>
                      <a:pt x="202" y="54"/>
                      <a:pt x="203" y="53"/>
                      <a:pt x="203" y="53"/>
                    </a:cubicBezTo>
                    <a:cubicBezTo>
                      <a:pt x="203" y="53"/>
                      <a:pt x="203" y="53"/>
                      <a:pt x="203" y="53"/>
                    </a:cubicBezTo>
                    <a:cubicBezTo>
                      <a:pt x="203" y="53"/>
                      <a:pt x="203" y="53"/>
                      <a:pt x="203" y="53"/>
                    </a:cubicBezTo>
                    <a:cubicBezTo>
                      <a:pt x="203" y="53"/>
                      <a:pt x="204" y="52"/>
                      <a:pt x="205" y="52"/>
                    </a:cubicBezTo>
                    <a:cubicBezTo>
                      <a:pt x="205" y="52"/>
                      <a:pt x="205" y="52"/>
                      <a:pt x="205" y="52"/>
                    </a:cubicBezTo>
                    <a:cubicBezTo>
                      <a:pt x="205" y="52"/>
                      <a:pt x="205" y="52"/>
                      <a:pt x="205" y="52"/>
                    </a:cubicBezTo>
                    <a:cubicBezTo>
                      <a:pt x="205" y="52"/>
                      <a:pt x="205" y="52"/>
                      <a:pt x="205" y="52"/>
                    </a:cubicBezTo>
                    <a:cubicBezTo>
                      <a:pt x="205" y="52"/>
                      <a:pt x="204" y="52"/>
                      <a:pt x="203" y="52"/>
                    </a:cubicBezTo>
                    <a:cubicBezTo>
                      <a:pt x="202" y="52"/>
                      <a:pt x="200" y="53"/>
                      <a:pt x="200" y="53"/>
                    </a:cubicBezTo>
                    <a:cubicBezTo>
                      <a:pt x="199" y="53"/>
                      <a:pt x="198" y="54"/>
                      <a:pt x="198" y="54"/>
                    </a:cubicBezTo>
                    <a:cubicBezTo>
                      <a:pt x="198" y="54"/>
                      <a:pt x="198" y="54"/>
                      <a:pt x="198" y="54"/>
                    </a:cubicBezTo>
                    <a:cubicBezTo>
                      <a:pt x="198" y="54"/>
                      <a:pt x="199" y="55"/>
                      <a:pt x="199" y="55"/>
                    </a:cubicBezTo>
                    <a:cubicBezTo>
                      <a:pt x="199" y="55"/>
                      <a:pt x="199" y="55"/>
                      <a:pt x="199" y="55"/>
                    </a:cubicBezTo>
                    <a:cubicBezTo>
                      <a:pt x="199" y="56"/>
                      <a:pt x="198" y="56"/>
                      <a:pt x="198" y="56"/>
                    </a:cubicBezTo>
                    <a:cubicBezTo>
                      <a:pt x="197" y="56"/>
                      <a:pt x="197" y="55"/>
                      <a:pt x="197" y="55"/>
                    </a:cubicBezTo>
                    <a:cubicBezTo>
                      <a:pt x="198" y="55"/>
                      <a:pt x="198" y="55"/>
                      <a:pt x="197" y="55"/>
                    </a:cubicBezTo>
                    <a:cubicBezTo>
                      <a:pt x="197" y="55"/>
                      <a:pt x="197" y="55"/>
                      <a:pt x="197" y="55"/>
                    </a:cubicBezTo>
                    <a:cubicBezTo>
                      <a:pt x="197" y="55"/>
                      <a:pt x="197" y="55"/>
                      <a:pt x="196" y="55"/>
                    </a:cubicBezTo>
                    <a:cubicBezTo>
                      <a:pt x="196" y="55"/>
                      <a:pt x="195" y="55"/>
                      <a:pt x="195" y="55"/>
                    </a:cubicBezTo>
                    <a:cubicBezTo>
                      <a:pt x="194" y="55"/>
                      <a:pt x="194" y="55"/>
                      <a:pt x="194" y="55"/>
                    </a:cubicBezTo>
                    <a:cubicBezTo>
                      <a:pt x="193" y="55"/>
                      <a:pt x="193" y="55"/>
                      <a:pt x="193" y="55"/>
                    </a:cubicBezTo>
                    <a:cubicBezTo>
                      <a:pt x="193" y="55"/>
                      <a:pt x="193" y="56"/>
                      <a:pt x="193" y="56"/>
                    </a:cubicBezTo>
                    <a:cubicBezTo>
                      <a:pt x="193" y="56"/>
                      <a:pt x="192" y="56"/>
                      <a:pt x="192" y="56"/>
                    </a:cubicBezTo>
                    <a:cubicBezTo>
                      <a:pt x="191" y="56"/>
                      <a:pt x="191" y="57"/>
                      <a:pt x="191" y="57"/>
                    </a:cubicBezTo>
                    <a:cubicBezTo>
                      <a:pt x="191" y="57"/>
                      <a:pt x="191" y="57"/>
                      <a:pt x="190" y="57"/>
                    </a:cubicBezTo>
                    <a:cubicBezTo>
                      <a:pt x="190" y="57"/>
                      <a:pt x="189" y="57"/>
                      <a:pt x="189" y="58"/>
                    </a:cubicBezTo>
                    <a:cubicBezTo>
                      <a:pt x="189" y="58"/>
                      <a:pt x="188" y="58"/>
                      <a:pt x="188" y="58"/>
                    </a:cubicBezTo>
                    <a:cubicBezTo>
                      <a:pt x="188" y="58"/>
                      <a:pt x="188" y="59"/>
                      <a:pt x="188" y="59"/>
                    </a:cubicBezTo>
                    <a:cubicBezTo>
                      <a:pt x="187" y="58"/>
                      <a:pt x="187" y="58"/>
                      <a:pt x="187" y="58"/>
                    </a:cubicBezTo>
                    <a:cubicBezTo>
                      <a:pt x="185" y="57"/>
                      <a:pt x="186" y="58"/>
                      <a:pt x="186" y="59"/>
                    </a:cubicBezTo>
                    <a:cubicBezTo>
                      <a:pt x="187" y="59"/>
                      <a:pt x="187" y="59"/>
                      <a:pt x="187" y="59"/>
                    </a:cubicBezTo>
                    <a:cubicBezTo>
                      <a:pt x="186" y="59"/>
                      <a:pt x="186" y="59"/>
                      <a:pt x="185" y="59"/>
                    </a:cubicBezTo>
                    <a:cubicBezTo>
                      <a:pt x="185" y="59"/>
                      <a:pt x="185" y="59"/>
                      <a:pt x="185" y="59"/>
                    </a:cubicBezTo>
                    <a:cubicBezTo>
                      <a:pt x="185" y="59"/>
                      <a:pt x="185" y="59"/>
                      <a:pt x="185" y="59"/>
                    </a:cubicBezTo>
                    <a:cubicBezTo>
                      <a:pt x="185" y="59"/>
                      <a:pt x="185" y="60"/>
                      <a:pt x="184" y="60"/>
                    </a:cubicBezTo>
                    <a:cubicBezTo>
                      <a:pt x="184" y="60"/>
                      <a:pt x="184" y="60"/>
                      <a:pt x="184" y="60"/>
                    </a:cubicBezTo>
                    <a:cubicBezTo>
                      <a:pt x="184" y="60"/>
                      <a:pt x="184" y="60"/>
                      <a:pt x="184" y="60"/>
                    </a:cubicBezTo>
                    <a:cubicBezTo>
                      <a:pt x="183" y="60"/>
                      <a:pt x="183" y="60"/>
                      <a:pt x="183" y="60"/>
                    </a:cubicBezTo>
                    <a:cubicBezTo>
                      <a:pt x="183" y="60"/>
                      <a:pt x="183" y="60"/>
                      <a:pt x="184" y="61"/>
                    </a:cubicBezTo>
                    <a:cubicBezTo>
                      <a:pt x="184" y="61"/>
                      <a:pt x="184" y="61"/>
                      <a:pt x="183" y="61"/>
                    </a:cubicBezTo>
                    <a:cubicBezTo>
                      <a:pt x="183" y="61"/>
                      <a:pt x="183" y="61"/>
                      <a:pt x="183" y="61"/>
                    </a:cubicBezTo>
                    <a:cubicBezTo>
                      <a:pt x="183" y="61"/>
                      <a:pt x="183" y="61"/>
                      <a:pt x="183" y="61"/>
                    </a:cubicBezTo>
                    <a:cubicBezTo>
                      <a:pt x="183" y="62"/>
                      <a:pt x="183" y="62"/>
                      <a:pt x="183" y="62"/>
                    </a:cubicBezTo>
                    <a:cubicBezTo>
                      <a:pt x="183" y="62"/>
                      <a:pt x="183" y="63"/>
                      <a:pt x="183" y="63"/>
                    </a:cubicBezTo>
                    <a:cubicBezTo>
                      <a:pt x="183" y="63"/>
                      <a:pt x="183" y="64"/>
                      <a:pt x="182" y="64"/>
                    </a:cubicBezTo>
                    <a:cubicBezTo>
                      <a:pt x="182" y="64"/>
                      <a:pt x="182" y="64"/>
                      <a:pt x="182" y="64"/>
                    </a:cubicBezTo>
                    <a:cubicBezTo>
                      <a:pt x="182" y="64"/>
                      <a:pt x="182" y="64"/>
                      <a:pt x="182" y="64"/>
                    </a:cubicBezTo>
                    <a:cubicBezTo>
                      <a:pt x="181" y="64"/>
                      <a:pt x="180" y="64"/>
                      <a:pt x="180" y="64"/>
                    </a:cubicBezTo>
                    <a:cubicBezTo>
                      <a:pt x="180" y="64"/>
                      <a:pt x="179" y="64"/>
                      <a:pt x="179" y="64"/>
                    </a:cubicBezTo>
                    <a:cubicBezTo>
                      <a:pt x="179" y="64"/>
                      <a:pt x="179" y="64"/>
                      <a:pt x="179" y="64"/>
                    </a:cubicBezTo>
                    <a:cubicBezTo>
                      <a:pt x="179" y="64"/>
                      <a:pt x="178" y="64"/>
                      <a:pt x="177" y="64"/>
                    </a:cubicBezTo>
                    <a:cubicBezTo>
                      <a:pt x="177" y="64"/>
                      <a:pt x="177" y="64"/>
                      <a:pt x="177" y="64"/>
                    </a:cubicBezTo>
                    <a:cubicBezTo>
                      <a:pt x="176" y="63"/>
                      <a:pt x="176" y="62"/>
                      <a:pt x="176" y="62"/>
                    </a:cubicBezTo>
                    <a:cubicBezTo>
                      <a:pt x="176" y="62"/>
                      <a:pt x="176" y="62"/>
                      <a:pt x="176" y="62"/>
                    </a:cubicBezTo>
                    <a:cubicBezTo>
                      <a:pt x="176" y="62"/>
                      <a:pt x="176" y="62"/>
                      <a:pt x="176" y="62"/>
                    </a:cubicBezTo>
                    <a:cubicBezTo>
                      <a:pt x="175" y="62"/>
                      <a:pt x="174" y="62"/>
                      <a:pt x="174" y="61"/>
                    </a:cubicBezTo>
                    <a:cubicBezTo>
                      <a:pt x="174" y="61"/>
                      <a:pt x="174" y="61"/>
                      <a:pt x="174" y="61"/>
                    </a:cubicBezTo>
                    <a:cubicBezTo>
                      <a:pt x="174" y="60"/>
                      <a:pt x="174" y="60"/>
                      <a:pt x="174" y="60"/>
                    </a:cubicBezTo>
                    <a:cubicBezTo>
                      <a:pt x="174" y="60"/>
                      <a:pt x="175" y="60"/>
                      <a:pt x="175" y="60"/>
                    </a:cubicBezTo>
                    <a:cubicBezTo>
                      <a:pt x="175" y="60"/>
                      <a:pt x="175" y="60"/>
                      <a:pt x="175" y="60"/>
                    </a:cubicBezTo>
                    <a:cubicBezTo>
                      <a:pt x="175" y="60"/>
                      <a:pt x="175" y="60"/>
                      <a:pt x="175" y="60"/>
                    </a:cubicBezTo>
                    <a:cubicBezTo>
                      <a:pt x="175" y="59"/>
                      <a:pt x="175" y="59"/>
                      <a:pt x="176" y="59"/>
                    </a:cubicBezTo>
                    <a:cubicBezTo>
                      <a:pt x="176" y="59"/>
                      <a:pt x="176" y="59"/>
                      <a:pt x="177" y="59"/>
                    </a:cubicBezTo>
                    <a:cubicBezTo>
                      <a:pt x="178" y="59"/>
                      <a:pt x="178" y="59"/>
                      <a:pt x="178" y="59"/>
                    </a:cubicBezTo>
                    <a:cubicBezTo>
                      <a:pt x="178" y="59"/>
                      <a:pt x="178" y="59"/>
                      <a:pt x="179" y="59"/>
                    </a:cubicBezTo>
                    <a:cubicBezTo>
                      <a:pt x="179" y="59"/>
                      <a:pt x="179" y="59"/>
                      <a:pt x="179" y="59"/>
                    </a:cubicBezTo>
                    <a:cubicBezTo>
                      <a:pt x="180" y="59"/>
                      <a:pt x="179" y="58"/>
                      <a:pt x="179" y="58"/>
                    </a:cubicBezTo>
                    <a:cubicBezTo>
                      <a:pt x="179" y="58"/>
                      <a:pt x="179" y="57"/>
                      <a:pt x="179" y="57"/>
                    </a:cubicBezTo>
                    <a:cubicBezTo>
                      <a:pt x="179" y="57"/>
                      <a:pt x="179" y="57"/>
                      <a:pt x="179" y="57"/>
                    </a:cubicBezTo>
                    <a:cubicBezTo>
                      <a:pt x="179" y="56"/>
                      <a:pt x="178" y="56"/>
                      <a:pt x="178" y="56"/>
                    </a:cubicBezTo>
                    <a:cubicBezTo>
                      <a:pt x="178" y="56"/>
                      <a:pt x="178" y="56"/>
                      <a:pt x="178" y="56"/>
                    </a:cubicBezTo>
                    <a:cubicBezTo>
                      <a:pt x="177" y="56"/>
                      <a:pt x="177" y="55"/>
                      <a:pt x="178" y="55"/>
                    </a:cubicBezTo>
                    <a:cubicBezTo>
                      <a:pt x="177" y="55"/>
                      <a:pt x="177" y="55"/>
                      <a:pt x="177" y="55"/>
                    </a:cubicBezTo>
                    <a:cubicBezTo>
                      <a:pt x="176" y="54"/>
                      <a:pt x="176" y="54"/>
                      <a:pt x="176" y="54"/>
                    </a:cubicBezTo>
                    <a:cubicBezTo>
                      <a:pt x="176" y="54"/>
                      <a:pt x="176" y="55"/>
                      <a:pt x="175" y="55"/>
                    </a:cubicBezTo>
                    <a:cubicBezTo>
                      <a:pt x="175" y="55"/>
                      <a:pt x="174" y="55"/>
                      <a:pt x="173" y="55"/>
                    </a:cubicBezTo>
                    <a:cubicBezTo>
                      <a:pt x="173" y="55"/>
                      <a:pt x="172" y="55"/>
                      <a:pt x="171" y="54"/>
                    </a:cubicBezTo>
                    <a:cubicBezTo>
                      <a:pt x="171" y="54"/>
                      <a:pt x="170" y="54"/>
                      <a:pt x="170" y="54"/>
                    </a:cubicBezTo>
                    <a:cubicBezTo>
                      <a:pt x="170" y="54"/>
                      <a:pt x="169" y="54"/>
                      <a:pt x="169" y="54"/>
                    </a:cubicBezTo>
                    <a:cubicBezTo>
                      <a:pt x="169" y="54"/>
                      <a:pt x="169" y="54"/>
                      <a:pt x="169" y="54"/>
                    </a:cubicBezTo>
                    <a:cubicBezTo>
                      <a:pt x="170" y="55"/>
                      <a:pt x="170" y="55"/>
                      <a:pt x="171" y="55"/>
                    </a:cubicBezTo>
                    <a:cubicBezTo>
                      <a:pt x="171" y="55"/>
                      <a:pt x="171" y="56"/>
                      <a:pt x="171" y="56"/>
                    </a:cubicBezTo>
                    <a:cubicBezTo>
                      <a:pt x="172" y="57"/>
                      <a:pt x="172" y="57"/>
                      <a:pt x="172" y="57"/>
                    </a:cubicBezTo>
                    <a:cubicBezTo>
                      <a:pt x="171" y="58"/>
                      <a:pt x="171" y="58"/>
                      <a:pt x="171" y="58"/>
                    </a:cubicBezTo>
                    <a:cubicBezTo>
                      <a:pt x="171" y="59"/>
                      <a:pt x="171" y="59"/>
                      <a:pt x="171" y="59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70" y="61"/>
                      <a:pt x="170" y="61"/>
                      <a:pt x="170" y="62"/>
                    </a:cubicBezTo>
                    <a:cubicBezTo>
                      <a:pt x="170" y="62"/>
                      <a:pt x="171" y="62"/>
                      <a:pt x="171" y="62"/>
                    </a:cubicBezTo>
                    <a:cubicBezTo>
                      <a:pt x="171" y="62"/>
                      <a:pt x="171" y="62"/>
                      <a:pt x="172" y="62"/>
                    </a:cubicBezTo>
                    <a:cubicBezTo>
                      <a:pt x="172" y="63"/>
                      <a:pt x="172" y="63"/>
                      <a:pt x="172" y="63"/>
                    </a:cubicBezTo>
                    <a:cubicBezTo>
                      <a:pt x="172" y="63"/>
                      <a:pt x="172" y="63"/>
                      <a:pt x="172" y="63"/>
                    </a:cubicBezTo>
                    <a:cubicBezTo>
                      <a:pt x="173" y="64"/>
                      <a:pt x="173" y="64"/>
                      <a:pt x="172" y="64"/>
                    </a:cubicBezTo>
                    <a:cubicBezTo>
                      <a:pt x="172" y="64"/>
                      <a:pt x="172" y="64"/>
                      <a:pt x="173" y="65"/>
                    </a:cubicBezTo>
                    <a:cubicBezTo>
                      <a:pt x="173" y="65"/>
                      <a:pt x="173" y="65"/>
                      <a:pt x="173" y="65"/>
                    </a:cubicBezTo>
                    <a:cubicBezTo>
                      <a:pt x="172" y="65"/>
                      <a:pt x="172" y="66"/>
                      <a:pt x="172" y="66"/>
                    </a:cubicBezTo>
                    <a:cubicBezTo>
                      <a:pt x="172" y="66"/>
                      <a:pt x="172" y="66"/>
                      <a:pt x="172" y="66"/>
                    </a:cubicBezTo>
                    <a:cubicBezTo>
                      <a:pt x="172" y="67"/>
                      <a:pt x="172" y="67"/>
                      <a:pt x="172" y="67"/>
                    </a:cubicBezTo>
                    <a:cubicBezTo>
                      <a:pt x="171" y="67"/>
                      <a:pt x="171" y="68"/>
                      <a:pt x="171" y="68"/>
                    </a:cubicBezTo>
                    <a:cubicBezTo>
                      <a:pt x="172" y="68"/>
                      <a:pt x="172" y="69"/>
                      <a:pt x="172" y="69"/>
                    </a:cubicBezTo>
                    <a:cubicBezTo>
                      <a:pt x="172" y="69"/>
                      <a:pt x="172" y="69"/>
                      <a:pt x="172" y="69"/>
                    </a:cubicBezTo>
                    <a:cubicBezTo>
                      <a:pt x="171" y="69"/>
                      <a:pt x="171" y="69"/>
                      <a:pt x="171" y="69"/>
                    </a:cubicBezTo>
                    <a:cubicBezTo>
                      <a:pt x="171" y="68"/>
                      <a:pt x="171" y="68"/>
                      <a:pt x="171" y="68"/>
                    </a:cubicBezTo>
                    <a:cubicBezTo>
                      <a:pt x="170" y="68"/>
                      <a:pt x="170" y="68"/>
                      <a:pt x="170" y="68"/>
                    </a:cubicBezTo>
                    <a:cubicBezTo>
                      <a:pt x="170" y="68"/>
                      <a:pt x="169" y="68"/>
                      <a:pt x="169" y="69"/>
                    </a:cubicBezTo>
                    <a:cubicBezTo>
                      <a:pt x="169" y="69"/>
                      <a:pt x="169" y="69"/>
                      <a:pt x="169" y="69"/>
                    </a:cubicBezTo>
                    <a:cubicBezTo>
                      <a:pt x="169" y="68"/>
                      <a:pt x="169" y="68"/>
                      <a:pt x="169" y="68"/>
                    </a:cubicBezTo>
                    <a:cubicBezTo>
                      <a:pt x="169" y="68"/>
                      <a:pt x="169" y="68"/>
                      <a:pt x="169" y="68"/>
                    </a:cubicBezTo>
                    <a:cubicBezTo>
                      <a:pt x="169" y="67"/>
                      <a:pt x="170" y="67"/>
                      <a:pt x="170" y="67"/>
                    </a:cubicBezTo>
                    <a:cubicBezTo>
                      <a:pt x="170" y="67"/>
                      <a:pt x="169" y="67"/>
                      <a:pt x="169" y="67"/>
                    </a:cubicBezTo>
                    <a:cubicBezTo>
                      <a:pt x="169" y="67"/>
                      <a:pt x="169" y="67"/>
                      <a:pt x="169" y="67"/>
                    </a:cubicBezTo>
                    <a:cubicBezTo>
                      <a:pt x="169" y="67"/>
                      <a:pt x="168" y="66"/>
                      <a:pt x="168" y="67"/>
                    </a:cubicBezTo>
                    <a:cubicBezTo>
                      <a:pt x="168" y="67"/>
                      <a:pt x="167" y="67"/>
                      <a:pt x="167" y="67"/>
                    </a:cubicBezTo>
                    <a:cubicBezTo>
                      <a:pt x="166" y="67"/>
                      <a:pt x="166" y="67"/>
                      <a:pt x="166" y="67"/>
                    </a:cubicBezTo>
                    <a:cubicBezTo>
                      <a:pt x="166" y="66"/>
                      <a:pt x="166" y="66"/>
                      <a:pt x="166" y="66"/>
                    </a:cubicBezTo>
                    <a:cubicBezTo>
                      <a:pt x="166" y="66"/>
                      <a:pt x="166" y="66"/>
                      <a:pt x="166" y="66"/>
                    </a:cubicBezTo>
                    <a:cubicBezTo>
                      <a:pt x="166" y="66"/>
                      <a:pt x="166" y="66"/>
                      <a:pt x="166" y="66"/>
                    </a:cubicBezTo>
                    <a:cubicBezTo>
                      <a:pt x="166" y="66"/>
                      <a:pt x="165" y="66"/>
                      <a:pt x="164" y="67"/>
                    </a:cubicBezTo>
                    <a:cubicBezTo>
                      <a:pt x="164" y="68"/>
                      <a:pt x="164" y="68"/>
                      <a:pt x="164" y="68"/>
                    </a:cubicBezTo>
                    <a:cubicBezTo>
                      <a:pt x="163" y="68"/>
                      <a:pt x="162" y="68"/>
                      <a:pt x="162" y="69"/>
                    </a:cubicBezTo>
                    <a:cubicBezTo>
                      <a:pt x="162" y="69"/>
                      <a:pt x="160" y="69"/>
                      <a:pt x="160" y="69"/>
                    </a:cubicBezTo>
                    <a:cubicBezTo>
                      <a:pt x="160" y="70"/>
                      <a:pt x="159" y="70"/>
                      <a:pt x="158" y="71"/>
                    </a:cubicBezTo>
                    <a:cubicBezTo>
                      <a:pt x="157" y="72"/>
                      <a:pt x="157" y="72"/>
                      <a:pt x="157" y="72"/>
                    </a:cubicBezTo>
                    <a:cubicBezTo>
                      <a:pt x="157" y="72"/>
                      <a:pt x="158" y="73"/>
                      <a:pt x="158" y="73"/>
                    </a:cubicBezTo>
                    <a:cubicBezTo>
                      <a:pt x="158" y="73"/>
                      <a:pt x="159" y="74"/>
                      <a:pt x="159" y="75"/>
                    </a:cubicBezTo>
                    <a:cubicBezTo>
                      <a:pt x="159" y="75"/>
                      <a:pt x="159" y="75"/>
                      <a:pt x="159" y="75"/>
                    </a:cubicBezTo>
                    <a:cubicBezTo>
                      <a:pt x="160" y="75"/>
                      <a:pt x="159" y="75"/>
                      <a:pt x="160" y="76"/>
                    </a:cubicBezTo>
                    <a:cubicBezTo>
                      <a:pt x="160" y="77"/>
                      <a:pt x="160" y="77"/>
                      <a:pt x="160" y="77"/>
                    </a:cubicBezTo>
                    <a:cubicBezTo>
                      <a:pt x="160" y="77"/>
                      <a:pt x="159" y="77"/>
                      <a:pt x="159" y="76"/>
                    </a:cubicBezTo>
                    <a:cubicBezTo>
                      <a:pt x="158" y="76"/>
                      <a:pt x="158" y="76"/>
                      <a:pt x="158" y="76"/>
                    </a:cubicBezTo>
                    <a:cubicBezTo>
                      <a:pt x="158" y="76"/>
                      <a:pt x="158" y="76"/>
                      <a:pt x="157" y="76"/>
                    </a:cubicBezTo>
                    <a:cubicBezTo>
                      <a:pt x="157" y="76"/>
                      <a:pt x="157" y="76"/>
                      <a:pt x="157" y="76"/>
                    </a:cubicBezTo>
                    <a:cubicBezTo>
                      <a:pt x="157" y="76"/>
                      <a:pt x="156" y="76"/>
                      <a:pt x="156" y="76"/>
                    </a:cubicBezTo>
                    <a:cubicBezTo>
                      <a:pt x="156" y="76"/>
                      <a:pt x="156" y="76"/>
                      <a:pt x="156" y="76"/>
                    </a:cubicBezTo>
                    <a:cubicBezTo>
                      <a:pt x="155" y="76"/>
                      <a:pt x="155" y="75"/>
                      <a:pt x="154" y="75"/>
                    </a:cubicBezTo>
                    <a:cubicBezTo>
                      <a:pt x="154" y="75"/>
                      <a:pt x="154" y="75"/>
                      <a:pt x="154" y="75"/>
                    </a:cubicBezTo>
                    <a:cubicBezTo>
                      <a:pt x="154" y="75"/>
                      <a:pt x="153" y="75"/>
                      <a:pt x="153" y="75"/>
                    </a:cubicBezTo>
                    <a:cubicBezTo>
                      <a:pt x="153" y="75"/>
                      <a:pt x="152" y="75"/>
                      <a:pt x="152" y="75"/>
                    </a:cubicBezTo>
                    <a:cubicBezTo>
                      <a:pt x="152" y="75"/>
                      <a:pt x="151" y="74"/>
                      <a:pt x="151" y="74"/>
                    </a:cubicBezTo>
                    <a:cubicBezTo>
                      <a:pt x="151" y="74"/>
                      <a:pt x="151" y="74"/>
                      <a:pt x="151" y="74"/>
                    </a:cubicBezTo>
                    <a:cubicBezTo>
                      <a:pt x="151" y="74"/>
                      <a:pt x="150" y="74"/>
                      <a:pt x="150" y="74"/>
                    </a:cubicBezTo>
                    <a:cubicBezTo>
                      <a:pt x="150" y="73"/>
                      <a:pt x="150" y="73"/>
                      <a:pt x="150" y="73"/>
                    </a:cubicBezTo>
                    <a:cubicBezTo>
                      <a:pt x="149" y="73"/>
                      <a:pt x="149" y="73"/>
                      <a:pt x="149" y="73"/>
                    </a:cubicBezTo>
                    <a:cubicBezTo>
                      <a:pt x="148" y="73"/>
                      <a:pt x="148" y="73"/>
                      <a:pt x="148" y="74"/>
                    </a:cubicBezTo>
                    <a:cubicBezTo>
                      <a:pt x="148" y="74"/>
                      <a:pt x="148" y="74"/>
                      <a:pt x="148" y="74"/>
                    </a:cubicBezTo>
                    <a:cubicBezTo>
                      <a:pt x="148" y="74"/>
                      <a:pt x="148" y="74"/>
                      <a:pt x="147" y="74"/>
                    </a:cubicBezTo>
                    <a:cubicBezTo>
                      <a:pt x="147" y="74"/>
                      <a:pt x="147" y="74"/>
                      <a:pt x="147" y="75"/>
                    </a:cubicBezTo>
                    <a:cubicBezTo>
                      <a:pt x="147" y="75"/>
                      <a:pt x="147" y="75"/>
                      <a:pt x="147" y="75"/>
                    </a:cubicBezTo>
                    <a:cubicBezTo>
                      <a:pt x="147" y="75"/>
                      <a:pt x="147" y="75"/>
                      <a:pt x="147" y="75"/>
                    </a:cubicBezTo>
                    <a:cubicBezTo>
                      <a:pt x="147" y="76"/>
                      <a:pt x="147" y="76"/>
                      <a:pt x="147" y="76"/>
                    </a:cubicBezTo>
                    <a:cubicBezTo>
                      <a:pt x="147" y="76"/>
                      <a:pt x="147" y="76"/>
                      <a:pt x="147" y="76"/>
                    </a:cubicBezTo>
                    <a:cubicBezTo>
                      <a:pt x="148" y="76"/>
                      <a:pt x="148" y="76"/>
                      <a:pt x="148" y="76"/>
                    </a:cubicBezTo>
                    <a:cubicBezTo>
                      <a:pt x="149" y="77"/>
                      <a:pt x="149" y="77"/>
                      <a:pt x="149" y="77"/>
                    </a:cubicBezTo>
                    <a:cubicBezTo>
                      <a:pt x="149" y="77"/>
                      <a:pt x="150" y="77"/>
                      <a:pt x="150" y="77"/>
                    </a:cubicBezTo>
                    <a:cubicBezTo>
                      <a:pt x="150" y="77"/>
                      <a:pt x="151" y="77"/>
                      <a:pt x="151" y="77"/>
                    </a:cubicBezTo>
                    <a:cubicBezTo>
                      <a:pt x="151" y="77"/>
                      <a:pt x="151" y="77"/>
                      <a:pt x="151" y="78"/>
                    </a:cubicBezTo>
                    <a:cubicBezTo>
                      <a:pt x="152" y="78"/>
                      <a:pt x="152" y="78"/>
                      <a:pt x="152" y="78"/>
                    </a:cubicBezTo>
                    <a:cubicBezTo>
                      <a:pt x="152" y="78"/>
                      <a:pt x="152" y="78"/>
                      <a:pt x="152" y="78"/>
                    </a:cubicBezTo>
                    <a:cubicBezTo>
                      <a:pt x="152" y="79"/>
                      <a:pt x="152" y="79"/>
                      <a:pt x="152" y="79"/>
                    </a:cubicBezTo>
                    <a:cubicBezTo>
                      <a:pt x="152" y="80"/>
                      <a:pt x="152" y="80"/>
                      <a:pt x="152" y="80"/>
                    </a:cubicBezTo>
                    <a:cubicBezTo>
                      <a:pt x="152" y="80"/>
                      <a:pt x="152" y="80"/>
                      <a:pt x="151" y="80"/>
                    </a:cubicBezTo>
                    <a:cubicBezTo>
                      <a:pt x="151" y="80"/>
                      <a:pt x="151" y="80"/>
                      <a:pt x="151" y="80"/>
                    </a:cubicBezTo>
                    <a:cubicBezTo>
                      <a:pt x="151" y="81"/>
                      <a:pt x="151" y="81"/>
                      <a:pt x="151" y="81"/>
                    </a:cubicBezTo>
                    <a:cubicBezTo>
                      <a:pt x="151" y="81"/>
                      <a:pt x="150" y="81"/>
                      <a:pt x="149" y="80"/>
                    </a:cubicBezTo>
                    <a:cubicBezTo>
                      <a:pt x="149" y="80"/>
                      <a:pt x="149" y="80"/>
                      <a:pt x="149" y="80"/>
                    </a:cubicBezTo>
                    <a:cubicBezTo>
                      <a:pt x="149" y="80"/>
                      <a:pt x="149" y="80"/>
                      <a:pt x="149" y="80"/>
                    </a:cubicBezTo>
                    <a:cubicBezTo>
                      <a:pt x="148" y="80"/>
                      <a:pt x="147" y="80"/>
                      <a:pt x="147" y="80"/>
                    </a:cubicBezTo>
                    <a:cubicBezTo>
                      <a:pt x="147" y="80"/>
                      <a:pt x="146" y="79"/>
                      <a:pt x="146" y="79"/>
                    </a:cubicBezTo>
                    <a:cubicBezTo>
                      <a:pt x="146" y="79"/>
                      <a:pt x="146" y="79"/>
                      <a:pt x="146" y="79"/>
                    </a:cubicBezTo>
                    <a:cubicBezTo>
                      <a:pt x="146" y="79"/>
                      <a:pt x="146" y="79"/>
                      <a:pt x="146" y="79"/>
                    </a:cubicBezTo>
                    <a:cubicBezTo>
                      <a:pt x="146" y="78"/>
                      <a:pt x="146" y="78"/>
                      <a:pt x="146" y="78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4" y="78"/>
                      <a:pt x="144" y="77"/>
                      <a:pt x="144" y="77"/>
                    </a:cubicBezTo>
                    <a:cubicBezTo>
                      <a:pt x="144" y="78"/>
                      <a:pt x="144" y="78"/>
                      <a:pt x="143" y="78"/>
                    </a:cubicBezTo>
                    <a:cubicBezTo>
                      <a:pt x="143" y="78"/>
                      <a:pt x="143" y="77"/>
                      <a:pt x="143" y="77"/>
                    </a:cubicBezTo>
                    <a:cubicBezTo>
                      <a:pt x="142" y="77"/>
                      <a:pt x="142" y="77"/>
                      <a:pt x="142" y="77"/>
                    </a:cubicBezTo>
                    <a:cubicBezTo>
                      <a:pt x="142" y="77"/>
                      <a:pt x="142" y="77"/>
                      <a:pt x="142" y="77"/>
                    </a:cubicBezTo>
                    <a:cubicBezTo>
                      <a:pt x="142" y="76"/>
                      <a:pt x="142" y="76"/>
                      <a:pt x="142" y="76"/>
                    </a:cubicBezTo>
                    <a:cubicBezTo>
                      <a:pt x="142" y="76"/>
                      <a:pt x="142" y="75"/>
                      <a:pt x="142" y="75"/>
                    </a:cubicBezTo>
                    <a:cubicBezTo>
                      <a:pt x="142" y="75"/>
                      <a:pt x="142" y="75"/>
                      <a:pt x="142" y="75"/>
                    </a:cubicBezTo>
                    <a:cubicBezTo>
                      <a:pt x="142" y="75"/>
                      <a:pt x="141" y="74"/>
                      <a:pt x="141" y="74"/>
                    </a:cubicBezTo>
                    <a:cubicBezTo>
                      <a:pt x="141" y="74"/>
                      <a:pt x="141" y="74"/>
                      <a:pt x="141" y="74"/>
                    </a:cubicBezTo>
                    <a:cubicBezTo>
                      <a:pt x="141" y="74"/>
                      <a:pt x="141" y="73"/>
                      <a:pt x="141" y="73"/>
                    </a:cubicBezTo>
                    <a:cubicBezTo>
                      <a:pt x="141" y="73"/>
                      <a:pt x="141" y="73"/>
                      <a:pt x="140" y="72"/>
                    </a:cubicBezTo>
                    <a:cubicBezTo>
                      <a:pt x="140" y="72"/>
                      <a:pt x="140" y="72"/>
                      <a:pt x="141" y="72"/>
                    </a:cubicBezTo>
                    <a:cubicBezTo>
                      <a:pt x="141" y="72"/>
                      <a:pt x="141" y="72"/>
                      <a:pt x="141" y="72"/>
                    </a:cubicBezTo>
                    <a:cubicBezTo>
                      <a:pt x="141" y="72"/>
                      <a:pt x="141" y="72"/>
                      <a:pt x="141" y="72"/>
                    </a:cubicBezTo>
                    <a:cubicBezTo>
                      <a:pt x="141" y="71"/>
                      <a:pt x="141" y="71"/>
                      <a:pt x="141" y="71"/>
                    </a:cubicBezTo>
                    <a:cubicBezTo>
                      <a:pt x="141" y="70"/>
                      <a:pt x="141" y="70"/>
                      <a:pt x="142" y="70"/>
                    </a:cubicBezTo>
                    <a:cubicBezTo>
                      <a:pt x="142" y="70"/>
                      <a:pt x="142" y="70"/>
                      <a:pt x="142" y="70"/>
                    </a:cubicBezTo>
                    <a:cubicBezTo>
                      <a:pt x="142" y="70"/>
                      <a:pt x="142" y="69"/>
                      <a:pt x="141" y="69"/>
                    </a:cubicBezTo>
                    <a:cubicBezTo>
                      <a:pt x="141" y="69"/>
                      <a:pt x="141" y="69"/>
                      <a:pt x="141" y="69"/>
                    </a:cubicBezTo>
                    <a:cubicBezTo>
                      <a:pt x="141" y="69"/>
                      <a:pt x="141" y="69"/>
                      <a:pt x="141" y="68"/>
                    </a:cubicBezTo>
                    <a:cubicBezTo>
                      <a:pt x="141" y="68"/>
                      <a:pt x="140" y="68"/>
                      <a:pt x="140" y="68"/>
                    </a:cubicBezTo>
                    <a:cubicBezTo>
                      <a:pt x="140" y="68"/>
                      <a:pt x="140" y="68"/>
                      <a:pt x="140" y="68"/>
                    </a:cubicBezTo>
                    <a:cubicBezTo>
                      <a:pt x="139" y="67"/>
                      <a:pt x="139" y="67"/>
                      <a:pt x="139" y="67"/>
                    </a:cubicBezTo>
                    <a:cubicBezTo>
                      <a:pt x="139" y="67"/>
                      <a:pt x="139" y="67"/>
                      <a:pt x="138" y="67"/>
                    </a:cubicBezTo>
                    <a:cubicBezTo>
                      <a:pt x="138" y="67"/>
                      <a:pt x="138" y="67"/>
                      <a:pt x="138" y="67"/>
                    </a:cubicBezTo>
                    <a:cubicBezTo>
                      <a:pt x="138" y="67"/>
                      <a:pt x="138" y="66"/>
                      <a:pt x="137" y="66"/>
                    </a:cubicBezTo>
                    <a:cubicBezTo>
                      <a:pt x="137" y="66"/>
                      <a:pt x="137" y="66"/>
                      <a:pt x="137" y="66"/>
                    </a:cubicBezTo>
                    <a:cubicBezTo>
                      <a:pt x="137" y="66"/>
                      <a:pt x="137" y="66"/>
                      <a:pt x="137" y="66"/>
                    </a:cubicBezTo>
                    <a:cubicBezTo>
                      <a:pt x="137" y="65"/>
                      <a:pt x="137" y="65"/>
                      <a:pt x="137" y="65"/>
                    </a:cubicBezTo>
                    <a:cubicBezTo>
                      <a:pt x="137" y="65"/>
                      <a:pt x="137" y="65"/>
                      <a:pt x="136" y="65"/>
                    </a:cubicBezTo>
                    <a:cubicBezTo>
                      <a:pt x="136" y="65"/>
                      <a:pt x="136" y="65"/>
                      <a:pt x="135" y="65"/>
                    </a:cubicBezTo>
                    <a:cubicBezTo>
                      <a:pt x="135" y="64"/>
                      <a:pt x="134" y="64"/>
                      <a:pt x="134" y="64"/>
                    </a:cubicBezTo>
                    <a:cubicBezTo>
                      <a:pt x="134" y="64"/>
                      <a:pt x="134" y="64"/>
                      <a:pt x="134" y="63"/>
                    </a:cubicBezTo>
                    <a:cubicBezTo>
                      <a:pt x="134" y="63"/>
                      <a:pt x="134" y="63"/>
                      <a:pt x="133" y="63"/>
                    </a:cubicBezTo>
                    <a:cubicBezTo>
                      <a:pt x="133" y="63"/>
                      <a:pt x="132" y="63"/>
                      <a:pt x="132" y="63"/>
                    </a:cubicBezTo>
                    <a:cubicBezTo>
                      <a:pt x="132" y="62"/>
                      <a:pt x="133" y="62"/>
                      <a:pt x="133" y="62"/>
                    </a:cubicBezTo>
                    <a:cubicBezTo>
                      <a:pt x="133" y="62"/>
                      <a:pt x="134" y="62"/>
                      <a:pt x="135" y="62"/>
                    </a:cubicBezTo>
                    <a:cubicBezTo>
                      <a:pt x="135" y="62"/>
                      <a:pt x="135" y="63"/>
                      <a:pt x="135" y="63"/>
                    </a:cubicBezTo>
                    <a:cubicBezTo>
                      <a:pt x="135" y="63"/>
                      <a:pt x="135" y="63"/>
                      <a:pt x="135" y="63"/>
                    </a:cubicBezTo>
                    <a:cubicBezTo>
                      <a:pt x="135" y="63"/>
                      <a:pt x="136" y="64"/>
                      <a:pt x="136" y="64"/>
                    </a:cubicBezTo>
                    <a:cubicBezTo>
                      <a:pt x="137" y="64"/>
                      <a:pt x="138" y="64"/>
                      <a:pt x="138" y="64"/>
                    </a:cubicBezTo>
                    <a:cubicBezTo>
                      <a:pt x="138" y="64"/>
                      <a:pt x="138" y="64"/>
                      <a:pt x="138" y="64"/>
                    </a:cubicBezTo>
                    <a:cubicBezTo>
                      <a:pt x="138" y="64"/>
                      <a:pt x="139" y="65"/>
                      <a:pt x="139" y="65"/>
                    </a:cubicBezTo>
                    <a:cubicBezTo>
                      <a:pt x="139" y="65"/>
                      <a:pt x="139" y="65"/>
                      <a:pt x="140" y="65"/>
                    </a:cubicBezTo>
                    <a:cubicBezTo>
                      <a:pt x="140" y="65"/>
                      <a:pt x="140" y="65"/>
                      <a:pt x="140" y="65"/>
                    </a:cubicBezTo>
                    <a:cubicBezTo>
                      <a:pt x="140" y="65"/>
                      <a:pt x="140" y="65"/>
                      <a:pt x="141" y="66"/>
                    </a:cubicBezTo>
                    <a:cubicBezTo>
                      <a:pt x="141" y="66"/>
                      <a:pt x="141" y="66"/>
                      <a:pt x="141" y="66"/>
                    </a:cubicBezTo>
                    <a:cubicBezTo>
                      <a:pt x="141" y="66"/>
                      <a:pt x="142" y="66"/>
                      <a:pt x="142" y="66"/>
                    </a:cubicBezTo>
                    <a:cubicBezTo>
                      <a:pt x="142" y="66"/>
                      <a:pt x="142" y="66"/>
                      <a:pt x="142" y="66"/>
                    </a:cubicBezTo>
                    <a:cubicBezTo>
                      <a:pt x="143" y="66"/>
                      <a:pt x="143" y="66"/>
                      <a:pt x="144" y="66"/>
                    </a:cubicBezTo>
                    <a:cubicBezTo>
                      <a:pt x="144" y="67"/>
                      <a:pt x="144" y="67"/>
                      <a:pt x="144" y="67"/>
                    </a:cubicBezTo>
                    <a:cubicBezTo>
                      <a:pt x="145" y="67"/>
                      <a:pt x="146" y="67"/>
                      <a:pt x="147" y="67"/>
                    </a:cubicBezTo>
                    <a:cubicBezTo>
                      <a:pt x="148" y="67"/>
                      <a:pt x="148" y="67"/>
                      <a:pt x="149" y="67"/>
                    </a:cubicBezTo>
                    <a:cubicBezTo>
                      <a:pt x="149" y="67"/>
                      <a:pt x="150" y="68"/>
                      <a:pt x="151" y="68"/>
                    </a:cubicBezTo>
                    <a:cubicBezTo>
                      <a:pt x="152" y="69"/>
                      <a:pt x="152" y="69"/>
                      <a:pt x="152" y="69"/>
                    </a:cubicBezTo>
                    <a:cubicBezTo>
                      <a:pt x="153" y="69"/>
                      <a:pt x="155" y="68"/>
                      <a:pt x="156" y="68"/>
                    </a:cubicBezTo>
                    <a:cubicBezTo>
                      <a:pt x="157" y="68"/>
                      <a:pt x="158" y="67"/>
                      <a:pt x="158" y="67"/>
                    </a:cubicBezTo>
                    <a:cubicBezTo>
                      <a:pt x="159" y="67"/>
                      <a:pt x="160" y="66"/>
                      <a:pt x="160" y="66"/>
                    </a:cubicBezTo>
                    <a:cubicBezTo>
                      <a:pt x="161" y="65"/>
                      <a:pt x="161" y="65"/>
                      <a:pt x="162" y="64"/>
                    </a:cubicBezTo>
                    <a:cubicBezTo>
                      <a:pt x="162" y="64"/>
                      <a:pt x="162" y="64"/>
                      <a:pt x="162" y="64"/>
                    </a:cubicBezTo>
                    <a:cubicBezTo>
                      <a:pt x="162" y="64"/>
                      <a:pt x="162" y="64"/>
                      <a:pt x="162" y="64"/>
                    </a:cubicBezTo>
                    <a:cubicBezTo>
                      <a:pt x="162" y="64"/>
                      <a:pt x="162" y="63"/>
                      <a:pt x="162" y="63"/>
                    </a:cubicBezTo>
                    <a:cubicBezTo>
                      <a:pt x="162" y="63"/>
                      <a:pt x="163" y="63"/>
                      <a:pt x="163" y="63"/>
                    </a:cubicBezTo>
                    <a:cubicBezTo>
                      <a:pt x="163" y="63"/>
                      <a:pt x="163" y="63"/>
                      <a:pt x="162" y="62"/>
                    </a:cubicBezTo>
                    <a:cubicBezTo>
                      <a:pt x="162" y="62"/>
                      <a:pt x="162" y="62"/>
                      <a:pt x="162" y="62"/>
                    </a:cubicBezTo>
                    <a:cubicBezTo>
                      <a:pt x="162" y="62"/>
                      <a:pt x="162" y="62"/>
                      <a:pt x="162" y="62"/>
                    </a:cubicBezTo>
                    <a:cubicBezTo>
                      <a:pt x="162" y="61"/>
                      <a:pt x="162" y="61"/>
                      <a:pt x="162" y="61"/>
                    </a:cubicBezTo>
                    <a:cubicBezTo>
                      <a:pt x="162" y="61"/>
                      <a:pt x="162" y="61"/>
                      <a:pt x="162" y="61"/>
                    </a:cubicBezTo>
                    <a:cubicBezTo>
                      <a:pt x="162" y="61"/>
                      <a:pt x="161" y="60"/>
                      <a:pt x="162" y="60"/>
                    </a:cubicBezTo>
                    <a:cubicBezTo>
                      <a:pt x="162" y="60"/>
                      <a:pt x="162" y="60"/>
                      <a:pt x="162" y="59"/>
                    </a:cubicBezTo>
                    <a:cubicBezTo>
                      <a:pt x="161" y="59"/>
                      <a:pt x="161" y="59"/>
                      <a:pt x="161" y="59"/>
                    </a:cubicBezTo>
                    <a:cubicBezTo>
                      <a:pt x="161" y="59"/>
                      <a:pt x="160" y="59"/>
                      <a:pt x="160" y="59"/>
                    </a:cubicBezTo>
                    <a:cubicBezTo>
                      <a:pt x="160" y="59"/>
                      <a:pt x="160" y="59"/>
                      <a:pt x="159" y="59"/>
                    </a:cubicBezTo>
                    <a:cubicBezTo>
                      <a:pt x="159" y="59"/>
                      <a:pt x="159" y="59"/>
                      <a:pt x="160" y="59"/>
                    </a:cubicBezTo>
                    <a:cubicBezTo>
                      <a:pt x="160" y="58"/>
                      <a:pt x="160" y="58"/>
                      <a:pt x="160" y="58"/>
                    </a:cubicBezTo>
                    <a:cubicBezTo>
                      <a:pt x="159" y="58"/>
                      <a:pt x="159" y="58"/>
                      <a:pt x="159" y="58"/>
                    </a:cubicBezTo>
                    <a:cubicBezTo>
                      <a:pt x="159" y="58"/>
                      <a:pt x="158" y="58"/>
                      <a:pt x="158" y="57"/>
                    </a:cubicBezTo>
                    <a:cubicBezTo>
                      <a:pt x="158" y="57"/>
                      <a:pt x="158" y="57"/>
                      <a:pt x="158" y="57"/>
                    </a:cubicBezTo>
                    <a:cubicBezTo>
                      <a:pt x="158" y="57"/>
                      <a:pt x="157" y="56"/>
                      <a:pt x="157" y="56"/>
                    </a:cubicBezTo>
                    <a:cubicBezTo>
                      <a:pt x="157" y="57"/>
                      <a:pt x="157" y="57"/>
                      <a:pt x="157" y="57"/>
                    </a:cubicBezTo>
                    <a:cubicBezTo>
                      <a:pt x="157" y="57"/>
                      <a:pt x="157" y="57"/>
                      <a:pt x="157" y="57"/>
                    </a:cubicBezTo>
                    <a:cubicBezTo>
                      <a:pt x="157" y="57"/>
                      <a:pt x="156" y="57"/>
                      <a:pt x="156" y="56"/>
                    </a:cubicBezTo>
                    <a:cubicBezTo>
                      <a:pt x="155" y="56"/>
                      <a:pt x="155" y="56"/>
                      <a:pt x="154" y="56"/>
                    </a:cubicBezTo>
                    <a:cubicBezTo>
                      <a:pt x="154" y="55"/>
                      <a:pt x="154" y="56"/>
                      <a:pt x="154" y="56"/>
                    </a:cubicBezTo>
                    <a:cubicBezTo>
                      <a:pt x="154" y="56"/>
                      <a:pt x="154" y="56"/>
                      <a:pt x="153" y="56"/>
                    </a:cubicBezTo>
                    <a:cubicBezTo>
                      <a:pt x="153" y="56"/>
                      <a:pt x="153" y="56"/>
                      <a:pt x="153" y="56"/>
                    </a:cubicBezTo>
                    <a:cubicBezTo>
                      <a:pt x="153" y="56"/>
                      <a:pt x="153" y="56"/>
                      <a:pt x="153" y="56"/>
                    </a:cubicBezTo>
                    <a:cubicBezTo>
                      <a:pt x="153" y="55"/>
                      <a:pt x="152" y="55"/>
                      <a:pt x="152" y="54"/>
                    </a:cubicBezTo>
                    <a:cubicBezTo>
                      <a:pt x="151" y="54"/>
                      <a:pt x="150" y="53"/>
                      <a:pt x="149" y="53"/>
                    </a:cubicBezTo>
                    <a:cubicBezTo>
                      <a:pt x="148" y="52"/>
                      <a:pt x="146" y="51"/>
                      <a:pt x="145" y="51"/>
                    </a:cubicBezTo>
                    <a:cubicBezTo>
                      <a:pt x="144" y="51"/>
                      <a:pt x="143" y="50"/>
                      <a:pt x="143" y="50"/>
                    </a:cubicBezTo>
                    <a:cubicBezTo>
                      <a:pt x="143" y="50"/>
                      <a:pt x="143" y="50"/>
                      <a:pt x="143" y="50"/>
                    </a:cubicBezTo>
                    <a:cubicBezTo>
                      <a:pt x="143" y="50"/>
                      <a:pt x="143" y="50"/>
                      <a:pt x="143" y="50"/>
                    </a:cubicBezTo>
                    <a:cubicBezTo>
                      <a:pt x="143" y="51"/>
                      <a:pt x="142" y="51"/>
                      <a:pt x="141" y="51"/>
                    </a:cubicBezTo>
                    <a:cubicBezTo>
                      <a:pt x="141" y="51"/>
                      <a:pt x="141" y="51"/>
                      <a:pt x="141" y="51"/>
                    </a:cubicBezTo>
                    <a:cubicBezTo>
                      <a:pt x="141" y="50"/>
                      <a:pt x="141" y="50"/>
                      <a:pt x="140" y="50"/>
                    </a:cubicBezTo>
                    <a:cubicBezTo>
                      <a:pt x="140" y="50"/>
                      <a:pt x="140" y="50"/>
                      <a:pt x="140" y="50"/>
                    </a:cubicBezTo>
                    <a:cubicBezTo>
                      <a:pt x="140" y="50"/>
                      <a:pt x="139" y="50"/>
                      <a:pt x="139" y="50"/>
                    </a:cubicBezTo>
                    <a:cubicBezTo>
                      <a:pt x="138" y="50"/>
                      <a:pt x="138" y="51"/>
                      <a:pt x="138" y="51"/>
                    </a:cubicBezTo>
                    <a:cubicBezTo>
                      <a:pt x="138" y="51"/>
                      <a:pt x="137" y="51"/>
                      <a:pt x="137" y="51"/>
                    </a:cubicBezTo>
                    <a:cubicBezTo>
                      <a:pt x="137" y="51"/>
                      <a:pt x="137" y="51"/>
                      <a:pt x="137" y="51"/>
                    </a:cubicBezTo>
                    <a:cubicBezTo>
                      <a:pt x="137" y="51"/>
                      <a:pt x="137" y="51"/>
                      <a:pt x="137" y="51"/>
                    </a:cubicBezTo>
                    <a:cubicBezTo>
                      <a:pt x="137" y="51"/>
                      <a:pt x="137" y="51"/>
                      <a:pt x="137" y="50"/>
                    </a:cubicBezTo>
                    <a:cubicBezTo>
                      <a:pt x="137" y="50"/>
                      <a:pt x="137" y="50"/>
                      <a:pt x="137" y="50"/>
                    </a:cubicBezTo>
                    <a:cubicBezTo>
                      <a:pt x="137" y="50"/>
                      <a:pt x="137" y="49"/>
                      <a:pt x="137" y="49"/>
                    </a:cubicBezTo>
                    <a:cubicBezTo>
                      <a:pt x="137" y="49"/>
                      <a:pt x="136" y="49"/>
                      <a:pt x="135" y="49"/>
                    </a:cubicBezTo>
                    <a:cubicBezTo>
                      <a:pt x="135" y="49"/>
                      <a:pt x="134" y="49"/>
                      <a:pt x="134" y="49"/>
                    </a:cubicBezTo>
                    <a:cubicBezTo>
                      <a:pt x="134" y="49"/>
                      <a:pt x="134" y="49"/>
                      <a:pt x="133" y="49"/>
                    </a:cubicBezTo>
                    <a:cubicBezTo>
                      <a:pt x="133" y="49"/>
                      <a:pt x="133" y="49"/>
                      <a:pt x="133" y="48"/>
                    </a:cubicBezTo>
                    <a:cubicBezTo>
                      <a:pt x="133" y="48"/>
                      <a:pt x="134" y="48"/>
                      <a:pt x="135" y="49"/>
                    </a:cubicBezTo>
                    <a:cubicBezTo>
                      <a:pt x="136" y="49"/>
                      <a:pt x="136" y="49"/>
                      <a:pt x="136" y="49"/>
                    </a:cubicBezTo>
                    <a:cubicBezTo>
                      <a:pt x="136" y="49"/>
                      <a:pt x="136" y="49"/>
                      <a:pt x="136" y="49"/>
                    </a:cubicBezTo>
                    <a:cubicBezTo>
                      <a:pt x="136" y="48"/>
                      <a:pt x="136" y="48"/>
                      <a:pt x="136" y="48"/>
                    </a:cubicBezTo>
                    <a:cubicBezTo>
                      <a:pt x="136" y="48"/>
                      <a:pt x="136" y="48"/>
                      <a:pt x="136" y="48"/>
                    </a:cubicBezTo>
                    <a:cubicBezTo>
                      <a:pt x="135" y="48"/>
                      <a:pt x="135" y="48"/>
                      <a:pt x="135" y="47"/>
                    </a:cubicBezTo>
                    <a:cubicBezTo>
                      <a:pt x="135" y="47"/>
                      <a:pt x="134" y="47"/>
                      <a:pt x="134" y="47"/>
                    </a:cubicBezTo>
                    <a:cubicBezTo>
                      <a:pt x="134" y="47"/>
                      <a:pt x="133" y="47"/>
                      <a:pt x="133" y="47"/>
                    </a:cubicBezTo>
                    <a:cubicBezTo>
                      <a:pt x="133" y="46"/>
                      <a:pt x="132" y="47"/>
                      <a:pt x="132" y="47"/>
                    </a:cubicBezTo>
                    <a:cubicBezTo>
                      <a:pt x="132" y="47"/>
                      <a:pt x="132" y="47"/>
                      <a:pt x="132" y="47"/>
                    </a:cubicBezTo>
                    <a:cubicBezTo>
                      <a:pt x="132" y="47"/>
                      <a:pt x="132" y="47"/>
                      <a:pt x="132" y="48"/>
                    </a:cubicBezTo>
                    <a:cubicBezTo>
                      <a:pt x="132" y="48"/>
                      <a:pt x="132" y="48"/>
                      <a:pt x="132" y="48"/>
                    </a:cubicBezTo>
                    <a:cubicBezTo>
                      <a:pt x="132" y="48"/>
                      <a:pt x="131" y="48"/>
                      <a:pt x="131" y="48"/>
                    </a:cubicBezTo>
                    <a:cubicBezTo>
                      <a:pt x="130" y="48"/>
                      <a:pt x="130" y="48"/>
                      <a:pt x="130" y="48"/>
                    </a:cubicBezTo>
                    <a:cubicBezTo>
                      <a:pt x="130" y="48"/>
                      <a:pt x="130" y="48"/>
                      <a:pt x="130" y="48"/>
                    </a:cubicBezTo>
                    <a:cubicBezTo>
                      <a:pt x="130" y="48"/>
                      <a:pt x="130" y="48"/>
                      <a:pt x="130" y="48"/>
                    </a:cubicBezTo>
                    <a:cubicBezTo>
                      <a:pt x="129" y="48"/>
                      <a:pt x="129" y="48"/>
                      <a:pt x="128" y="48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8" y="47"/>
                      <a:pt x="127" y="47"/>
                      <a:pt x="127" y="47"/>
                    </a:cubicBezTo>
                    <a:cubicBezTo>
                      <a:pt x="127" y="47"/>
                      <a:pt x="127" y="47"/>
                      <a:pt x="127" y="47"/>
                    </a:cubicBezTo>
                    <a:cubicBezTo>
                      <a:pt x="127" y="47"/>
                      <a:pt x="127" y="47"/>
                      <a:pt x="126" y="48"/>
                    </a:cubicBezTo>
                    <a:cubicBezTo>
                      <a:pt x="126" y="48"/>
                      <a:pt x="126" y="48"/>
                      <a:pt x="126" y="48"/>
                    </a:cubicBezTo>
                    <a:cubicBezTo>
                      <a:pt x="126" y="47"/>
                      <a:pt x="126" y="47"/>
                      <a:pt x="126" y="47"/>
                    </a:cubicBezTo>
                    <a:cubicBezTo>
                      <a:pt x="126" y="48"/>
                      <a:pt x="126" y="48"/>
                      <a:pt x="125" y="48"/>
                    </a:cubicBezTo>
                    <a:cubicBezTo>
                      <a:pt x="125" y="48"/>
                      <a:pt x="125" y="48"/>
                      <a:pt x="125" y="48"/>
                    </a:cubicBezTo>
                    <a:cubicBezTo>
                      <a:pt x="125" y="48"/>
                      <a:pt x="125" y="48"/>
                      <a:pt x="125" y="48"/>
                    </a:cubicBezTo>
                    <a:cubicBezTo>
                      <a:pt x="125" y="48"/>
                      <a:pt x="125" y="47"/>
                      <a:pt x="125" y="47"/>
                    </a:cubicBezTo>
                    <a:cubicBezTo>
                      <a:pt x="125" y="47"/>
                      <a:pt x="125" y="47"/>
                      <a:pt x="125" y="47"/>
                    </a:cubicBezTo>
                    <a:cubicBezTo>
                      <a:pt x="125" y="47"/>
                      <a:pt x="125" y="47"/>
                      <a:pt x="125" y="47"/>
                    </a:cubicBezTo>
                    <a:cubicBezTo>
                      <a:pt x="125" y="47"/>
                      <a:pt x="125" y="47"/>
                      <a:pt x="125" y="47"/>
                    </a:cubicBezTo>
                    <a:cubicBezTo>
                      <a:pt x="125" y="47"/>
                      <a:pt x="125" y="47"/>
                      <a:pt x="125" y="47"/>
                    </a:cubicBezTo>
                    <a:cubicBezTo>
                      <a:pt x="124" y="46"/>
                      <a:pt x="124" y="46"/>
                      <a:pt x="124" y="46"/>
                    </a:cubicBezTo>
                    <a:cubicBezTo>
                      <a:pt x="124" y="46"/>
                      <a:pt x="123" y="46"/>
                      <a:pt x="122" y="46"/>
                    </a:cubicBezTo>
                    <a:cubicBezTo>
                      <a:pt x="122" y="46"/>
                      <a:pt x="122" y="46"/>
                      <a:pt x="122" y="46"/>
                    </a:cubicBezTo>
                    <a:cubicBezTo>
                      <a:pt x="122" y="46"/>
                      <a:pt x="122" y="46"/>
                      <a:pt x="122" y="46"/>
                    </a:cubicBezTo>
                    <a:cubicBezTo>
                      <a:pt x="122" y="45"/>
                      <a:pt x="122" y="45"/>
                      <a:pt x="123" y="45"/>
                    </a:cubicBezTo>
                    <a:cubicBezTo>
                      <a:pt x="123" y="45"/>
                      <a:pt x="123" y="45"/>
                      <a:pt x="123" y="45"/>
                    </a:cubicBezTo>
                    <a:cubicBezTo>
                      <a:pt x="123" y="45"/>
                      <a:pt x="123" y="45"/>
                      <a:pt x="123" y="45"/>
                    </a:cubicBezTo>
                    <a:cubicBezTo>
                      <a:pt x="124" y="45"/>
                      <a:pt x="125" y="46"/>
                      <a:pt x="125" y="46"/>
                    </a:cubicBezTo>
                    <a:cubicBezTo>
                      <a:pt x="125" y="46"/>
                      <a:pt x="126" y="46"/>
                      <a:pt x="126" y="46"/>
                    </a:cubicBezTo>
                    <a:cubicBezTo>
                      <a:pt x="126" y="46"/>
                      <a:pt x="127" y="46"/>
                      <a:pt x="127" y="46"/>
                    </a:cubicBezTo>
                    <a:cubicBezTo>
                      <a:pt x="127" y="45"/>
                      <a:pt x="127" y="45"/>
                      <a:pt x="127" y="45"/>
                    </a:cubicBezTo>
                    <a:cubicBezTo>
                      <a:pt x="127" y="45"/>
                      <a:pt x="127" y="45"/>
                      <a:pt x="127" y="45"/>
                    </a:cubicBezTo>
                    <a:cubicBezTo>
                      <a:pt x="127" y="45"/>
                      <a:pt x="128" y="45"/>
                      <a:pt x="129" y="45"/>
                    </a:cubicBezTo>
                    <a:cubicBezTo>
                      <a:pt x="129" y="45"/>
                      <a:pt x="129" y="45"/>
                      <a:pt x="129" y="45"/>
                    </a:cubicBezTo>
                    <a:cubicBezTo>
                      <a:pt x="129" y="45"/>
                      <a:pt x="129" y="45"/>
                      <a:pt x="129" y="45"/>
                    </a:cubicBezTo>
                    <a:cubicBezTo>
                      <a:pt x="129" y="45"/>
                      <a:pt x="129" y="44"/>
                      <a:pt x="129" y="44"/>
                    </a:cubicBezTo>
                    <a:cubicBezTo>
                      <a:pt x="129" y="44"/>
                      <a:pt x="129" y="44"/>
                      <a:pt x="129" y="44"/>
                    </a:cubicBezTo>
                    <a:cubicBezTo>
                      <a:pt x="129" y="44"/>
                      <a:pt x="129" y="44"/>
                      <a:pt x="129" y="44"/>
                    </a:cubicBezTo>
                    <a:cubicBezTo>
                      <a:pt x="129" y="44"/>
                      <a:pt x="128" y="43"/>
                      <a:pt x="128" y="43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28" y="43"/>
                      <a:pt x="127" y="43"/>
                      <a:pt x="127" y="43"/>
                    </a:cubicBezTo>
                    <a:cubicBezTo>
                      <a:pt x="127" y="43"/>
                      <a:pt x="127" y="43"/>
                      <a:pt x="127" y="43"/>
                    </a:cubicBezTo>
                    <a:cubicBezTo>
                      <a:pt x="127" y="43"/>
                      <a:pt x="127" y="43"/>
                      <a:pt x="127" y="43"/>
                    </a:cubicBezTo>
                    <a:cubicBezTo>
                      <a:pt x="127" y="43"/>
                      <a:pt x="127" y="42"/>
                      <a:pt x="127" y="42"/>
                    </a:cubicBezTo>
                    <a:cubicBezTo>
                      <a:pt x="126" y="42"/>
                      <a:pt x="126" y="42"/>
                      <a:pt x="126" y="42"/>
                    </a:cubicBezTo>
                    <a:cubicBezTo>
                      <a:pt x="126" y="42"/>
                      <a:pt x="126" y="42"/>
                      <a:pt x="125" y="42"/>
                    </a:cubicBezTo>
                    <a:cubicBezTo>
                      <a:pt x="125" y="42"/>
                      <a:pt x="125" y="42"/>
                      <a:pt x="125" y="42"/>
                    </a:cubicBezTo>
                    <a:cubicBezTo>
                      <a:pt x="125" y="42"/>
                      <a:pt x="125" y="42"/>
                      <a:pt x="125" y="42"/>
                    </a:cubicBezTo>
                    <a:cubicBezTo>
                      <a:pt x="125" y="42"/>
                      <a:pt x="125" y="42"/>
                      <a:pt x="124" y="42"/>
                    </a:cubicBezTo>
                    <a:cubicBezTo>
                      <a:pt x="124" y="42"/>
                      <a:pt x="124" y="42"/>
                      <a:pt x="124" y="42"/>
                    </a:cubicBezTo>
                    <a:cubicBezTo>
                      <a:pt x="124" y="42"/>
                      <a:pt x="124" y="42"/>
                      <a:pt x="124" y="42"/>
                    </a:cubicBezTo>
                    <a:cubicBezTo>
                      <a:pt x="124" y="42"/>
                      <a:pt x="124" y="42"/>
                      <a:pt x="124" y="41"/>
                    </a:cubicBezTo>
                    <a:cubicBezTo>
                      <a:pt x="124" y="41"/>
                      <a:pt x="123" y="41"/>
                      <a:pt x="122" y="41"/>
                    </a:cubicBezTo>
                    <a:cubicBezTo>
                      <a:pt x="122" y="41"/>
                      <a:pt x="122" y="41"/>
                      <a:pt x="122" y="41"/>
                    </a:cubicBezTo>
                    <a:cubicBezTo>
                      <a:pt x="122" y="41"/>
                      <a:pt x="122" y="41"/>
                      <a:pt x="122" y="41"/>
                    </a:cubicBezTo>
                    <a:cubicBezTo>
                      <a:pt x="122" y="41"/>
                      <a:pt x="122" y="42"/>
                      <a:pt x="122" y="42"/>
                    </a:cubicBezTo>
                    <a:cubicBezTo>
                      <a:pt x="122" y="42"/>
                      <a:pt x="122" y="42"/>
                      <a:pt x="122" y="42"/>
                    </a:cubicBezTo>
                    <a:cubicBezTo>
                      <a:pt x="122" y="42"/>
                      <a:pt x="121" y="42"/>
                      <a:pt x="121" y="43"/>
                    </a:cubicBezTo>
                    <a:cubicBezTo>
                      <a:pt x="121" y="43"/>
                      <a:pt x="121" y="43"/>
                      <a:pt x="121" y="43"/>
                    </a:cubicBezTo>
                    <a:cubicBezTo>
                      <a:pt x="121" y="43"/>
                      <a:pt x="121" y="44"/>
                      <a:pt x="121" y="44"/>
                    </a:cubicBezTo>
                    <a:cubicBezTo>
                      <a:pt x="121" y="44"/>
                      <a:pt x="121" y="44"/>
                      <a:pt x="121" y="45"/>
                    </a:cubicBezTo>
                    <a:cubicBezTo>
                      <a:pt x="121" y="45"/>
                      <a:pt x="120" y="46"/>
                      <a:pt x="120" y="46"/>
                    </a:cubicBezTo>
                    <a:cubicBezTo>
                      <a:pt x="120" y="46"/>
                      <a:pt x="120" y="46"/>
                      <a:pt x="120" y="46"/>
                    </a:cubicBezTo>
                    <a:cubicBezTo>
                      <a:pt x="120" y="46"/>
                      <a:pt x="120" y="46"/>
                      <a:pt x="120" y="46"/>
                    </a:cubicBezTo>
                    <a:cubicBezTo>
                      <a:pt x="120" y="46"/>
                      <a:pt x="120" y="46"/>
                      <a:pt x="120" y="46"/>
                    </a:cubicBezTo>
                    <a:cubicBezTo>
                      <a:pt x="120" y="46"/>
                      <a:pt x="120" y="46"/>
                      <a:pt x="120" y="46"/>
                    </a:cubicBezTo>
                    <a:cubicBezTo>
                      <a:pt x="120" y="46"/>
                      <a:pt x="120" y="46"/>
                      <a:pt x="120" y="46"/>
                    </a:cubicBezTo>
                    <a:cubicBezTo>
                      <a:pt x="120" y="46"/>
                      <a:pt x="120" y="46"/>
                      <a:pt x="120" y="46"/>
                    </a:cubicBezTo>
                    <a:cubicBezTo>
                      <a:pt x="120" y="46"/>
                      <a:pt x="120" y="46"/>
                      <a:pt x="120" y="46"/>
                    </a:cubicBezTo>
                    <a:cubicBezTo>
                      <a:pt x="120" y="46"/>
                      <a:pt x="120" y="46"/>
                      <a:pt x="120" y="45"/>
                    </a:cubicBezTo>
                    <a:cubicBezTo>
                      <a:pt x="120" y="45"/>
                      <a:pt x="120" y="45"/>
                      <a:pt x="120" y="44"/>
                    </a:cubicBezTo>
                    <a:cubicBezTo>
                      <a:pt x="120" y="44"/>
                      <a:pt x="120" y="44"/>
                      <a:pt x="120" y="44"/>
                    </a:cubicBezTo>
                    <a:cubicBezTo>
                      <a:pt x="120" y="44"/>
                      <a:pt x="120" y="44"/>
                      <a:pt x="120" y="44"/>
                    </a:cubicBezTo>
                    <a:cubicBezTo>
                      <a:pt x="120" y="43"/>
                      <a:pt x="120" y="43"/>
                      <a:pt x="120" y="43"/>
                    </a:cubicBezTo>
                    <a:cubicBezTo>
                      <a:pt x="120" y="43"/>
                      <a:pt x="120" y="43"/>
                      <a:pt x="120" y="43"/>
                    </a:cubicBezTo>
                    <a:cubicBezTo>
                      <a:pt x="120" y="43"/>
                      <a:pt x="120" y="43"/>
                      <a:pt x="120" y="43"/>
                    </a:cubicBezTo>
                    <a:cubicBezTo>
                      <a:pt x="120" y="43"/>
                      <a:pt x="120" y="43"/>
                      <a:pt x="120" y="43"/>
                    </a:cubicBezTo>
                    <a:cubicBezTo>
                      <a:pt x="119" y="43"/>
                      <a:pt x="119" y="43"/>
                      <a:pt x="119" y="42"/>
                    </a:cubicBezTo>
                    <a:cubicBezTo>
                      <a:pt x="119" y="42"/>
                      <a:pt x="120" y="42"/>
                      <a:pt x="120" y="42"/>
                    </a:cubicBezTo>
                    <a:cubicBezTo>
                      <a:pt x="120" y="42"/>
                      <a:pt x="120" y="42"/>
                      <a:pt x="121" y="41"/>
                    </a:cubicBezTo>
                    <a:cubicBezTo>
                      <a:pt x="121" y="41"/>
                      <a:pt x="121" y="41"/>
                      <a:pt x="121" y="41"/>
                    </a:cubicBezTo>
                    <a:cubicBezTo>
                      <a:pt x="121" y="41"/>
                      <a:pt x="121" y="41"/>
                      <a:pt x="121" y="41"/>
                    </a:cubicBezTo>
                    <a:cubicBezTo>
                      <a:pt x="121" y="41"/>
                      <a:pt x="121" y="40"/>
                      <a:pt x="121" y="40"/>
                    </a:cubicBezTo>
                    <a:cubicBezTo>
                      <a:pt x="121" y="40"/>
                      <a:pt x="121" y="40"/>
                      <a:pt x="121" y="40"/>
                    </a:cubicBezTo>
                    <a:cubicBezTo>
                      <a:pt x="121" y="40"/>
                      <a:pt x="120" y="40"/>
                      <a:pt x="120" y="40"/>
                    </a:cubicBezTo>
                    <a:cubicBezTo>
                      <a:pt x="120" y="40"/>
                      <a:pt x="120" y="40"/>
                      <a:pt x="119" y="40"/>
                    </a:cubicBezTo>
                    <a:cubicBezTo>
                      <a:pt x="119" y="40"/>
                      <a:pt x="119" y="40"/>
                      <a:pt x="119" y="40"/>
                    </a:cubicBezTo>
                    <a:cubicBezTo>
                      <a:pt x="119" y="40"/>
                      <a:pt x="118" y="40"/>
                      <a:pt x="118" y="40"/>
                    </a:cubicBezTo>
                    <a:cubicBezTo>
                      <a:pt x="118" y="40"/>
                      <a:pt x="118" y="40"/>
                      <a:pt x="118" y="40"/>
                    </a:cubicBezTo>
                    <a:cubicBezTo>
                      <a:pt x="118" y="41"/>
                      <a:pt x="118" y="41"/>
                      <a:pt x="118" y="41"/>
                    </a:cubicBezTo>
                    <a:cubicBezTo>
                      <a:pt x="118" y="41"/>
                      <a:pt x="118" y="41"/>
                      <a:pt x="118" y="41"/>
                    </a:cubicBezTo>
                    <a:cubicBezTo>
                      <a:pt x="118" y="41"/>
                      <a:pt x="117" y="42"/>
                      <a:pt x="117" y="42"/>
                    </a:cubicBezTo>
                    <a:cubicBezTo>
                      <a:pt x="117" y="42"/>
                      <a:pt x="117" y="42"/>
                      <a:pt x="117" y="43"/>
                    </a:cubicBezTo>
                    <a:cubicBezTo>
                      <a:pt x="117" y="43"/>
                      <a:pt x="116" y="43"/>
                      <a:pt x="116" y="43"/>
                    </a:cubicBezTo>
                    <a:cubicBezTo>
                      <a:pt x="115" y="44"/>
                      <a:pt x="115" y="44"/>
                      <a:pt x="115" y="43"/>
                    </a:cubicBezTo>
                    <a:cubicBezTo>
                      <a:pt x="115" y="43"/>
                      <a:pt x="115" y="43"/>
                      <a:pt x="115" y="43"/>
                    </a:cubicBezTo>
                    <a:cubicBezTo>
                      <a:pt x="115" y="43"/>
                      <a:pt x="115" y="42"/>
                      <a:pt x="115" y="42"/>
                    </a:cubicBezTo>
                    <a:cubicBezTo>
                      <a:pt x="115" y="42"/>
                      <a:pt x="115" y="42"/>
                      <a:pt x="115" y="42"/>
                    </a:cubicBezTo>
                    <a:cubicBezTo>
                      <a:pt x="115" y="41"/>
                      <a:pt x="115" y="41"/>
                      <a:pt x="115" y="41"/>
                    </a:cubicBezTo>
                    <a:cubicBezTo>
                      <a:pt x="115" y="41"/>
                      <a:pt x="114" y="42"/>
                      <a:pt x="113" y="42"/>
                    </a:cubicBezTo>
                    <a:cubicBezTo>
                      <a:pt x="113" y="43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2" y="45"/>
                    </a:cubicBezTo>
                    <a:cubicBezTo>
                      <a:pt x="112" y="45"/>
                      <a:pt x="111" y="45"/>
                      <a:pt x="111" y="45"/>
                    </a:cubicBezTo>
                    <a:cubicBezTo>
                      <a:pt x="111" y="45"/>
                      <a:pt x="110" y="45"/>
                      <a:pt x="110" y="45"/>
                    </a:cubicBezTo>
                    <a:cubicBezTo>
                      <a:pt x="110" y="45"/>
                      <a:pt x="110" y="45"/>
                      <a:pt x="110" y="45"/>
                    </a:cubicBezTo>
                    <a:cubicBezTo>
                      <a:pt x="110" y="45"/>
                      <a:pt x="110" y="44"/>
                      <a:pt x="110" y="44"/>
                    </a:cubicBezTo>
                    <a:cubicBezTo>
                      <a:pt x="111" y="44"/>
                      <a:pt x="111" y="44"/>
                      <a:pt x="111" y="44"/>
                    </a:cubicBezTo>
                    <a:cubicBezTo>
                      <a:pt x="111" y="44"/>
                      <a:pt x="111" y="43"/>
                      <a:pt x="111" y="43"/>
                    </a:cubicBezTo>
                    <a:cubicBezTo>
                      <a:pt x="111" y="43"/>
                      <a:pt x="111" y="43"/>
                      <a:pt x="111" y="43"/>
                    </a:cubicBezTo>
                    <a:cubicBezTo>
                      <a:pt x="111" y="43"/>
                      <a:pt x="112" y="42"/>
                      <a:pt x="112" y="42"/>
                    </a:cubicBezTo>
                    <a:cubicBezTo>
                      <a:pt x="112" y="42"/>
                      <a:pt x="113" y="41"/>
                      <a:pt x="113" y="41"/>
                    </a:cubicBezTo>
                    <a:cubicBezTo>
                      <a:pt x="113" y="41"/>
                      <a:pt x="113" y="41"/>
                      <a:pt x="113" y="41"/>
                    </a:cubicBezTo>
                    <a:cubicBezTo>
                      <a:pt x="113" y="41"/>
                      <a:pt x="113" y="41"/>
                      <a:pt x="113" y="41"/>
                    </a:cubicBezTo>
                    <a:cubicBezTo>
                      <a:pt x="114" y="41"/>
                      <a:pt x="114" y="41"/>
                      <a:pt x="114" y="40"/>
                    </a:cubicBezTo>
                    <a:cubicBezTo>
                      <a:pt x="114" y="40"/>
                      <a:pt x="114" y="40"/>
                      <a:pt x="114" y="40"/>
                    </a:cubicBezTo>
                    <a:cubicBezTo>
                      <a:pt x="115" y="40"/>
                      <a:pt x="115" y="40"/>
                      <a:pt x="115" y="40"/>
                    </a:cubicBezTo>
                    <a:cubicBezTo>
                      <a:pt x="114" y="40"/>
                      <a:pt x="114" y="40"/>
                      <a:pt x="114" y="40"/>
                    </a:cubicBezTo>
                    <a:cubicBezTo>
                      <a:pt x="113" y="40"/>
                      <a:pt x="113" y="40"/>
                      <a:pt x="113" y="40"/>
                    </a:cubicBezTo>
                    <a:cubicBezTo>
                      <a:pt x="113" y="40"/>
                      <a:pt x="113" y="40"/>
                      <a:pt x="113" y="40"/>
                    </a:cubicBezTo>
                    <a:cubicBezTo>
                      <a:pt x="113" y="40"/>
                      <a:pt x="113" y="40"/>
                      <a:pt x="113" y="39"/>
                    </a:cubicBezTo>
                    <a:cubicBezTo>
                      <a:pt x="113" y="39"/>
                      <a:pt x="112" y="39"/>
                      <a:pt x="112" y="40"/>
                    </a:cubicBezTo>
                    <a:cubicBezTo>
                      <a:pt x="111" y="40"/>
                      <a:pt x="111" y="40"/>
                      <a:pt x="111" y="40"/>
                    </a:cubicBezTo>
                    <a:cubicBezTo>
                      <a:pt x="111" y="40"/>
                      <a:pt x="112" y="41"/>
                      <a:pt x="112" y="41"/>
                    </a:cubicBezTo>
                    <a:cubicBezTo>
                      <a:pt x="112" y="41"/>
                      <a:pt x="111" y="41"/>
                      <a:pt x="111" y="41"/>
                    </a:cubicBezTo>
                    <a:cubicBezTo>
                      <a:pt x="111" y="41"/>
                      <a:pt x="111" y="41"/>
                      <a:pt x="111" y="41"/>
                    </a:cubicBezTo>
                    <a:cubicBezTo>
                      <a:pt x="111" y="41"/>
                      <a:pt x="110" y="41"/>
                      <a:pt x="110" y="41"/>
                    </a:cubicBezTo>
                    <a:cubicBezTo>
                      <a:pt x="110" y="41"/>
                      <a:pt x="109" y="41"/>
                      <a:pt x="109" y="41"/>
                    </a:cubicBezTo>
                    <a:cubicBezTo>
                      <a:pt x="109" y="41"/>
                      <a:pt x="108" y="41"/>
                      <a:pt x="108" y="41"/>
                    </a:cubicBezTo>
                    <a:cubicBezTo>
                      <a:pt x="108" y="41"/>
                      <a:pt x="108" y="41"/>
                      <a:pt x="108" y="41"/>
                    </a:cubicBezTo>
                    <a:cubicBezTo>
                      <a:pt x="108" y="42"/>
                      <a:pt x="108" y="42"/>
                      <a:pt x="108" y="42"/>
                    </a:cubicBezTo>
                    <a:cubicBezTo>
                      <a:pt x="107" y="42"/>
                      <a:pt x="107" y="42"/>
                      <a:pt x="107" y="43"/>
                    </a:cubicBezTo>
                    <a:cubicBezTo>
                      <a:pt x="107" y="43"/>
                      <a:pt x="107" y="43"/>
                      <a:pt x="107" y="43"/>
                    </a:cubicBezTo>
                    <a:cubicBezTo>
                      <a:pt x="107" y="43"/>
                      <a:pt x="107" y="43"/>
                      <a:pt x="107" y="43"/>
                    </a:cubicBezTo>
                    <a:cubicBezTo>
                      <a:pt x="106" y="43"/>
                      <a:pt x="106" y="43"/>
                      <a:pt x="106" y="43"/>
                    </a:cubicBezTo>
                    <a:cubicBezTo>
                      <a:pt x="105" y="43"/>
                      <a:pt x="105" y="43"/>
                      <a:pt x="105" y="43"/>
                    </a:cubicBezTo>
                    <a:cubicBezTo>
                      <a:pt x="105" y="43"/>
                      <a:pt x="105" y="43"/>
                      <a:pt x="105" y="43"/>
                    </a:cubicBezTo>
                    <a:cubicBezTo>
                      <a:pt x="105" y="43"/>
                      <a:pt x="105" y="44"/>
                      <a:pt x="104" y="44"/>
                    </a:cubicBezTo>
                    <a:cubicBezTo>
                      <a:pt x="104" y="44"/>
                      <a:pt x="104" y="44"/>
                      <a:pt x="104" y="44"/>
                    </a:cubicBezTo>
                    <a:cubicBezTo>
                      <a:pt x="104" y="44"/>
                      <a:pt x="104" y="44"/>
                      <a:pt x="103" y="44"/>
                    </a:cubicBezTo>
                    <a:cubicBezTo>
                      <a:pt x="103" y="44"/>
                      <a:pt x="103" y="44"/>
                      <a:pt x="103" y="44"/>
                    </a:cubicBezTo>
                    <a:cubicBezTo>
                      <a:pt x="102" y="44"/>
                      <a:pt x="102" y="44"/>
                      <a:pt x="101" y="45"/>
                    </a:cubicBezTo>
                    <a:cubicBezTo>
                      <a:pt x="101" y="45"/>
                      <a:pt x="100" y="45"/>
                      <a:pt x="100" y="45"/>
                    </a:cubicBezTo>
                    <a:cubicBezTo>
                      <a:pt x="100" y="45"/>
                      <a:pt x="98" y="45"/>
                      <a:pt x="97" y="45"/>
                    </a:cubicBezTo>
                    <a:cubicBezTo>
                      <a:pt x="96" y="45"/>
                      <a:pt x="96" y="45"/>
                      <a:pt x="96" y="45"/>
                    </a:cubicBezTo>
                    <a:cubicBezTo>
                      <a:pt x="96" y="45"/>
                      <a:pt x="96" y="45"/>
                      <a:pt x="96" y="45"/>
                    </a:cubicBezTo>
                    <a:cubicBezTo>
                      <a:pt x="96" y="45"/>
                      <a:pt x="96" y="45"/>
                      <a:pt x="96" y="45"/>
                    </a:cubicBezTo>
                    <a:cubicBezTo>
                      <a:pt x="96" y="45"/>
                      <a:pt x="95" y="45"/>
                      <a:pt x="95" y="45"/>
                    </a:cubicBezTo>
                    <a:cubicBezTo>
                      <a:pt x="95" y="46"/>
                      <a:pt x="95" y="46"/>
                      <a:pt x="94" y="45"/>
                    </a:cubicBezTo>
                    <a:cubicBezTo>
                      <a:pt x="94" y="45"/>
                      <a:pt x="94" y="45"/>
                      <a:pt x="93" y="45"/>
                    </a:cubicBezTo>
                    <a:cubicBezTo>
                      <a:pt x="93" y="45"/>
                      <a:pt x="93" y="45"/>
                      <a:pt x="92" y="45"/>
                    </a:cubicBezTo>
                    <a:cubicBezTo>
                      <a:pt x="92" y="45"/>
                      <a:pt x="92" y="46"/>
                      <a:pt x="92" y="46"/>
                    </a:cubicBezTo>
                    <a:cubicBezTo>
                      <a:pt x="92" y="46"/>
                      <a:pt x="91" y="46"/>
                      <a:pt x="91" y="46"/>
                    </a:cubicBezTo>
                    <a:cubicBezTo>
                      <a:pt x="91" y="46"/>
                      <a:pt x="90" y="46"/>
                      <a:pt x="90" y="47"/>
                    </a:cubicBezTo>
                    <a:cubicBezTo>
                      <a:pt x="90" y="47"/>
                      <a:pt x="90" y="47"/>
                      <a:pt x="90" y="48"/>
                    </a:cubicBezTo>
                    <a:cubicBezTo>
                      <a:pt x="89" y="48"/>
                      <a:pt x="89" y="49"/>
                      <a:pt x="89" y="49"/>
                    </a:cubicBezTo>
                    <a:cubicBezTo>
                      <a:pt x="89" y="49"/>
                      <a:pt x="89" y="49"/>
                      <a:pt x="89" y="49"/>
                    </a:cubicBezTo>
                    <a:cubicBezTo>
                      <a:pt x="89" y="49"/>
                      <a:pt x="88" y="50"/>
                      <a:pt x="88" y="50"/>
                    </a:cubicBezTo>
                    <a:cubicBezTo>
                      <a:pt x="88" y="50"/>
                      <a:pt x="88" y="50"/>
                      <a:pt x="88" y="50"/>
                    </a:cubicBezTo>
                    <a:cubicBezTo>
                      <a:pt x="88" y="51"/>
                      <a:pt x="88" y="51"/>
                      <a:pt x="88" y="51"/>
                    </a:cubicBezTo>
                    <a:cubicBezTo>
                      <a:pt x="88" y="51"/>
                      <a:pt x="88" y="51"/>
                      <a:pt x="88" y="51"/>
                    </a:cubicBezTo>
                    <a:cubicBezTo>
                      <a:pt x="88" y="51"/>
                      <a:pt x="88" y="51"/>
                      <a:pt x="88" y="51"/>
                    </a:cubicBezTo>
                    <a:cubicBezTo>
                      <a:pt x="87" y="51"/>
                      <a:pt x="87" y="52"/>
                      <a:pt x="86" y="52"/>
                    </a:cubicBezTo>
                    <a:cubicBezTo>
                      <a:pt x="86" y="52"/>
                      <a:pt x="86" y="53"/>
                      <a:pt x="86" y="53"/>
                    </a:cubicBezTo>
                    <a:cubicBezTo>
                      <a:pt x="86" y="53"/>
                      <a:pt x="85" y="54"/>
                      <a:pt x="85" y="54"/>
                    </a:cubicBezTo>
                    <a:cubicBezTo>
                      <a:pt x="84" y="54"/>
                      <a:pt x="84" y="54"/>
                      <a:pt x="83" y="54"/>
                    </a:cubicBezTo>
                    <a:cubicBezTo>
                      <a:pt x="83" y="54"/>
                      <a:pt x="83" y="55"/>
                      <a:pt x="82" y="55"/>
                    </a:cubicBezTo>
                    <a:cubicBezTo>
                      <a:pt x="82" y="55"/>
                      <a:pt x="82" y="56"/>
                      <a:pt x="82" y="56"/>
                    </a:cubicBezTo>
                    <a:cubicBezTo>
                      <a:pt x="82" y="56"/>
                      <a:pt x="82" y="56"/>
                      <a:pt x="82" y="56"/>
                    </a:cubicBezTo>
                    <a:cubicBezTo>
                      <a:pt x="82" y="57"/>
                      <a:pt x="82" y="57"/>
                      <a:pt x="82" y="57"/>
                    </a:cubicBezTo>
                    <a:cubicBezTo>
                      <a:pt x="82" y="56"/>
                      <a:pt x="82" y="56"/>
                      <a:pt x="82" y="56"/>
                    </a:cubicBezTo>
                    <a:cubicBezTo>
                      <a:pt x="81" y="56"/>
                      <a:pt x="81" y="56"/>
                      <a:pt x="81" y="57"/>
                    </a:cubicBezTo>
                    <a:cubicBezTo>
                      <a:pt x="80" y="57"/>
                      <a:pt x="80" y="57"/>
                      <a:pt x="81" y="57"/>
                    </a:cubicBezTo>
                    <a:cubicBezTo>
                      <a:pt x="81" y="58"/>
                      <a:pt x="80" y="58"/>
                      <a:pt x="79" y="58"/>
                    </a:cubicBezTo>
                    <a:cubicBezTo>
                      <a:pt x="79" y="58"/>
                      <a:pt x="79" y="58"/>
                      <a:pt x="79" y="58"/>
                    </a:cubicBezTo>
                    <a:cubicBezTo>
                      <a:pt x="79" y="58"/>
                      <a:pt x="79" y="58"/>
                      <a:pt x="79" y="58"/>
                    </a:cubicBezTo>
                    <a:cubicBezTo>
                      <a:pt x="79" y="58"/>
                      <a:pt x="78" y="58"/>
                      <a:pt x="78" y="59"/>
                    </a:cubicBezTo>
                    <a:cubicBezTo>
                      <a:pt x="78" y="59"/>
                      <a:pt x="78" y="59"/>
                      <a:pt x="78" y="59"/>
                    </a:cubicBezTo>
                    <a:cubicBezTo>
                      <a:pt x="78" y="59"/>
                      <a:pt x="78" y="60"/>
                      <a:pt x="78" y="60"/>
                    </a:cubicBezTo>
                    <a:cubicBezTo>
                      <a:pt x="78" y="60"/>
                      <a:pt x="78" y="61"/>
                      <a:pt x="78" y="61"/>
                    </a:cubicBezTo>
                    <a:cubicBezTo>
                      <a:pt x="77" y="61"/>
                      <a:pt x="77" y="61"/>
                      <a:pt x="77" y="61"/>
                    </a:cubicBezTo>
                    <a:cubicBezTo>
                      <a:pt x="77" y="61"/>
                      <a:pt x="77" y="61"/>
                      <a:pt x="76" y="61"/>
                    </a:cubicBezTo>
                    <a:cubicBezTo>
                      <a:pt x="76" y="62"/>
                      <a:pt x="76" y="62"/>
                      <a:pt x="77" y="62"/>
                    </a:cubicBezTo>
                    <a:cubicBezTo>
                      <a:pt x="77" y="62"/>
                      <a:pt x="77" y="62"/>
                      <a:pt x="77" y="62"/>
                    </a:cubicBezTo>
                    <a:cubicBezTo>
                      <a:pt x="77" y="62"/>
                      <a:pt x="76" y="62"/>
                      <a:pt x="76" y="63"/>
                    </a:cubicBezTo>
                    <a:cubicBezTo>
                      <a:pt x="75" y="63"/>
                      <a:pt x="75" y="63"/>
                      <a:pt x="75" y="63"/>
                    </a:cubicBezTo>
                    <a:cubicBezTo>
                      <a:pt x="74" y="63"/>
                      <a:pt x="74" y="63"/>
                      <a:pt x="74" y="64"/>
                    </a:cubicBezTo>
                    <a:cubicBezTo>
                      <a:pt x="74" y="64"/>
                      <a:pt x="74" y="64"/>
                      <a:pt x="74" y="64"/>
                    </a:cubicBezTo>
                    <a:cubicBezTo>
                      <a:pt x="74" y="64"/>
                      <a:pt x="74" y="64"/>
                      <a:pt x="74" y="64"/>
                    </a:cubicBezTo>
                    <a:cubicBezTo>
                      <a:pt x="74" y="64"/>
                      <a:pt x="74" y="64"/>
                      <a:pt x="73" y="65"/>
                    </a:cubicBezTo>
                    <a:cubicBezTo>
                      <a:pt x="73" y="65"/>
                      <a:pt x="73" y="65"/>
                      <a:pt x="73" y="65"/>
                    </a:cubicBezTo>
                    <a:cubicBezTo>
                      <a:pt x="73" y="65"/>
                      <a:pt x="73" y="65"/>
                      <a:pt x="72" y="65"/>
                    </a:cubicBezTo>
                    <a:cubicBezTo>
                      <a:pt x="72" y="66"/>
                      <a:pt x="72" y="66"/>
                      <a:pt x="72" y="66"/>
                    </a:cubicBezTo>
                    <a:cubicBezTo>
                      <a:pt x="72" y="66"/>
                      <a:pt x="72" y="66"/>
                      <a:pt x="72" y="67"/>
                    </a:cubicBezTo>
                    <a:cubicBezTo>
                      <a:pt x="72" y="67"/>
                      <a:pt x="72" y="67"/>
                      <a:pt x="72" y="67"/>
                    </a:cubicBezTo>
                    <a:cubicBezTo>
                      <a:pt x="72" y="67"/>
                      <a:pt x="72" y="67"/>
                      <a:pt x="72" y="67"/>
                    </a:cubicBezTo>
                    <a:cubicBezTo>
                      <a:pt x="72" y="67"/>
                      <a:pt x="73" y="67"/>
                      <a:pt x="73" y="67"/>
                    </a:cubicBezTo>
                    <a:cubicBezTo>
                      <a:pt x="72" y="68"/>
                      <a:pt x="72" y="68"/>
                      <a:pt x="72" y="68"/>
                    </a:cubicBezTo>
                    <a:cubicBezTo>
                      <a:pt x="72" y="68"/>
                      <a:pt x="72" y="68"/>
                      <a:pt x="72" y="68"/>
                    </a:cubicBezTo>
                    <a:cubicBezTo>
                      <a:pt x="72" y="68"/>
                      <a:pt x="72" y="68"/>
                      <a:pt x="72" y="68"/>
                    </a:cubicBezTo>
                    <a:cubicBezTo>
                      <a:pt x="72" y="68"/>
                      <a:pt x="72" y="68"/>
                      <a:pt x="72" y="68"/>
                    </a:cubicBezTo>
                    <a:cubicBezTo>
                      <a:pt x="72" y="69"/>
                      <a:pt x="71" y="69"/>
                      <a:pt x="71" y="69"/>
                    </a:cubicBezTo>
                    <a:cubicBezTo>
                      <a:pt x="71" y="69"/>
                      <a:pt x="71" y="69"/>
                      <a:pt x="71" y="69"/>
                    </a:cubicBezTo>
                    <a:cubicBezTo>
                      <a:pt x="71" y="70"/>
                      <a:pt x="71" y="70"/>
                      <a:pt x="71" y="70"/>
                    </a:cubicBezTo>
                    <a:cubicBezTo>
                      <a:pt x="70" y="70"/>
                      <a:pt x="70" y="70"/>
                      <a:pt x="70" y="70"/>
                    </a:cubicBezTo>
                    <a:cubicBezTo>
                      <a:pt x="70" y="70"/>
                      <a:pt x="70" y="70"/>
                      <a:pt x="70" y="71"/>
                    </a:cubicBezTo>
                    <a:cubicBezTo>
                      <a:pt x="70" y="71"/>
                      <a:pt x="70" y="71"/>
                      <a:pt x="70" y="71"/>
                    </a:cubicBezTo>
                    <a:cubicBezTo>
                      <a:pt x="70" y="71"/>
                      <a:pt x="70" y="72"/>
                      <a:pt x="70" y="72"/>
                    </a:cubicBezTo>
                    <a:cubicBezTo>
                      <a:pt x="70" y="72"/>
                      <a:pt x="70" y="72"/>
                      <a:pt x="70" y="72"/>
                    </a:cubicBezTo>
                    <a:cubicBezTo>
                      <a:pt x="70" y="72"/>
                      <a:pt x="70" y="73"/>
                      <a:pt x="70" y="73"/>
                    </a:cubicBezTo>
                    <a:cubicBezTo>
                      <a:pt x="70" y="73"/>
                      <a:pt x="70" y="74"/>
                      <a:pt x="70" y="74"/>
                    </a:cubicBezTo>
                    <a:cubicBezTo>
                      <a:pt x="70" y="74"/>
                      <a:pt x="69" y="74"/>
                      <a:pt x="69" y="74"/>
                    </a:cubicBezTo>
                    <a:cubicBezTo>
                      <a:pt x="69" y="74"/>
                      <a:pt x="68" y="74"/>
                      <a:pt x="68" y="74"/>
                    </a:cubicBezTo>
                    <a:cubicBezTo>
                      <a:pt x="68" y="74"/>
                      <a:pt x="67" y="75"/>
                      <a:pt x="67" y="75"/>
                    </a:cubicBezTo>
                    <a:cubicBezTo>
                      <a:pt x="67" y="75"/>
                      <a:pt x="67" y="75"/>
                      <a:pt x="67" y="76"/>
                    </a:cubicBezTo>
                    <a:cubicBezTo>
                      <a:pt x="67" y="76"/>
                      <a:pt x="67" y="76"/>
                      <a:pt x="67" y="76"/>
                    </a:cubicBezTo>
                    <a:cubicBezTo>
                      <a:pt x="68" y="77"/>
                      <a:pt x="68" y="77"/>
                      <a:pt x="67" y="77"/>
                    </a:cubicBezTo>
                    <a:cubicBezTo>
                      <a:pt x="67" y="77"/>
                      <a:pt x="66" y="77"/>
                      <a:pt x="66" y="77"/>
                    </a:cubicBezTo>
                    <a:cubicBezTo>
                      <a:pt x="66" y="77"/>
                      <a:pt x="66" y="77"/>
                      <a:pt x="66" y="77"/>
                    </a:cubicBezTo>
                    <a:cubicBezTo>
                      <a:pt x="65" y="77"/>
                      <a:pt x="65" y="77"/>
                      <a:pt x="65" y="77"/>
                    </a:cubicBezTo>
                    <a:cubicBezTo>
                      <a:pt x="65" y="77"/>
                      <a:pt x="64" y="77"/>
                      <a:pt x="64" y="77"/>
                    </a:cubicBezTo>
                    <a:cubicBezTo>
                      <a:pt x="64" y="77"/>
                      <a:pt x="64" y="78"/>
                      <a:pt x="64" y="78"/>
                    </a:cubicBezTo>
                    <a:cubicBezTo>
                      <a:pt x="64" y="78"/>
                      <a:pt x="63" y="78"/>
                      <a:pt x="63" y="78"/>
                    </a:cubicBezTo>
                    <a:cubicBezTo>
                      <a:pt x="63" y="79"/>
                      <a:pt x="62" y="79"/>
                      <a:pt x="62" y="80"/>
                    </a:cubicBezTo>
                    <a:cubicBezTo>
                      <a:pt x="62" y="80"/>
                      <a:pt x="62" y="80"/>
                      <a:pt x="62" y="80"/>
                    </a:cubicBezTo>
                    <a:cubicBezTo>
                      <a:pt x="62" y="80"/>
                      <a:pt x="62" y="80"/>
                      <a:pt x="62" y="80"/>
                    </a:cubicBezTo>
                    <a:cubicBezTo>
                      <a:pt x="62" y="80"/>
                      <a:pt x="62" y="81"/>
                      <a:pt x="62" y="81"/>
                    </a:cubicBezTo>
                    <a:cubicBezTo>
                      <a:pt x="62" y="81"/>
                      <a:pt x="62" y="81"/>
                      <a:pt x="62" y="81"/>
                    </a:cubicBezTo>
                    <a:cubicBezTo>
                      <a:pt x="62" y="82"/>
                      <a:pt x="62" y="82"/>
                      <a:pt x="63" y="82"/>
                    </a:cubicBezTo>
                    <a:cubicBezTo>
                      <a:pt x="63" y="82"/>
                      <a:pt x="64" y="81"/>
                      <a:pt x="64" y="81"/>
                    </a:cubicBezTo>
                    <a:cubicBezTo>
                      <a:pt x="65" y="81"/>
                      <a:pt x="65" y="80"/>
                      <a:pt x="65" y="80"/>
                    </a:cubicBezTo>
                    <a:cubicBezTo>
                      <a:pt x="65" y="80"/>
                      <a:pt x="65" y="80"/>
                      <a:pt x="66" y="79"/>
                    </a:cubicBezTo>
                    <a:cubicBezTo>
                      <a:pt x="66" y="79"/>
                      <a:pt x="67" y="79"/>
                      <a:pt x="67" y="79"/>
                    </a:cubicBezTo>
                    <a:cubicBezTo>
                      <a:pt x="67" y="79"/>
                      <a:pt x="67" y="80"/>
                      <a:pt x="66" y="80"/>
                    </a:cubicBezTo>
                    <a:cubicBezTo>
                      <a:pt x="66" y="80"/>
                      <a:pt x="66" y="80"/>
                      <a:pt x="66" y="80"/>
                    </a:cubicBezTo>
                    <a:cubicBezTo>
                      <a:pt x="67" y="81"/>
                      <a:pt x="66" y="81"/>
                      <a:pt x="66" y="81"/>
                    </a:cubicBezTo>
                    <a:cubicBezTo>
                      <a:pt x="65" y="81"/>
                      <a:pt x="64" y="82"/>
                      <a:pt x="63" y="83"/>
                    </a:cubicBezTo>
                    <a:cubicBezTo>
                      <a:pt x="63" y="83"/>
                      <a:pt x="63" y="83"/>
                      <a:pt x="63" y="83"/>
                    </a:cubicBezTo>
                    <a:cubicBezTo>
                      <a:pt x="63" y="83"/>
                      <a:pt x="63" y="83"/>
                      <a:pt x="63" y="83"/>
                    </a:cubicBezTo>
                    <a:cubicBezTo>
                      <a:pt x="62" y="83"/>
                      <a:pt x="62" y="83"/>
                      <a:pt x="62" y="83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62" y="82"/>
                      <a:pt x="61" y="82"/>
                      <a:pt x="61" y="82"/>
                    </a:cubicBezTo>
                    <a:cubicBezTo>
                      <a:pt x="61" y="82"/>
                      <a:pt x="61" y="82"/>
                      <a:pt x="60" y="82"/>
                    </a:cubicBezTo>
                    <a:cubicBezTo>
                      <a:pt x="60" y="82"/>
                      <a:pt x="60" y="82"/>
                      <a:pt x="59" y="82"/>
                    </a:cubicBezTo>
                    <a:cubicBezTo>
                      <a:pt x="59" y="82"/>
                      <a:pt x="59" y="82"/>
                      <a:pt x="59" y="82"/>
                    </a:cubicBezTo>
                    <a:cubicBezTo>
                      <a:pt x="59" y="82"/>
                      <a:pt x="59" y="82"/>
                      <a:pt x="59" y="82"/>
                    </a:cubicBezTo>
                    <a:cubicBezTo>
                      <a:pt x="58" y="83"/>
                      <a:pt x="58" y="83"/>
                      <a:pt x="58" y="83"/>
                    </a:cubicBezTo>
                    <a:cubicBezTo>
                      <a:pt x="57" y="83"/>
                      <a:pt x="57" y="83"/>
                      <a:pt x="58" y="84"/>
                    </a:cubicBezTo>
                    <a:cubicBezTo>
                      <a:pt x="58" y="84"/>
                      <a:pt x="58" y="84"/>
                      <a:pt x="57" y="84"/>
                    </a:cubicBezTo>
                    <a:cubicBezTo>
                      <a:pt x="57" y="84"/>
                      <a:pt x="57" y="84"/>
                      <a:pt x="57" y="84"/>
                    </a:cubicBezTo>
                    <a:cubicBezTo>
                      <a:pt x="57" y="84"/>
                      <a:pt x="56" y="84"/>
                      <a:pt x="56" y="84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5" y="85"/>
                    </a:cubicBezTo>
                    <a:cubicBezTo>
                      <a:pt x="55" y="85"/>
                      <a:pt x="54" y="85"/>
                      <a:pt x="54" y="85"/>
                    </a:cubicBezTo>
                    <a:cubicBezTo>
                      <a:pt x="54" y="85"/>
                      <a:pt x="53" y="85"/>
                      <a:pt x="53" y="85"/>
                    </a:cubicBezTo>
                    <a:cubicBezTo>
                      <a:pt x="53" y="85"/>
                      <a:pt x="53" y="85"/>
                      <a:pt x="53" y="85"/>
                    </a:cubicBezTo>
                    <a:cubicBezTo>
                      <a:pt x="53" y="85"/>
                      <a:pt x="53" y="85"/>
                      <a:pt x="53" y="85"/>
                    </a:cubicBezTo>
                    <a:cubicBezTo>
                      <a:pt x="53" y="85"/>
                      <a:pt x="53" y="86"/>
                      <a:pt x="53" y="86"/>
                    </a:cubicBezTo>
                    <a:cubicBezTo>
                      <a:pt x="53" y="86"/>
                      <a:pt x="53" y="86"/>
                      <a:pt x="53" y="86"/>
                    </a:cubicBezTo>
                    <a:cubicBezTo>
                      <a:pt x="54" y="87"/>
                      <a:pt x="54" y="87"/>
                      <a:pt x="54" y="87"/>
                    </a:cubicBezTo>
                    <a:cubicBezTo>
                      <a:pt x="53" y="87"/>
                      <a:pt x="53" y="87"/>
                      <a:pt x="53" y="87"/>
                    </a:cubicBezTo>
                    <a:cubicBezTo>
                      <a:pt x="52" y="87"/>
                      <a:pt x="52" y="87"/>
                      <a:pt x="52" y="87"/>
                    </a:cubicBezTo>
                    <a:cubicBezTo>
                      <a:pt x="51" y="87"/>
                      <a:pt x="51" y="87"/>
                      <a:pt x="51" y="87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50" y="88"/>
                      <a:pt x="50" y="88"/>
                      <a:pt x="50" y="88"/>
                    </a:cubicBezTo>
                    <a:cubicBezTo>
                      <a:pt x="50" y="88"/>
                      <a:pt x="50" y="88"/>
                      <a:pt x="50" y="88"/>
                    </a:cubicBezTo>
                    <a:cubicBezTo>
                      <a:pt x="50" y="88"/>
                      <a:pt x="49" y="89"/>
                      <a:pt x="49" y="89"/>
                    </a:cubicBezTo>
                    <a:cubicBezTo>
                      <a:pt x="49" y="89"/>
                      <a:pt x="49" y="89"/>
                      <a:pt x="49" y="89"/>
                    </a:cubicBezTo>
                    <a:cubicBezTo>
                      <a:pt x="49" y="89"/>
                      <a:pt x="49" y="89"/>
                      <a:pt x="49" y="89"/>
                    </a:cubicBezTo>
                    <a:cubicBezTo>
                      <a:pt x="48" y="89"/>
                      <a:pt x="48" y="89"/>
                      <a:pt x="47" y="89"/>
                    </a:cubicBezTo>
                    <a:cubicBezTo>
                      <a:pt x="47" y="90"/>
                      <a:pt x="47" y="90"/>
                      <a:pt x="47" y="90"/>
                    </a:cubicBezTo>
                    <a:cubicBezTo>
                      <a:pt x="47" y="90"/>
                      <a:pt x="47" y="90"/>
                      <a:pt x="47" y="91"/>
                    </a:cubicBezTo>
                    <a:cubicBezTo>
                      <a:pt x="47" y="91"/>
                      <a:pt x="47" y="91"/>
                      <a:pt x="47" y="91"/>
                    </a:cubicBezTo>
                    <a:cubicBezTo>
                      <a:pt x="47" y="91"/>
                      <a:pt x="47" y="91"/>
                      <a:pt x="47" y="91"/>
                    </a:cubicBezTo>
                    <a:cubicBezTo>
                      <a:pt x="47" y="91"/>
                      <a:pt x="47" y="91"/>
                      <a:pt x="47" y="92"/>
                    </a:cubicBezTo>
                    <a:cubicBezTo>
                      <a:pt x="46" y="92"/>
                      <a:pt x="46" y="92"/>
                      <a:pt x="46" y="93"/>
                    </a:cubicBezTo>
                    <a:cubicBezTo>
                      <a:pt x="47" y="93"/>
                      <a:pt x="46" y="93"/>
                      <a:pt x="46" y="93"/>
                    </a:cubicBezTo>
                    <a:cubicBezTo>
                      <a:pt x="46" y="94"/>
                      <a:pt x="46" y="94"/>
                      <a:pt x="46" y="94"/>
                    </a:cubicBezTo>
                    <a:cubicBezTo>
                      <a:pt x="46" y="94"/>
                      <a:pt x="47" y="94"/>
                      <a:pt x="47" y="95"/>
                    </a:cubicBezTo>
                    <a:cubicBezTo>
                      <a:pt x="47" y="95"/>
                      <a:pt x="48" y="95"/>
                      <a:pt x="48" y="95"/>
                    </a:cubicBezTo>
                    <a:cubicBezTo>
                      <a:pt x="48" y="95"/>
                      <a:pt x="48" y="94"/>
                      <a:pt x="49" y="94"/>
                    </a:cubicBezTo>
                    <a:cubicBezTo>
                      <a:pt x="49" y="94"/>
                      <a:pt x="50" y="94"/>
                      <a:pt x="50" y="94"/>
                    </a:cubicBezTo>
                    <a:cubicBezTo>
                      <a:pt x="51" y="94"/>
                      <a:pt x="51" y="94"/>
                      <a:pt x="51" y="94"/>
                    </a:cubicBezTo>
                    <a:cubicBezTo>
                      <a:pt x="51" y="95"/>
                      <a:pt x="51" y="95"/>
                      <a:pt x="51" y="95"/>
                    </a:cubicBezTo>
                    <a:cubicBezTo>
                      <a:pt x="51" y="95"/>
                      <a:pt x="50" y="95"/>
                      <a:pt x="50" y="95"/>
                    </a:cubicBezTo>
                    <a:cubicBezTo>
                      <a:pt x="50" y="95"/>
                      <a:pt x="49" y="95"/>
                      <a:pt x="49" y="95"/>
                    </a:cubicBezTo>
                    <a:cubicBezTo>
                      <a:pt x="49" y="95"/>
                      <a:pt x="49" y="95"/>
                      <a:pt x="49" y="95"/>
                    </a:cubicBezTo>
                    <a:cubicBezTo>
                      <a:pt x="48" y="95"/>
                      <a:pt x="48" y="95"/>
                      <a:pt x="48" y="95"/>
                    </a:cubicBezTo>
                    <a:cubicBezTo>
                      <a:pt x="48" y="95"/>
                      <a:pt x="47" y="95"/>
                      <a:pt x="47" y="95"/>
                    </a:cubicBezTo>
                    <a:cubicBezTo>
                      <a:pt x="47" y="95"/>
                      <a:pt x="47" y="95"/>
                      <a:pt x="47" y="95"/>
                    </a:cubicBezTo>
                    <a:cubicBezTo>
                      <a:pt x="46" y="95"/>
                      <a:pt x="46" y="96"/>
                      <a:pt x="46" y="96"/>
                    </a:cubicBezTo>
                    <a:cubicBezTo>
                      <a:pt x="46" y="96"/>
                      <a:pt x="46" y="97"/>
                      <a:pt x="46" y="97"/>
                    </a:cubicBezTo>
                    <a:cubicBezTo>
                      <a:pt x="46" y="97"/>
                      <a:pt x="46" y="97"/>
                      <a:pt x="47" y="97"/>
                    </a:cubicBezTo>
                    <a:cubicBezTo>
                      <a:pt x="47" y="97"/>
                      <a:pt x="47" y="97"/>
                      <a:pt x="47" y="97"/>
                    </a:cubicBezTo>
                    <a:cubicBezTo>
                      <a:pt x="47" y="97"/>
                      <a:pt x="48" y="97"/>
                      <a:pt x="48" y="97"/>
                    </a:cubicBezTo>
                    <a:cubicBezTo>
                      <a:pt x="48" y="97"/>
                      <a:pt x="48" y="97"/>
                      <a:pt x="48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49" y="98"/>
                      <a:pt x="48" y="98"/>
                      <a:pt x="48" y="98"/>
                    </a:cubicBezTo>
                    <a:cubicBezTo>
                      <a:pt x="48" y="98"/>
                      <a:pt x="48" y="98"/>
                      <a:pt x="48" y="98"/>
                    </a:cubicBezTo>
                    <a:cubicBezTo>
                      <a:pt x="47" y="98"/>
                      <a:pt x="47" y="98"/>
                      <a:pt x="47" y="98"/>
                    </a:cubicBezTo>
                    <a:cubicBezTo>
                      <a:pt x="47" y="99"/>
                      <a:pt x="47" y="99"/>
                      <a:pt x="47" y="99"/>
                    </a:cubicBezTo>
                    <a:cubicBezTo>
                      <a:pt x="47" y="99"/>
                      <a:pt x="47" y="99"/>
                      <a:pt x="47" y="99"/>
                    </a:cubicBezTo>
                    <a:cubicBezTo>
                      <a:pt x="47" y="99"/>
                      <a:pt x="47" y="99"/>
                      <a:pt x="47" y="99"/>
                    </a:cubicBezTo>
                    <a:cubicBezTo>
                      <a:pt x="47" y="100"/>
                      <a:pt x="48" y="100"/>
                      <a:pt x="48" y="100"/>
                    </a:cubicBezTo>
                    <a:cubicBezTo>
                      <a:pt x="48" y="99"/>
                      <a:pt x="48" y="99"/>
                      <a:pt x="48" y="99"/>
                    </a:cubicBezTo>
                    <a:cubicBezTo>
                      <a:pt x="48" y="99"/>
                      <a:pt x="49" y="99"/>
                      <a:pt x="49" y="99"/>
                    </a:cubicBezTo>
                    <a:cubicBezTo>
                      <a:pt x="49" y="99"/>
                      <a:pt x="49" y="99"/>
                      <a:pt x="49" y="99"/>
                    </a:cubicBezTo>
                    <a:cubicBezTo>
                      <a:pt x="49" y="99"/>
                      <a:pt x="49" y="99"/>
                      <a:pt x="49" y="99"/>
                    </a:cubicBezTo>
                    <a:cubicBezTo>
                      <a:pt x="50" y="99"/>
                      <a:pt x="50" y="99"/>
                      <a:pt x="50" y="100"/>
                    </a:cubicBezTo>
                    <a:cubicBezTo>
                      <a:pt x="50" y="100"/>
                      <a:pt x="50" y="100"/>
                      <a:pt x="50" y="100"/>
                    </a:cubicBezTo>
                    <a:cubicBezTo>
                      <a:pt x="49" y="101"/>
                      <a:pt x="49" y="101"/>
                      <a:pt x="49" y="101"/>
                    </a:cubicBezTo>
                    <a:cubicBezTo>
                      <a:pt x="49" y="101"/>
                      <a:pt x="48" y="101"/>
                      <a:pt x="48" y="101"/>
                    </a:cubicBezTo>
                    <a:cubicBezTo>
                      <a:pt x="48" y="101"/>
                      <a:pt x="48" y="102"/>
                      <a:pt x="48" y="102"/>
                    </a:cubicBezTo>
                    <a:cubicBezTo>
                      <a:pt x="49" y="102"/>
                      <a:pt x="48" y="102"/>
                      <a:pt x="48" y="102"/>
                    </a:cubicBezTo>
                    <a:cubicBezTo>
                      <a:pt x="48" y="102"/>
                      <a:pt x="48" y="102"/>
                      <a:pt x="48" y="102"/>
                    </a:cubicBezTo>
                    <a:cubicBezTo>
                      <a:pt x="48" y="102"/>
                      <a:pt x="47" y="102"/>
                      <a:pt x="47" y="103"/>
                    </a:cubicBezTo>
                    <a:cubicBezTo>
                      <a:pt x="47" y="103"/>
                      <a:pt x="47" y="103"/>
                      <a:pt x="47" y="103"/>
                    </a:cubicBezTo>
                    <a:cubicBezTo>
                      <a:pt x="47" y="103"/>
                      <a:pt x="47" y="103"/>
                      <a:pt x="47" y="103"/>
                    </a:cubicBezTo>
                    <a:cubicBezTo>
                      <a:pt x="47" y="103"/>
                      <a:pt x="47" y="103"/>
                      <a:pt x="47" y="103"/>
                    </a:cubicBezTo>
                    <a:cubicBezTo>
                      <a:pt x="48" y="103"/>
                      <a:pt x="48" y="104"/>
                      <a:pt x="48" y="103"/>
                    </a:cubicBezTo>
                    <a:cubicBezTo>
                      <a:pt x="48" y="103"/>
                      <a:pt x="49" y="104"/>
                      <a:pt x="49" y="104"/>
                    </a:cubicBezTo>
                    <a:cubicBezTo>
                      <a:pt x="49" y="104"/>
                      <a:pt x="50" y="104"/>
                      <a:pt x="50" y="104"/>
                    </a:cubicBezTo>
                    <a:cubicBezTo>
                      <a:pt x="50" y="104"/>
                      <a:pt x="50" y="105"/>
                      <a:pt x="49" y="105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49" y="105"/>
                      <a:pt x="49" y="106"/>
                      <a:pt x="49" y="106"/>
                    </a:cubicBezTo>
                    <a:cubicBezTo>
                      <a:pt x="50" y="106"/>
                      <a:pt x="50" y="106"/>
                      <a:pt x="49" y="106"/>
                    </a:cubicBezTo>
                    <a:cubicBezTo>
                      <a:pt x="49" y="106"/>
                      <a:pt x="49" y="106"/>
                      <a:pt x="48" y="106"/>
                    </a:cubicBezTo>
                    <a:cubicBezTo>
                      <a:pt x="48" y="105"/>
                      <a:pt x="48" y="105"/>
                      <a:pt x="48" y="105"/>
                    </a:cubicBezTo>
                    <a:cubicBezTo>
                      <a:pt x="48" y="105"/>
                      <a:pt x="48" y="105"/>
                      <a:pt x="48" y="105"/>
                    </a:cubicBezTo>
                    <a:cubicBezTo>
                      <a:pt x="48" y="106"/>
                      <a:pt x="48" y="106"/>
                      <a:pt x="48" y="106"/>
                    </a:cubicBezTo>
                    <a:cubicBezTo>
                      <a:pt x="48" y="106"/>
                      <a:pt x="48" y="107"/>
                      <a:pt x="48" y="107"/>
                    </a:cubicBezTo>
                    <a:cubicBezTo>
                      <a:pt x="48" y="107"/>
                      <a:pt x="48" y="108"/>
                      <a:pt x="48" y="108"/>
                    </a:cubicBezTo>
                    <a:cubicBezTo>
                      <a:pt x="48" y="108"/>
                      <a:pt x="48" y="108"/>
                      <a:pt x="49" y="108"/>
                    </a:cubicBezTo>
                    <a:cubicBezTo>
                      <a:pt x="49" y="108"/>
                      <a:pt x="49" y="108"/>
                      <a:pt x="49" y="109"/>
                    </a:cubicBezTo>
                    <a:cubicBezTo>
                      <a:pt x="49" y="109"/>
                      <a:pt x="50" y="109"/>
                      <a:pt x="50" y="109"/>
                    </a:cubicBezTo>
                    <a:cubicBezTo>
                      <a:pt x="50" y="109"/>
                      <a:pt x="51" y="110"/>
                      <a:pt x="51" y="110"/>
                    </a:cubicBezTo>
                    <a:cubicBezTo>
                      <a:pt x="51" y="110"/>
                      <a:pt x="51" y="110"/>
                      <a:pt x="51" y="110"/>
                    </a:cubicBezTo>
                    <a:cubicBezTo>
                      <a:pt x="51" y="110"/>
                      <a:pt x="52" y="110"/>
                      <a:pt x="52" y="110"/>
                    </a:cubicBezTo>
                    <a:cubicBezTo>
                      <a:pt x="52" y="110"/>
                      <a:pt x="52" y="110"/>
                      <a:pt x="52" y="110"/>
                    </a:cubicBezTo>
                    <a:cubicBezTo>
                      <a:pt x="52" y="110"/>
                      <a:pt x="53" y="110"/>
                      <a:pt x="53" y="110"/>
                    </a:cubicBezTo>
                    <a:cubicBezTo>
                      <a:pt x="53" y="111"/>
                      <a:pt x="53" y="111"/>
                      <a:pt x="54" y="111"/>
                    </a:cubicBezTo>
                    <a:cubicBezTo>
                      <a:pt x="54" y="111"/>
                      <a:pt x="54" y="111"/>
                      <a:pt x="55" y="111"/>
                    </a:cubicBezTo>
                    <a:cubicBezTo>
                      <a:pt x="55" y="111"/>
                      <a:pt x="56" y="110"/>
                      <a:pt x="56" y="110"/>
                    </a:cubicBezTo>
                    <a:cubicBezTo>
                      <a:pt x="56" y="110"/>
                      <a:pt x="56" y="110"/>
                      <a:pt x="56" y="110"/>
                    </a:cubicBezTo>
                    <a:cubicBezTo>
                      <a:pt x="56" y="110"/>
                      <a:pt x="56" y="110"/>
                      <a:pt x="57" y="110"/>
                    </a:cubicBezTo>
                    <a:cubicBezTo>
                      <a:pt x="57" y="110"/>
                      <a:pt x="57" y="110"/>
                      <a:pt x="57" y="109"/>
                    </a:cubicBezTo>
                    <a:cubicBezTo>
                      <a:pt x="57" y="109"/>
                      <a:pt x="58" y="109"/>
                      <a:pt x="58" y="109"/>
                    </a:cubicBezTo>
                    <a:cubicBezTo>
                      <a:pt x="58" y="109"/>
                      <a:pt x="58" y="108"/>
                      <a:pt x="59" y="108"/>
                    </a:cubicBezTo>
                    <a:cubicBezTo>
                      <a:pt x="59" y="108"/>
                      <a:pt x="59" y="107"/>
                      <a:pt x="60" y="107"/>
                    </a:cubicBezTo>
                    <a:cubicBezTo>
                      <a:pt x="60" y="107"/>
                      <a:pt x="60" y="107"/>
                      <a:pt x="60" y="107"/>
                    </a:cubicBezTo>
                    <a:cubicBezTo>
                      <a:pt x="60" y="107"/>
                      <a:pt x="60" y="106"/>
                      <a:pt x="60" y="106"/>
                    </a:cubicBezTo>
                    <a:cubicBezTo>
                      <a:pt x="60" y="106"/>
                      <a:pt x="61" y="106"/>
                      <a:pt x="61" y="106"/>
                    </a:cubicBezTo>
                    <a:cubicBezTo>
                      <a:pt x="61" y="106"/>
                      <a:pt x="61" y="106"/>
                      <a:pt x="61" y="106"/>
                    </a:cubicBezTo>
                    <a:cubicBezTo>
                      <a:pt x="61" y="106"/>
                      <a:pt x="61" y="105"/>
                      <a:pt x="61" y="105"/>
                    </a:cubicBezTo>
                    <a:cubicBezTo>
                      <a:pt x="61" y="105"/>
                      <a:pt x="61" y="105"/>
                      <a:pt x="61" y="105"/>
                    </a:cubicBezTo>
                    <a:cubicBezTo>
                      <a:pt x="61" y="106"/>
                      <a:pt x="62" y="106"/>
                      <a:pt x="62" y="106"/>
                    </a:cubicBezTo>
                    <a:cubicBezTo>
                      <a:pt x="62" y="106"/>
                      <a:pt x="62" y="106"/>
                      <a:pt x="63" y="106"/>
                    </a:cubicBezTo>
                    <a:cubicBezTo>
                      <a:pt x="63" y="106"/>
                      <a:pt x="63" y="106"/>
                      <a:pt x="63" y="105"/>
                    </a:cubicBezTo>
                    <a:cubicBezTo>
                      <a:pt x="63" y="105"/>
                      <a:pt x="63" y="105"/>
                      <a:pt x="63" y="105"/>
                    </a:cubicBezTo>
                    <a:cubicBezTo>
                      <a:pt x="63" y="105"/>
                      <a:pt x="63" y="104"/>
                      <a:pt x="63" y="104"/>
                    </a:cubicBezTo>
                    <a:cubicBezTo>
                      <a:pt x="63" y="104"/>
                      <a:pt x="63" y="103"/>
                      <a:pt x="63" y="103"/>
                    </a:cubicBezTo>
                    <a:cubicBezTo>
                      <a:pt x="63" y="103"/>
                      <a:pt x="63" y="103"/>
                      <a:pt x="64" y="103"/>
                    </a:cubicBezTo>
                    <a:cubicBezTo>
                      <a:pt x="64" y="102"/>
                      <a:pt x="64" y="102"/>
                      <a:pt x="64" y="102"/>
                    </a:cubicBezTo>
                    <a:cubicBezTo>
                      <a:pt x="64" y="102"/>
                      <a:pt x="64" y="101"/>
                      <a:pt x="64" y="101"/>
                    </a:cubicBezTo>
                    <a:cubicBezTo>
                      <a:pt x="64" y="101"/>
                      <a:pt x="64" y="102"/>
                      <a:pt x="64" y="102"/>
                    </a:cubicBezTo>
                    <a:cubicBezTo>
                      <a:pt x="64" y="102"/>
                      <a:pt x="64" y="103"/>
                      <a:pt x="64" y="103"/>
                    </a:cubicBezTo>
                    <a:cubicBezTo>
                      <a:pt x="64" y="103"/>
                      <a:pt x="64" y="104"/>
                      <a:pt x="64" y="104"/>
                    </a:cubicBezTo>
                    <a:cubicBezTo>
                      <a:pt x="64" y="104"/>
                      <a:pt x="65" y="104"/>
                      <a:pt x="65" y="105"/>
                    </a:cubicBezTo>
                    <a:cubicBezTo>
                      <a:pt x="65" y="105"/>
                      <a:pt x="65" y="105"/>
                      <a:pt x="66" y="105"/>
                    </a:cubicBezTo>
                    <a:cubicBezTo>
                      <a:pt x="66" y="105"/>
                      <a:pt x="66" y="105"/>
                      <a:pt x="66" y="105"/>
                    </a:cubicBezTo>
                    <a:cubicBezTo>
                      <a:pt x="66" y="105"/>
                      <a:pt x="66" y="105"/>
                      <a:pt x="66" y="105"/>
                    </a:cubicBezTo>
                    <a:cubicBezTo>
                      <a:pt x="66" y="105"/>
                      <a:pt x="66" y="105"/>
                      <a:pt x="66" y="106"/>
                    </a:cubicBezTo>
                    <a:cubicBezTo>
                      <a:pt x="66" y="106"/>
                      <a:pt x="66" y="107"/>
                      <a:pt x="66" y="107"/>
                    </a:cubicBezTo>
                    <a:cubicBezTo>
                      <a:pt x="66" y="108"/>
                      <a:pt x="66" y="109"/>
                      <a:pt x="67" y="109"/>
                    </a:cubicBezTo>
                    <a:cubicBezTo>
                      <a:pt x="67" y="109"/>
                      <a:pt x="67" y="109"/>
                      <a:pt x="67" y="109"/>
                    </a:cubicBezTo>
                    <a:cubicBezTo>
                      <a:pt x="67" y="109"/>
                      <a:pt x="68" y="109"/>
                      <a:pt x="68" y="109"/>
                    </a:cubicBezTo>
                    <a:cubicBezTo>
                      <a:pt x="68" y="109"/>
                      <a:pt x="68" y="109"/>
                      <a:pt x="68" y="109"/>
                    </a:cubicBezTo>
                    <a:cubicBezTo>
                      <a:pt x="68" y="109"/>
                      <a:pt x="68" y="109"/>
                      <a:pt x="68" y="109"/>
                    </a:cubicBezTo>
                    <a:cubicBezTo>
                      <a:pt x="68" y="109"/>
                      <a:pt x="68" y="110"/>
                      <a:pt x="68" y="110"/>
                    </a:cubicBezTo>
                    <a:cubicBezTo>
                      <a:pt x="68" y="111"/>
                      <a:pt x="68" y="111"/>
                      <a:pt x="68" y="111"/>
                    </a:cubicBezTo>
                    <a:cubicBezTo>
                      <a:pt x="68" y="112"/>
                      <a:pt x="68" y="112"/>
                      <a:pt x="68" y="112"/>
                    </a:cubicBezTo>
                    <a:cubicBezTo>
                      <a:pt x="68" y="112"/>
                      <a:pt x="68" y="112"/>
                      <a:pt x="68" y="112"/>
                    </a:cubicBezTo>
                    <a:cubicBezTo>
                      <a:pt x="68" y="112"/>
                      <a:pt x="68" y="113"/>
                      <a:pt x="68" y="113"/>
                    </a:cubicBezTo>
                    <a:cubicBezTo>
                      <a:pt x="68" y="113"/>
                      <a:pt x="69" y="113"/>
                      <a:pt x="69" y="113"/>
                    </a:cubicBezTo>
                    <a:cubicBezTo>
                      <a:pt x="69" y="113"/>
                      <a:pt x="69" y="114"/>
                      <a:pt x="69" y="114"/>
                    </a:cubicBezTo>
                    <a:cubicBezTo>
                      <a:pt x="69" y="115"/>
                      <a:pt x="69" y="115"/>
                      <a:pt x="70" y="116"/>
                    </a:cubicBezTo>
                    <a:cubicBezTo>
                      <a:pt x="70" y="117"/>
                      <a:pt x="71" y="117"/>
                      <a:pt x="71" y="117"/>
                    </a:cubicBezTo>
                    <a:cubicBezTo>
                      <a:pt x="71" y="117"/>
                      <a:pt x="71" y="118"/>
                      <a:pt x="72" y="118"/>
                    </a:cubicBezTo>
                    <a:cubicBezTo>
                      <a:pt x="72" y="118"/>
                      <a:pt x="71" y="118"/>
                      <a:pt x="71" y="118"/>
                    </a:cubicBezTo>
                    <a:cubicBezTo>
                      <a:pt x="71" y="118"/>
                      <a:pt x="71" y="119"/>
                      <a:pt x="70" y="119"/>
                    </a:cubicBezTo>
                    <a:cubicBezTo>
                      <a:pt x="70" y="119"/>
                      <a:pt x="70" y="120"/>
                      <a:pt x="71" y="120"/>
                    </a:cubicBezTo>
                    <a:cubicBezTo>
                      <a:pt x="71" y="121"/>
                      <a:pt x="71" y="122"/>
                      <a:pt x="72" y="122"/>
                    </a:cubicBezTo>
                    <a:cubicBezTo>
                      <a:pt x="72" y="122"/>
                      <a:pt x="72" y="122"/>
                      <a:pt x="72" y="122"/>
                    </a:cubicBezTo>
                    <a:cubicBezTo>
                      <a:pt x="72" y="123"/>
                      <a:pt x="72" y="123"/>
                      <a:pt x="72" y="123"/>
                    </a:cubicBezTo>
                    <a:cubicBezTo>
                      <a:pt x="72" y="123"/>
                      <a:pt x="72" y="123"/>
                      <a:pt x="72" y="123"/>
                    </a:cubicBezTo>
                    <a:cubicBezTo>
                      <a:pt x="71" y="123"/>
                      <a:pt x="71" y="124"/>
                      <a:pt x="71" y="124"/>
                    </a:cubicBezTo>
                    <a:cubicBezTo>
                      <a:pt x="71" y="124"/>
                      <a:pt x="71" y="124"/>
                      <a:pt x="72" y="124"/>
                    </a:cubicBezTo>
                    <a:cubicBezTo>
                      <a:pt x="72" y="124"/>
                      <a:pt x="73" y="124"/>
                      <a:pt x="74" y="124"/>
                    </a:cubicBezTo>
                    <a:cubicBezTo>
                      <a:pt x="74" y="124"/>
                      <a:pt x="74" y="124"/>
                      <a:pt x="74" y="124"/>
                    </a:cubicBezTo>
                    <a:cubicBezTo>
                      <a:pt x="74" y="124"/>
                      <a:pt x="74" y="124"/>
                      <a:pt x="74" y="124"/>
                    </a:cubicBezTo>
                    <a:cubicBezTo>
                      <a:pt x="74" y="124"/>
                      <a:pt x="75" y="124"/>
                      <a:pt x="75" y="124"/>
                    </a:cubicBezTo>
                    <a:cubicBezTo>
                      <a:pt x="75" y="124"/>
                      <a:pt x="76" y="124"/>
                      <a:pt x="76" y="123"/>
                    </a:cubicBezTo>
                    <a:cubicBezTo>
                      <a:pt x="76" y="123"/>
                      <a:pt x="76" y="123"/>
                      <a:pt x="76" y="123"/>
                    </a:cubicBezTo>
                    <a:cubicBezTo>
                      <a:pt x="76" y="122"/>
                      <a:pt x="76" y="122"/>
                      <a:pt x="76" y="122"/>
                    </a:cubicBezTo>
                    <a:cubicBezTo>
                      <a:pt x="76" y="122"/>
                      <a:pt x="76" y="122"/>
                      <a:pt x="76" y="121"/>
                    </a:cubicBezTo>
                    <a:cubicBezTo>
                      <a:pt x="76" y="121"/>
                      <a:pt x="76" y="121"/>
                      <a:pt x="76" y="121"/>
                    </a:cubicBezTo>
                    <a:cubicBezTo>
                      <a:pt x="77" y="121"/>
                      <a:pt x="77" y="121"/>
                      <a:pt x="77" y="121"/>
                    </a:cubicBezTo>
                    <a:cubicBezTo>
                      <a:pt x="77" y="121"/>
                      <a:pt x="77" y="121"/>
                      <a:pt x="77" y="120"/>
                    </a:cubicBezTo>
                    <a:cubicBezTo>
                      <a:pt x="77" y="120"/>
                      <a:pt x="77" y="120"/>
                      <a:pt x="77" y="120"/>
                    </a:cubicBezTo>
                    <a:cubicBezTo>
                      <a:pt x="78" y="120"/>
                      <a:pt x="78" y="120"/>
                      <a:pt x="78" y="120"/>
                    </a:cubicBezTo>
                    <a:cubicBezTo>
                      <a:pt x="79" y="120"/>
                      <a:pt x="79" y="120"/>
                      <a:pt x="79" y="120"/>
                    </a:cubicBezTo>
                    <a:cubicBezTo>
                      <a:pt x="79" y="120"/>
                      <a:pt x="79" y="120"/>
                      <a:pt x="79" y="120"/>
                    </a:cubicBezTo>
                    <a:cubicBezTo>
                      <a:pt x="79" y="120"/>
                      <a:pt x="80" y="120"/>
                      <a:pt x="80" y="120"/>
                    </a:cubicBezTo>
                    <a:cubicBezTo>
                      <a:pt x="80" y="120"/>
                      <a:pt x="80" y="120"/>
                      <a:pt x="80" y="120"/>
                    </a:cubicBezTo>
                    <a:cubicBezTo>
                      <a:pt x="80" y="120"/>
                      <a:pt x="80" y="120"/>
                      <a:pt x="80" y="120"/>
                    </a:cubicBezTo>
                    <a:cubicBezTo>
                      <a:pt x="80" y="120"/>
                      <a:pt x="81" y="120"/>
                      <a:pt x="81" y="120"/>
                    </a:cubicBezTo>
                    <a:cubicBezTo>
                      <a:pt x="81" y="120"/>
                      <a:pt x="81" y="120"/>
                      <a:pt x="81" y="119"/>
                    </a:cubicBezTo>
                    <a:cubicBezTo>
                      <a:pt x="82" y="119"/>
                      <a:pt x="82" y="118"/>
                      <a:pt x="82" y="118"/>
                    </a:cubicBezTo>
                    <a:cubicBezTo>
                      <a:pt x="82" y="118"/>
                      <a:pt x="82" y="117"/>
                      <a:pt x="83" y="117"/>
                    </a:cubicBezTo>
                    <a:cubicBezTo>
                      <a:pt x="83" y="117"/>
                      <a:pt x="83" y="117"/>
                      <a:pt x="83" y="117"/>
                    </a:cubicBezTo>
                    <a:cubicBezTo>
                      <a:pt x="83" y="116"/>
                      <a:pt x="83" y="116"/>
                      <a:pt x="83" y="116"/>
                    </a:cubicBezTo>
                    <a:cubicBezTo>
                      <a:pt x="83" y="116"/>
                      <a:pt x="83" y="115"/>
                      <a:pt x="83" y="115"/>
                    </a:cubicBezTo>
                    <a:cubicBezTo>
                      <a:pt x="83" y="115"/>
                      <a:pt x="83" y="115"/>
                      <a:pt x="83" y="114"/>
                    </a:cubicBezTo>
                    <a:cubicBezTo>
                      <a:pt x="83" y="114"/>
                      <a:pt x="83" y="114"/>
                      <a:pt x="83" y="114"/>
                    </a:cubicBezTo>
                    <a:cubicBezTo>
                      <a:pt x="84" y="114"/>
                      <a:pt x="83" y="113"/>
                      <a:pt x="83" y="113"/>
                    </a:cubicBezTo>
                    <a:cubicBezTo>
                      <a:pt x="83" y="113"/>
                      <a:pt x="83" y="112"/>
                      <a:pt x="84" y="112"/>
                    </a:cubicBezTo>
                    <a:cubicBezTo>
                      <a:pt x="84" y="112"/>
                      <a:pt x="84" y="112"/>
                      <a:pt x="84" y="112"/>
                    </a:cubicBezTo>
                    <a:cubicBezTo>
                      <a:pt x="84" y="112"/>
                      <a:pt x="84" y="112"/>
                      <a:pt x="84" y="112"/>
                    </a:cubicBezTo>
                    <a:cubicBezTo>
                      <a:pt x="84" y="111"/>
                      <a:pt x="84" y="111"/>
                      <a:pt x="84" y="111"/>
                    </a:cubicBezTo>
                    <a:cubicBezTo>
                      <a:pt x="84" y="110"/>
                      <a:pt x="84" y="110"/>
                      <a:pt x="84" y="110"/>
                    </a:cubicBezTo>
                    <a:cubicBezTo>
                      <a:pt x="84" y="110"/>
                      <a:pt x="84" y="109"/>
                      <a:pt x="84" y="109"/>
                    </a:cubicBezTo>
                    <a:cubicBezTo>
                      <a:pt x="83" y="109"/>
                      <a:pt x="83" y="109"/>
                      <a:pt x="84" y="108"/>
                    </a:cubicBezTo>
                    <a:cubicBezTo>
                      <a:pt x="84" y="108"/>
                      <a:pt x="84" y="108"/>
                      <a:pt x="84" y="108"/>
                    </a:cubicBezTo>
                    <a:cubicBezTo>
                      <a:pt x="84" y="108"/>
                      <a:pt x="84" y="107"/>
                      <a:pt x="85" y="107"/>
                    </a:cubicBezTo>
                    <a:cubicBezTo>
                      <a:pt x="85" y="107"/>
                      <a:pt x="85" y="107"/>
                      <a:pt x="86" y="107"/>
                    </a:cubicBezTo>
                    <a:cubicBezTo>
                      <a:pt x="86" y="106"/>
                      <a:pt x="86" y="106"/>
                      <a:pt x="86" y="106"/>
                    </a:cubicBezTo>
                    <a:cubicBezTo>
                      <a:pt x="86" y="105"/>
                      <a:pt x="87" y="105"/>
                      <a:pt x="87" y="106"/>
                    </a:cubicBezTo>
                    <a:cubicBezTo>
                      <a:pt x="87" y="106"/>
                      <a:pt x="87" y="106"/>
                      <a:pt x="87" y="106"/>
                    </a:cubicBezTo>
                    <a:cubicBezTo>
                      <a:pt x="87" y="106"/>
                      <a:pt x="88" y="106"/>
                      <a:pt x="88" y="105"/>
                    </a:cubicBezTo>
                    <a:cubicBezTo>
                      <a:pt x="88" y="105"/>
                      <a:pt x="89" y="105"/>
                      <a:pt x="89" y="105"/>
                    </a:cubicBezTo>
                    <a:cubicBezTo>
                      <a:pt x="89" y="104"/>
                      <a:pt x="90" y="104"/>
                      <a:pt x="90" y="104"/>
                    </a:cubicBezTo>
                    <a:cubicBezTo>
                      <a:pt x="90" y="104"/>
                      <a:pt x="90" y="104"/>
                      <a:pt x="89" y="104"/>
                    </a:cubicBezTo>
                    <a:cubicBezTo>
                      <a:pt x="89" y="104"/>
                      <a:pt x="89" y="104"/>
                      <a:pt x="88" y="104"/>
                    </a:cubicBezTo>
                    <a:cubicBezTo>
                      <a:pt x="88" y="104"/>
                      <a:pt x="88" y="104"/>
                      <a:pt x="87" y="105"/>
                    </a:cubicBezTo>
                    <a:cubicBezTo>
                      <a:pt x="87" y="105"/>
                      <a:pt x="87" y="105"/>
                      <a:pt x="87" y="105"/>
                    </a:cubicBezTo>
                    <a:cubicBezTo>
                      <a:pt x="87" y="104"/>
                      <a:pt x="86" y="104"/>
                      <a:pt x="86" y="104"/>
                    </a:cubicBezTo>
                    <a:cubicBezTo>
                      <a:pt x="85" y="104"/>
                      <a:pt x="85" y="104"/>
                      <a:pt x="84" y="104"/>
                    </a:cubicBezTo>
                    <a:cubicBezTo>
                      <a:pt x="84" y="104"/>
                      <a:pt x="84" y="104"/>
                      <a:pt x="84" y="104"/>
                    </a:cubicBezTo>
                    <a:cubicBezTo>
                      <a:pt x="84" y="104"/>
                      <a:pt x="83" y="103"/>
                      <a:pt x="83" y="103"/>
                    </a:cubicBezTo>
                    <a:cubicBezTo>
                      <a:pt x="83" y="103"/>
                      <a:pt x="82" y="103"/>
                      <a:pt x="82" y="103"/>
                    </a:cubicBezTo>
                    <a:cubicBezTo>
                      <a:pt x="82" y="103"/>
                      <a:pt x="82" y="103"/>
                      <a:pt x="82" y="103"/>
                    </a:cubicBezTo>
                    <a:cubicBezTo>
                      <a:pt x="83" y="103"/>
                      <a:pt x="83" y="103"/>
                      <a:pt x="84" y="103"/>
                    </a:cubicBezTo>
                    <a:cubicBezTo>
                      <a:pt x="84" y="103"/>
                      <a:pt x="84" y="103"/>
                      <a:pt x="84" y="103"/>
                    </a:cubicBezTo>
                    <a:cubicBezTo>
                      <a:pt x="85" y="103"/>
                      <a:pt x="85" y="103"/>
                      <a:pt x="85" y="103"/>
                    </a:cubicBezTo>
                    <a:cubicBezTo>
                      <a:pt x="86" y="103"/>
                      <a:pt x="86" y="103"/>
                      <a:pt x="86" y="103"/>
                    </a:cubicBezTo>
                    <a:cubicBezTo>
                      <a:pt x="86" y="103"/>
                      <a:pt x="86" y="102"/>
                      <a:pt x="86" y="102"/>
                    </a:cubicBezTo>
                    <a:cubicBezTo>
                      <a:pt x="86" y="102"/>
                      <a:pt x="87" y="102"/>
                      <a:pt x="87" y="102"/>
                    </a:cubicBezTo>
                    <a:cubicBezTo>
                      <a:pt x="87" y="103"/>
                      <a:pt x="87" y="103"/>
                      <a:pt x="87" y="103"/>
                    </a:cubicBezTo>
                    <a:cubicBezTo>
                      <a:pt x="87" y="103"/>
                      <a:pt x="88" y="104"/>
                      <a:pt x="88" y="104"/>
                    </a:cubicBezTo>
                    <a:cubicBezTo>
                      <a:pt x="88" y="103"/>
                      <a:pt x="89" y="103"/>
                      <a:pt x="89" y="103"/>
                    </a:cubicBezTo>
                    <a:cubicBezTo>
                      <a:pt x="89" y="103"/>
                      <a:pt x="90" y="103"/>
                      <a:pt x="90" y="103"/>
                    </a:cubicBezTo>
                    <a:cubicBezTo>
                      <a:pt x="90" y="102"/>
                      <a:pt x="90" y="102"/>
                      <a:pt x="91" y="102"/>
                    </a:cubicBezTo>
                    <a:cubicBezTo>
                      <a:pt x="91" y="102"/>
                      <a:pt x="91" y="102"/>
                      <a:pt x="91" y="102"/>
                    </a:cubicBezTo>
                    <a:cubicBezTo>
                      <a:pt x="91" y="101"/>
                      <a:pt x="91" y="101"/>
                      <a:pt x="91" y="101"/>
                    </a:cubicBezTo>
                    <a:cubicBezTo>
                      <a:pt x="90" y="101"/>
                      <a:pt x="90" y="100"/>
                      <a:pt x="90" y="100"/>
                    </a:cubicBezTo>
                    <a:cubicBezTo>
                      <a:pt x="90" y="100"/>
                      <a:pt x="90" y="100"/>
                      <a:pt x="90" y="100"/>
                    </a:cubicBezTo>
                    <a:cubicBezTo>
                      <a:pt x="89" y="99"/>
                      <a:pt x="89" y="99"/>
                      <a:pt x="88" y="98"/>
                    </a:cubicBezTo>
                    <a:cubicBezTo>
                      <a:pt x="88" y="98"/>
                      <a:pt x="88" y="98"/>
                      <a:pt x="88" y="98"/>
                    </a:cubicBezTo>
                    <a:cubicBezTo>
                      <a:pt x="88" y="98"/>
                      <a:pt x="88" y="98"/>
                      <a:pt x="88" y="98"/>
                    </a:cubicBezTo>
                    <a:cubicBezTo>
                      <a:pt x="88" y="98"/>
                      <a:pt x="87" y="98"/>
                      <a:pt x="87" y="98"/>
                    </a:cubicBezTo>
                    <a:cubicBezTo>
                      <a:pt x="87" y="98"/>
                      <a:pt x="86" y="98"/>
                      <a:pt x="86" y="98"/>
                    </a:cubicBezTo>
                    <a:cubicBezTo>
                      <a:pt x="86" y="98"/>
                      <a:pt x="86" y="98"/>
                      <a:pt x="86" y="98"/>
                    </a:cubicBezTo>
                    <a:cubicBezTo>
                      <a:pt x="86" y="98"/>
                      <a:pt x="86" y="97"/>
                      <a:pt x="86" y="97"/>
                    </a:cubicBezTo>
                    <a:cubicBezTo>
                      <a:pt x="85" y="97"/>
                      <a:pt x="85" y="97"/>
                      <a:pt x="85" y="97"/>
                    </a:cubicBezTo>
                    <a:cubicBezTo>
                      <a:pt x="85" y="97"/>
                      <a:pt x="85" y="96"/>
                      <a:pt x="85" y="96"/>
                    </a:cubicBezTo>
                    <a:cubicBezTo>
                      <a:pt x="85" y="95"/>
                      <a:pt x="85" y="95"/>
                      <a:pt x="85" y="95"/>
                    </a:cubicBezTo>
                    <a:cubicBezTo>
                      <a:pt x="85" y="94"/>
                      <a:pt x="85" y="94"/>
                      <a:pt x="85" y="94"/>
                    </a:cubicBezTo>
                    <a:cubicBezTo>
                      <a:pt x="86" y="93"/>
                      <a:pt x="86" y="93"/>
                      <a:pt x="86" y="93"/>
                    </a:cubicBezTo>
                    <a:cubicBezTo>
                      <a:pt x="85" y="93"/>
                      <a:pt x="85" y="92"/>
                      <a:pt x="85" y="92"/>
                    </a:cubicBezTo>
                    <a:cubicBezTo>
                      <a:pt x="86" y="92"/>
                      <a:pt x="86" y="92"/>
                      <a:pt x="86" y="92"/>
                    </a:cubicBezTo>
                    <a:cubicBezTo>
                      <a:pt x="86" y="91"/>
                      <a:pt x="86" y="91"/>
                      <a:pt x="86" y="91"/>
                    </a:cubicBezTo>
                    <a:cubicBezTo>
                      <a:pt x="86" y="91"/>
                      <a:pt x="86" y="90"/>
                      <a:pt x="86" y="90"/>
                    </a:cubicBezTo>
                    <a:cubicBezTo>
                      <a:pt x="86" y="90"/>
                      <a:pt x="86" y="90"/>
                      <a:pt x="86" y="89"/>
                    </a:cubicBezTo>
                    <a:cubicBezTo>
                      <a:pt x="87" y="89"/>
                      <a:pt x="87" y="89"/>
                      <a:pt x="86" y="89"/>
                    </a:cubicBezTo>
                    <a:cubicBezTo>
                      <a:pt x="86" y="89"/>
                      <a:pt x="86" y="88"/>
                      <a:pt x="86" y="88"/>
                    </a:cubicBezTo>
                    <a:cubicBezTo>
                      <a:pt x="86" y="88"/>
                      <a:pt x="86" y="88"/>
                      <a:pt x="86" y="88"/>
                    </a:cubicBezTo>
                    <a:cubicBezTo>
                      <a:pt x="86" y="88"/>
                      <a:pt x="87" y="88"/>
                      <a:pt x="87" y="88"/>
                    </a:cubicBezTo>
                    <a:cubicBezTo>
                      <a:pt x="87" y="88"/>
                      <a:pt x="87" y="87"/>
                      <a:pt x="87" y="87"/>
                    </a:cubicBezTo>
                    <a:cubicBezTo>
                      <a:pt x="87" y="87"/>
                      <a:pt x="88" y="87"/>
                      <a:pt x="88" y="86"/>
                    </a:cubicBezTo>
                    <a:cubicBezTo>
                      <a:pt x="89" y="86"/>
                      <a:pt x="89" y="86"/>
                      <a:pt x="89" y="86"/>
                    </a:cubicBezTo>
                    <a:cubicBezTo>
                      <a:pt x="89" y="86"/>
                      <a:pt x="89" y="85"/>
                      <a:pt x="89" y="85"/>
                    </a:cubicBezTo>
                    <a:cubicBezTo>
                      <a:pt x="90" y="85"/>
                      <a:pt x="90" y="84"/>
                      <a:pt x="91" y="84"/>
                    </a:cubicBezTo>
                    <a:cubicBezTo>
                      <a:pt x="91" y="84"/>
                      <a:pt x="91" y="84"/>
                      <a:pt x="91" y="84"/>
                    </a:cubicBezTo>
                    <a:cubicBezTo>
                      <a:pt x="91" y="84"/>
                      <a:pt x="91" y="84"/>
                      <a:pt x="91" y="84"/>
                    </a:cubicBezTo>
                    <a:cubicBezTo>
                      <a:pt x="91" y="84"/>
                      <a:pt x="91" y="83"/>
                      <a:pt x="92" y="83"/>
                    </a:cubicBezTo>
                    <a:cubicBezTo>
                      <a:pt x="92" y="83"/>
                      <a:pt x="92" y="82"/>
                      <a:pt x="92" y="82"/>
                    </a:cubicBezTo>
                    <a:cubicBezTo>
                      <a:pt x="93" y="83"/>
                      <a:pt x="93" y="82"/>
                      <a:pt x="94" y="82"/>
                    </a:cubicBezTo>
                    <a:cubicBezTo>
                      <a:pt x="94" y="82"/>
                      <a:pt x="94" y="82"/>
                      <a:pt x="94" y="82"/>
                    </a:cubicBezTo>
                    <a:cubicBezTo>
                      <a:pt x="94" y="82"/>
                      <a:pt x="95" y="81"/>
                      <a:pt x="96" y="81"/>
                    </a:cubicBezTo>
                    <a:cubicBezTo>
                      <a:pt x="96" y="81"/>
                      <a:pt x="96" y="81"/>
                      <a:pt x="96" y="81"/>
                    </a:cubicBezTo>
                    <a:cubicBezTo>
                      <a:pt x="96" y="81"/>
                      <a:pt x="96" y="81"/>
                      <a:pt x="96" y="81"/>
                    </a:cubicBezTo>
                    <a:cubicBezTo>
                      <a:pt x="96" y="81"/>
                      <a:pt x="96" y="81"/>
                      <a:pt x="96" y="81"/>
                    </a:cubicBezTo>
                    <a:cubicBezTo>
                      <a:pt x="97" y="81"/>
                      <a:pt x="97" y="80"/>
                      <a:pt x="97" y="80"/>
                    </a:cubicBezTo>
                    <a:cubicBezTo>
                      <a:pt x="97" y="79"/>
                      <a:pt x="98" y="79"/>
                      <a:pt x="98" y="78"/>
                    </a:cubicBezTo>
                    <a:cubicBezTo>
                      <a:pt x="98" y="78"/>
                      <a:pt x="99" y="78"/>
                      <a:pt x="99" y="78"/>
                    </a:cubicBezTo>
                    <a:cubicBezTo>
                      <a:pt x="100" y="77"/>
                      <a:pt x="99" y="77"/>
                      <a:pt x="99" y="77"/>
                    </a:cubicBezTo>
                    <a:cubicBezTo>
                      <a:pt x="99" y="77"/>
                      <a:pt x="99" y="77"/>
                      <a:pt x="99" y="77"/>
                    </a:cubicBezTo>
                    <a:cubicBezTo>
                      <a:pt x="98" y="77"/>
                      <a:pt x="98" y="77"/>
                      <a:pt x="98" y="77"/>
                    </a:cubicBezTo>
                    <a:cubicBezTo>
                      <a:pt x="99" y="77"/>
                      <a:pt x="99" y="77"/>
                      <a:pt x="99" y="77"/>
                    </a:cubicBezTo>
                    <a:cubicBezTo>
                      <a:pt x="99" y="77"/>
                      <a:pt x="98" y="76"/>
                      <a:pt x="99" y="76"/>
                    </a:cubicBezTo>
                    <a:cubicBezTo>
                      <a:pt x="99" y="76"/>
                      <a:pt x="98" y="76"/>
                      <a:pt x="98" y="76"/>
                    </a:cubicBezTo>
                    <a:cubicBezTo>
                      <a:pt x="98" y="76"/>
                      <a:pt x="98" y="75"/>
                      <a:pt x="98" y="75"/>
                    </a:cubicBezTo>
                    <a:cubicBezTo>
                      <a:pt x="98" y="75"/>
                      <a:pt x="98" y="75"/>
                      <a:pt x="98" y="74"/>
                    </a:cubicBezTo>
                    <a:cubicBezTo>
                      <a:pt x="98" y="74"/>
                      <a:pt x="99" y="74"/>
                      <a:pt x="99" y="74"/>
                    </a:cubicBezTo>
                    <a:cubicBezTo>
                      <a:pt x="99" y="74"/>
                      <a:pt x="99" y="73"/>
                      <a:pt x="99" y="73"/>
                    </a:cubicBezTo>
                    <a:cubicBezTo>
                      <a:pt x="99" y="73"/>
                      <a:pt x="99" y="73"/>
                      <a:pt x="99" y="73"/>
                    </a:cubicBezTo>
                    <a:cubicBezTo>
                      <a:pt x="99" y="73"/>
                      <a:pt x="99" y="72"/>
                      <a:pt x="99" y="72"/>
                    </a:cubicBezTo>
                    <a:cubicBezTo>
                      <a:pt x="99" y="72"/>
                      <a:pt x="99" y="72"/>
                      <a:pt x="99" y="72"/>
                    </a:cubicBezTo>
                    <a:cubicBezTo>
                      <a:pt x="99" y="72"/>
                      <a:pt x="100" y="72"/>
                      <a:pt x="100" y="72"/>
                    </a:cubicBezTo>
                    <a:cubicBezTo>
                      <a:pt x="100" y="72"/>
                      <a:pt x="100" y="71"/>
                      <a:pt x="100" y="71"/>
                    </a:cubicBezTo>
                    <a:cubicBezTo>
                      <a:pt x="100" y="71"/>
                      <a:pt x="100" y="71"/>
                      <a:pt x="100" y="71"/>
                    </a:cubicBezTo>
                    <a:cubicBezTo>
                      <a:pt x="100" y="71"/>
                      <a:pt x="100" y="70"/>
                      <a:pt x="100" y="70"/>
                    </a:cubicBezTo>
                    <a:cubicBezTo>
                      <a:pt x="100" y="70"/>
                      <a:pt x="100" y="70"/>
                      <a:pt x="101" y="70"/>
                    </a:cubicBezTo>
                    <a:cubicBezTo>
                      <a:pt x="101" y="71"/>
                      <a:pt x="102" y="71"/>
                      <a:pt x="102" y="70"/>
                    </a:cubicBezTo>
                    <a:cubicBezTo>
                      <a:pt x="101" y="70"/>
                      <a:pt x="101" y="70"/>
                      <a:pt x="101" y="69"/>
                    </a:cubicBezTo>
                    <a:cubicBezTo>
                      <a:pt x="102" y="69"/>
                      <a:pt x="102" y="69"/>
                      <a:pt x="102" y="69"/>
                    </a:cubicBezTo>
                    <a:cubicBezTo>
                      <a:pt x="102" y="70"/>
                      <a:pt x="102" y="70"/>
                      <a:pt x="102" y="70"/>
                    </a:cubicBezTo>
                    <a:cubicBezTo>
                      <a:pt x="103" y="70"/>
                      <a:pt x="103" y="70"/>
                      <a:pt x="103" y="69"/>
                    </a:cubicBezTo>
                    <a:cubicBezTo>
                      <a:pt x="103" y="69"/>
                      <a:pt x="103" y="69"/>
                      <a:pt x="103" y="70"/>
                    </a:cubicBezTo>
                    <a:cubicBezTo>
                      <a:pt x="104" y="70"/>
                      <a:pt x="104" y="70"/>
                      <a:pt x="104" y="70"/>
                    </a:cubicBezTo>
                    <a:cubicBezTo>
                      <a:pt x="104" y="70"/>
                      <a:pt x="105" y="70"/>
                      <a:pt x="105" y="70"/>
                    </a:cubicBezTo>
                    <a:cubicBezTo>
                      <a:pt x="105" y="70"/>
                      <a:pt x="105" y="70"/>
                      <a:pt x="105" y="70"/>
                    </a:cubicBezTo>
                    <a:cubicBezTo>
                      <a:pt x="105" y="69"/>
                      <a:pt x="106" y="69"/>
                      <a:pt x="106" y="70"/>
                    </a:cubicBezTo>
                    <a:cubicBezTo>
                      <a:pt x="106" y="70"/>
                      <a:pt x="107" y="70"/>
                      <a:pt x="107" y="70"/>
                    </a:cubicBezTo>
                    <a:cubicBezTo>
                      <a:pt x="107" y="70"/>
                      <a:pt x="107" y="70"/>
                      <a:pt x="107" y="70"/>
                    </a:cubicBezTo>
                    <a:cubicBezTo>
                      <a:pt x="106" y="68"/>
                      <a:pt x="106" y="68"/>
                      <a:pt x="106" y="68"/>
                    </a:cubicBezTo>
                    <a:cubicBezTo>
                      <a:pt x="107" y="70"/>
                      <a:pt x="107" y="70"/>
                      <a:pt x="107" y="70"/>
                    </a:cubicBezTo>
                    <a:cubicBezTo>
                      <a:pt x="108" y="70"/>
                      <a:pt x="108" y="70"/>
                      <a:pt x="108" y="70"/>
                    </a:cubicBezTo>
                    <a:cubicBezTo>
                      <a:pt x="109" y="70"/>
                      <a:pt x="109" y="70"/>
                      <a:pt x="109" y="70"/>
                    </a:cubicBezTo>
                    <a:cubicBezTo>
                      <a:pt x="109" y="70"/>
                      <a:pt x="109" y="70"/>
                      <a:pt x="109" y="70"/>
                    </a:cubicBezTo>
                    <a:cubicBezTo>
                      <a:pt x="109" y="70"/>
                      <a:pt x="110" y="71"/>
                      <a:pt x="110" y="71"/>
                    </a:cubicBezTo>
                    <a:cubicBezTo>
                      <a:pt x="111" y="71"/>
                      <a:pt x="111" y="72"/>
                      <a:pt x="111" y="72"/>
                    </a:cubicBezTo>
                    <a:cubicBezTo>
                      <a:pt x="111" y="72"/>
                      <a:pt x="111" y="73"/>
                      <a:pt x="111" y="73"/>
                    </a:cubicBezTo>
                    <a:cubicBezTo>
                      <a:pt x="111" y="73"/>
                      <a:pt x="111" y="74"/>
                      <a:pt x="111" y="74"/>
                    </a:cubicBezTo>
                    <a:cubicBezTo>
                      <a:pt x="112" y="74"/>
                      <a:pt x="112" y="74"/>
                      <a:pt x="111" y="74"/>
                    </a:cubicBezTo>
                    <a:cubicBezTo>
                      <a:pt x="111" y="74"/>
                      <a:pt x="111" y="75"/>
                      <a:pt x="111" y="75"/>
                    </a:cubicBezTo>
                    <a:cubicBezTo>
                      <a:pt x="111" y="75"/>
                      <a:pt x="111" y="75"/>
                      <a:pt x="111" y="75"/>
                    </a:cubicBezTo>
                    <a:cubicBezTo>
                      <a:pt x="111" y="75"/>
                      <a:pt x="111" y="75"/>
                      <a:pt x="111" y="75"/>
                    </a:cubicBezTo>
                    <a:cubicBezTo>
                      <a:pt x="110" y="75"/>
                      <a:pt x="110" y="75"/>
                      <a:pt x="110" y="75"/>
                    </a:cubicBezTo>
                    <a:cubicBezTo>
                      <a:pt x="109" y="75"/>
                      <a:pt x="109" y="75"/>
                      <a:pt x="109" y="75"/>
                    </a:cubicBezTo>
                    <a:cubicBezTo>
                      <a:pt x="109" y="75"/>
                      <a:pt x="109" y="76"/>
                      <a:pt x="108" y="76"/>
                    </a:cubicBezTo>
                    <a:cubicBezTo>
                      <a:pt x="108" y="77"/>
                      <a:pt x="108" y="77"/>
                      <a:pt x="107" y="77"/>
                    </a:cubicBezTo>
                    <a:cubicBezTo>
                      <a:pt x="107" y="77"/>
                      <a:pt x="107" y="78"/>
                      <a:pt x="107" y="78"/>
                    </a:cubicBezTo>
                    <a:cubicBezTo>
                      <a:pt x="107" y="78"/>
                      <a:pt x="107" y="78"/>
                      <a:pt x="107" y="78"/>
                    </a:cubicBezTo>
                    <a:cubicBezTo>
                      <a:pt x="107" y="78"/>
                      <a:pt x="106" y="78"/>
                      <a:pt x="106" y="79"/>
                    </a:cubicBezTo>
                    <a:cubicBezTo>
                      <a:pt x="106" y="79"/>
                      <a:pt x="106" y="79"/>
                      <a:pt x="106" y="79"/>
                    </a:cubicBezTo>
                    <a:cubicBezTo>
                      <a:pt x="106" y="79"/>
                      <a:pt x="105" y="79"/>
                      <a:pt x="105" y="79"/>
                    </a:cubicBezTo>
                    <a:cubicBezTo>
                      <a:pt x="105" y="79"/>
                      <a:pt x="105" y="79"/>
                      <a:pt x="105" y="79"/>
                    </a:cubicBezTo>
                    <a:cubicBezTo>
                      <a:pt x="105" y="79"/>
                      <a:pt x="105" y="79"/>
                      <a:pt x="105" y="79"/>
                    </a:cubicBezTo>
                    <a:cubicBezTo>
                      <a:pt x="105" y="80"/>
                      <a:pt x="105" y="80"/>
                      <a:pt x="104" y="80"/>
                    </a:cubicBezTo>
                    <a:cubicBezTo>
                      <a:pt x="104" y="80"/>
                      <a:pt x="104" y="80"/>
                      <a:pt x="104" y="80"/>
                    </a:cubicBezTo>
                    <a:cubicBezTo>
                      <a:pt x="104" y="80"/>
                      <a:pt x="104" y="80"/>
                      <a:pt x="104" y="80"/>
                    </a:cubicBezTo>
                    <a:cubicBezTo>
                      <a:pt x="104" y="80"/>
                      <a:pt x="103" y="81"/>
                      <a:pt x="103" y="81"/>
                    </a:cubicBezTo>
                    <a:cubicBezTo>
                      <a:pt x="103" y="81"/>
                      <a:pt x="103" y="81"/>
                      <a:pt x="103" y="81"/>
                    </a:cubicBezTo>
                    <a:cubicBezTo>
                      <a:pt x="103" y="81"/>
                      <a:pt x="103" y="81"/>
                      <a:pt x="103" y="81"/>
                    </a:cubicBezTo>
                    <a:cubicBezTo>
                      <a:pt x="102" y="81"/>
                      <a:pt x="102" y="81"/>
                      <a:pt x="102" y="82"/>
                    </a:cubicBezTo>
                    <a:cubicBezTo>
                      <a:pt x="102" y="82"/>
                      <a:pt x="102" y="82"/>
                      <a:pt x="102" y="82"/>
                    </a:cubicBezTo>
                    <a:cubicBezTo>
                      <a:pt x="102" y="82"/>
                      <a:pt x="102" y="82"/>
                      <a:pt x="101" y="82"/>
                    </a:cubicBezTo>
                    <a:cubicBezTo>
                      <a:pt x="101" y="82"/>
                      <a:pt x="101" y="83"/>
                      <a:pt x="101" y="83"/>
                    </a:cubicBezTo>
                    <a:cubicBezTo>
                      <a:pt x="101" y="83"/>
                      <a:pt x="101" y="84"/>
                      <a:pt x="101" y="84"/>
                    </a:cubicBezTo>
                    <a:cubicBezTo>
                      <a:pt x="101" y="84"/>
                      <a:pt x="101" y="84"/>
                      <a:pt x="101" y="84"/>
                    </a:cubicBezTo>
                    <a:cubicBezTo>
                      <a:pt x="100" y="84"/>
                      <a:pt x="100" y="84"/>
                      <a:pt x="100" y="84"/>
                    </a:cubicBezTo>
                    <a:cubicBezTo>
                      <a:pt x="100" y="84"/>
                      <a:pt x="100" y="84"/>
                      <a:pt x="100" y="84"/>
                    </a:cubicBezTo>
                    <a:cubicBezTo>
                      <a:pt x="100" y="84"/>
                      <a:pt x="99" y="84"/>
                      <a:pt x="100" y="84"/>
                    </a:cubicBezTo>
                    <a:cubicBezTo>
                      <a:pt x="100" y="85"/>
                      <a:pt x="100" y="85"/>
                      <a:pt x="99" y="85"/>
                    </a:cubicBezTo>
                    <a:cubicBezTo>
                      <a:pt x="99" y="85"/>
                      <a:pt x="99" y="85"/>
                      <a:pt x="99" y="85"/>
                    </a:cubicBezTo>
                    <a:cubicBezTo>
                      <a:pt x="99" y="85"/>
                      <a:pt x="99" y="85"/>
                      <a:pt x="99" y="85"/>
                    </a:cubicBezTo>
                    <a:cubicBezTo>
                      <a:pt x="98" y="85"/>
                      <a:pt x="98" y="86"/>
                      <a:pt x="98" y="86"/>
                    </a:cubicBezTo>
                    <a:cubicBezTo>
                      <a:pt x="98" y="86"/>
                      <a:pt x="98" y="87"/>
                      <a:pt x="98" y="87"/>
                    </a:cubicBezTo>
                    <a:cubicBezTo>
                      <a:pt x="98" y="87"/>
                      <a:pt x="98" y="87"/>
                      <a:pt x="98" y="88"/>
                    </a:cubicBezTo>
                    <a:cubicBezTo>
                      <a:pt x="98" y="88"/>
                      <a:pt x="98" y="88"/>
                      <a:pt x="98" y="88"/>
                    </a:cubicBezTo>
                    <a:cubicBezTo>
                      <a:pt x="98" y="88"/>
                      <a:pt x="98" y="89"/>
                      <a:pt x="98" y="89"/>
                    </a:cubicBezTo>
                    <a:cubicBezTo>
                      <a:pt x="98" y="89"/>
                      <a:pt x="98" y="89"/>
                      <a:pt x="98" y="90"/>
                    </a:cubicBezTo>
                    <a:cubicBezTo>
                      <a:pt x="98" y="90"/>
                      <a:pt x="98" y="90"/>
                      <a:pt x="98" y="90"/>
                    </a:cubicBezTo>
                    <a:cubicBezTo>
                      <a:pt x="98" y="90"/>
                      <a:pt x="99" y="91"/>
                      <a:pt x="99" y="91"/>
                    </a:cubicBezTo>
                    <a:cubicBezTo>
                      <a:pt x="99" y="91"/>
                      <a:pt x="99" y="91"/>
                      <a:pt x="99" y="92"/>
                    </a:cubicBezTo>
                    <a:cubicBezTo>
                      <a:pt x="99" y="92"/>
                      <a:pt x="99" y="92"/>
                      <a:pt x="99" y="93"/>
                    </a:cubicBezTo>
                    <a:cubicBezTo>
                      <a:pt x="99" y="93"/>
                      <a:pt x="99" y="93"/>
                      <a:pt x="99" y="93"/>
                    </a:cubicBezTo>
                    <a:cubicBezTo>
                      <a:pt x="99" y="93"/>
                      <a:pt x="99" y="93"/>
                      <a:pt x="99" y="93"/>
                    </a:cubicBezTo>
                    <a:cubicBezTo>
                      <a:pt x="99" y="93"/>
                      <a:pt x="99" y="94"/>
                      <a:pt x="99" y="94"/>
                    </a:cubicBezTo>
                    <a:cubicBezTo>
                      <a:pt x="99" y="94"/>
                      <a:pt x="99" y="94"/>
                      <a:pt x="99" y="94"/>
                    </a:cubicBezTo>
                    <a:cubicBezTo>
                      <a:pt x="99" y="94"/>
                      <a:pt x="99" y="95"/>
                      <a:pt x="99" y="95"/>
                    </a:cubicBezTo>
                    <a:cubicBezTo>
                      <a:pt x="99" y="95"/>
                      <a:pt x="99" y="95"/>
                      <a:pt x="99" y="95"/>
                    </a:cubicBezTo>
                    <a:cubicBezTo>
                      <a:pt x="99" y="95"/>
                      <a:pt x="99" y="95"/>
                      <a:pt x="99" y="95"/>
                    </a:cubicBezTo>
                    <a:cubicBezTo>
                      <a:pt x="98" y="95"/>
                      <a:pt x="98" y="96"/>
                      <a:pt x="98" y="96"/>
                    </a:cubicBezTo>
                    <a:cubicBezTo>
                      <a:pt x="98" y="96"/>
                      <a:pt x="99" y="96"/>
                      <a:pt x="99" y="96"/>
                    </a:cubicBezTo>
                    <a:cubicBezTo>
                      <a:pt x="99" y="97"/>
                      <a:pt x="99" y="97"/>
                      <a:pt x="99" y="97"/>
                    </a:cubicBezTo>
                    <a:cubicBezTo>
                      <a:pt x="98" y="97"/>
                      <a:pt x="98" y="97"/>
                      <a:pt x="99" y="97"/>
                    </a:cubicBezTo>
                    <a:cubicBezTo>
                      <a:pt x="99" y="97"/>
                      <a:pt x="99" y="98"/>
                      <a:pt x="99" y="98"/>
                    </a:cubicBezTo>
                    <a:cubicBezTo>
                      <a:pt x="99" y="98"/>
                      <a:pt x="99" y="98"/>
                      <a:pt x="100" y="98"/>
                    </a:cubicBezTo>
                    <a:cubicBezTo>
                      <a:pt x="100" y="97"/>
                      <a:pt x="100" y="97"/>
                      <a:pt x="100" y="97"/>
                    </a:cubicBezTo>
                    <a:cubicBezTo>
                      <a:pt x="100" y="98"/>
                      <a:pt x="100" y="98"/>
                      <a:pt x="101" y="98"/>
                    </a:cubicBezTo>
                    <a:cubicBezTo>
                      <a:pt x="101" y="98"/>
                      <a:pt x="101" y="99"/>
                      <a:pt x="102" y="99"/>
                    </a:cubicBezTo>
                    <a:cubicBezTo>
                      <a:pt x="102" y="99"/>
                      <a:pt x="102" y="99"/>
                      <a:pt x="102" y="99"/>
                    </a:cubicBezTo>
                    <a:cubicBezTo>
                      <a:pt x="102" y="99"/>
                      <a:pt x="102" y="100"/>
                      <a:pt x="102" y="100"/>
                    </a:cubicBezTo>
                    <a:cubicBezTo>
                      <a:pt x="102" y="100"/>
                      <a:pt x="103" y="100"/>
                      <a:pt x="103" y="100"/>
                    </a:cubicBezTo>
                    <a:cubicBezTo>
                      <a:pt x="103" y="100"/>
                      <a:pt x="104" y="100"/>
                      <a:pt x="104" y="100"/>
                    </a:cubicBezTo>
                    <a:cubicBezTo>
                      <a:pt x="104" y="100"/>
                      <a:pt x="104" y="101"/>
                      <a:pt x="104" y="101"/>
                    </a:cubicBezTo>
                    <a:cubicBezTo>
                      <a:pt x="104" y="101"/>
                      <a:pt x="104" y="101"/>
                      <a:pt x="104" y="101"/>
                    </a:cubicBezTo>
                    <a:cubicBezTo>
                      <a:pt x="105" y="101"/>
                      <a:pt x="105" y="101"/>
                      <a:pt x="105" y="101"/>
                    </a:cubicBezTo>
                    <a:cubicBezTo>
                      <a:pt x="105" y="101"/>
                      <a:pt x="106" y="101"/>
                      <a:pt x="106" y="101"/>
                    </a:cubicBezTo>
                    <a:cubicBezTo>
                      <a:pt x="107" y="101"/>
                      <a:pt x="107" y="100"/>
                      <a:pt x="107" y="100"/>
                    </a:cubicBezTo>
                    <a:cubicBezTo>
                      <a:pt x="108" y="100"/>
                      <a:pt x="108" y="100"/>
                      <a:pt x="108" y="100"/>
                    </a:cubicBezTo>
                    <a:cubicBezTo>
                      <a:pt x="108" y="100"/>
                      <a:pt x="108" y="100"/>
                      <a:pt x="109" y="100"/>
                    </a:cubicBezTo>
                    <a:cubicBezTo>
                      <a:pt x="109" y="100"/>
                      <a:pt x="109" y="100"/>
                      <a:pt x="109" y="100"/>
                    </a:cubicBezTo>
                    <a:cubicBezTo>
                      <a:pt x="109" y="100"/>
                      <a:pt x="110" y="100"/>
                      <a:pt x="110" y="100"/>
                    </a:cubicBezTo>
                    <a:cubicBezTo>
                      <a:pt x="110" y="100"/>
                      <a:pt x="110" y="100"/>
                      <a:pt x="110" y="100"/>
                    </a:cubicBezTo>
                    <a:cubicBezTo>
                      <a:pt x="111" y="100"/>
                      <a:pt x="111" y="99"/>
                      <a:pt x="111" y="99"/>
                    </a:cubicBezTo>
                    <a:cubicBezTo>
                      <a:pt x="111" y="99"/>
                      <a:pt x="111" y="99"/>
                      <a:pt x="111" y="99"/>
                    </a:cubicBezTo>
                    <a:cubicBezTo>
                      <a:pt x="111" y="99"/>
                      <a:pt x="112" y="99"/>
                      <a:pt x="112" y="99"/>
                    </a:cubicBezTo>
                    <a:cubicBezTo>
                      <a:pt x="112" y="99"/>
                      <a:pt x="112" y="99"/>
                      <a:pt x="112" y="99"/>
                    </a:cubicBezTo>
                    <a:cubicBezTo>
                      <a:pt x="112" y="99"/>
                      <a:pt x="113" y="99"/>
                      <a:pt x="113" y="99"/>
                    </a:cubicBezTo>
                    <a:cubicBezTo>
                      <a:pt x="113" y="98"/>
                      <a:pt x="113" y="98"/>
                      <a:pt x="113" y="98"/>
                    </a:cubicBezTo>
                    <a:cubicBezTo>
                      <a:pt x="113" y="99"/>
                      <a:pt x="113" y="98"/>
                      <a:pt x="113" y="98"/>
                    </a:cubicBezTo>
                    <a:cubicBezTo>
                      <a:pt x="113" y="98"/>
                      <a:pt x="114" y="98"/>
                      <a:pt x="114" y="98"/>
                    </a:cubicBezTo>
                    <a:cubicBezTo>
                      <a:pt x="114" y="98"/>
                      <a:pt x="115" y="98"/>
                      <a:pt x="115" y="98"/>
                    </a:cubicBezTo>
                    <a:cubicBezTo>
                      <a:pt x="115" y="98"/>
                      <a:pt x="115" y="98"/>
                      <a:pt x="115" y="98"/>
                    </a:cubicBezTo>
                    <a:cubicBezTo>
                      <a:pt x="115" y="98"/>
                      <a:pt x="115" y="98"/>
                      <a:pt x="116" y="98"/>
                    </a:cubicBezTo>
                    <a:cubicBezTo>
                      <a:pt x="116" y="98"/>
                      <a:pt x="117" y="98"/>
                      <a:pt x="117" y="98"/>
                    </a:cubicBezTo>
                    <a:cubicBezTo>
                      <a:pt x="117" y="98"/>
                      <a:pt x="117" y="98"/>
                      <a:pt x="117" y="98"/>
                    </a:cubicBezTo>
                    <a:cubicBezTo>
                      <a:pt x="117" y="98"/>
                      <a:pt x="118" y="98"/>
                      <a:pt x="118" y="98"/>
                    </a:cubicBezTo>
                    <a:cubicBezTo>
                      <a:pt x="118" y="98"/>
                      <a:pt x="118" y="98"/>
                      <a:pt x="119" y="98"/>
                    </a:cubicBezTo>
                    <a:cubicBezTo>
                      <a:pt x="119" y="98"/>
                      <a:pt x="119" y="98"/>
                      <a:pt x="119" y="98"/>
                    </a:cubicBezTo>
                    <a:cubicBezTo>
                      <a:pt x="119" y="98"/>
                      <a:pt x="119" y="98"/>
                      <a:pt x="119" y="98"/>
                    </a:cubicBezTo>
                    <a:cubicBezTo>
                      <a:pt x="119" y="98"/>
                      <a:pt x="120" y="98"/>
                      <a:pt x="120" y="98"/>
                    </a:cubicBezTo>
                    <a:cubicBezTo>
                      <a:pt x="120" y="98"/>
                      <a:pt x="121" y="98"/>
                      <a:pt x="121" y="97"/>
                    </a:cubicBezTo>
                    <a:cubicBezTo>
                      <a:pt x="121" y="97"/>
                      <a:pt x="121" y="97"/>
                      <a:pt x="121" y="97"/>
                    </a:cubicBezTo>
                    <a:cubicBezTo>
                      <a:pt x="121" y="97"/>
                      <a:pt x="122" y="97"/>
                      <a:pt x="122" y="97"/>
                    </a:cubicBezTo>
                    <a:cubicBezTo>
                      <a:pt x="122" y="97"/>
                      <a:pt x="122" y="97"/>
                      <a:pt x="122" y="97"/>
                    </a:cubicBezTo>
                    <a:cubicBezTo>
                      <a:pt x="122" y="98"/>
                      <a:pt x="122" y="98"/>
                      <a:pt x="122" y="98"/>
                    </a:cubicBezTo>
                    <a:cubicBezTo>
                      <a:pt x="121" y="98"/>
                      <a:pt x="121" y="98"/>
                      <a:pt x="121" y="98"/>
                    </a:cubicBezTo>
                    <a:cubicBezTo>
                      <a:pt x="122" y="98"/>
                      <a:pt x="122" y="99"/>
                      <a:pt x="122" y="99"/>
                    </a:cubicBezTo>
                    <a:cubicBezTo>
                      <a:pt x="122" y="99"/>
                      <a:pt x="122" y="99"/>
                      <a:pt x="122" y="99"/>
                    </a:cubicBezTo>
                    <a:cubicBezTo>
                      <a:pt x="122" y="99"/>
                      <a:pt x="123" y="99"/>
                      <a:pt x="123" y="99"/>
                    </a:cubicBezTo>
                    <a:cubicBezTo>
                      <a:pt x="123" y="99"/>
                      <a:pt x="124" y="100"/>
                      <a:pt x="124" y="100"/>
                    </a:cubicBezTo>
                    <a:cubicBezTo>
                      <a:pt x="124" y="99"/>
                      <a:pt x="125" y="100"/>
                      <a:pt x="125" y="100"/>
                    </a:cubicBezTo>
                    <a:cubicBezTo>
                      <a:pt x="125" y="100"/>
                      <a:pt x="126" y="100"/>
                      <a:pt x="126" y="100"/>
                    </a:cubicBezTo>
                    <a:cubicBezTo>
                      <a:pt x="126" y="100"/>
                      <a:pt x="126" y="100"/>
                      <a:pt x="127" y="101"/>
                    </a:cubicBezTo>
                    <a:cubicBezTo>
                      <a:pt x="127" y="101"/>
                      <a:pt x="127" y="101"/>
                      <a:pt x="127" y="101"/>
                    </a:cubicBezTo>
                    <a:cubicBezTo>
                      <a:pt x="127" y="101"/>
                      <a:pt x="126" y="101"/>
                      <a:pt x="126" y="101"/>
                    </a:cubicBezTo>
                    <a:cubicBezTo>
                      <a:pt x="125" y="101"/>
                      <a:pt x="125" y="101"/>
                      <a:pt x="124" y="101"/>
                    </a:cubicBezTo>
                    <a:cubicBezTo>
                      <a:pt x="123" y="101"/>
                      <a:pt x="123" y="101"/>
                      <a:pt x="123" y="101"/>
                    </a:cubicBezTo>
                    <a:cubicBezTo>
                      <a:pt x="123" y="101"/>
                      <a:pt x="123" y="101"/>
                      <a:pt x="123" y="101"/>
                    </a:cubicBezTo>
                    <a:cubicBezTo>
                      <a:pt x="123" y="101"/>
                      <a:pt x="123" y="101"/>
                      <a:pt x="123" y="101"/>
                    </a:cubicBezTo>
                    <a:cubicBezTo>
                      <a:pt x="123" y="101"/>
                      <a:pt x="123" y="102"/>
                      <a:pt x="122" y="102"/>
                    </a:cubicBezTo>
                    <a:cubicBezTo>
                      <a:pt x="122" y="102"/>
                      <a:pt x="122" y="102"/>
                      <a:pt x="122" y="102"/>
                    </a:cubicBezTo>
                    <a:cubicBezTo>
                      <a:pt x="122" y="102"/>
                      <a:pt x="122" y="102"/>
                      <a:pt x="122" y="102"/>
                    </a:cubicBezTo>
                    <a:cubicBezTo>
                      <a:pt x="122" y="101"/>
                      <a:pt x="122" y="101"/>
                      <a:pt x="121" y="102"/>
                    </a:cubicBezTo>
                    <a:cubicBezTo>
                      <a:pt x="121" y="102"/>
                      <a:pt x="121" y="102"/>
                      <a:pt x="121" y="102"/>
                    </a:cubicBezTo>
                    <a:cubicBezTo>
                      <a:pt x="121" y="102"/>
                      <a:pt x="121" y="102"/>
                      <a:pt x="121" y="102"/>
                    </a:cubicBezTo>
                    <a:cubicBezTo>
                      <a:pt x="120" y="102"/>
                      <a:pt x="120" y="102"/>
                      <a:pt x="120" y="102"/>
                    </a:cubicBezTo>
                    <a:cubicBezTo>
                      <a:pt x="120" y="102"/>
                      <a:pt x="120" y="102"/>
                      <a:pt x="120" y="102"/>
                    </a:cubicBezTo>
                    <a:cubicBezTo>
                      <a:pt x="120" y="102"/>
                      <a:pt x="120" y="102"/>
                      <a:pt x="120" y="102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20" y="103"/>
                      <a:pt x="120" y="103"/>
                      <a:pt x="119" y="104"/>
                    </a:cubicBezTo>
                    <a:cubicBezTo>
                      <a:pt x="119" y="104"/>
                      <a:pt x="119" y="104"/>
                      <a:pt x="119" y="104"/>
                    </a:cubicBezTo>
                    <a:cubicBezTo>
                      <a:pt x="119" y="105"/>
                      <a:pt x="119" y="105"/>
                      <a:pt x="119" y="105"/>
                    </a:cubicBezTo>
                    <a:cubicBezTo>
                      <a:pt x="119" y="105"/>
                      <a:pt x="119" y="105"/>
                      <a:pt x="119" y="105"/>
                    </a:cubicBezTo>
                    <a:cubicBezTo>
                      <a:pt x="119" y="104"/>
                      <a:pt x="119" y="104"/>
                      <a:pt x="119" y="104"/>
                    </a:cubicBezTo>
                    <a:cubicBezTo>
                      <a:pt x="119" y="104"/>
                      <a:pt x="117" y="103"/>
                      <a:pt x="116" y="103"/>
                    </a:cubicBezTo>
                    <a:cubicBezTo>
                      <a:pt x="116" y="103"/>
                      <a:pt x="116" y="103"/>
                      <a:pt x="116" y="103"/>
                    </a:cubicBezTo>
                    <a:cubicBezTo>
                      <a:pt x="116" y="103"/>
                      <a:pt x="116" y="103"/>
                      <a:pt x="116" y="103"/>
                    </a:cubicBezTo>
                    <a:cubicBezTo>
                      <a:pt x="116" y="103"/>
                      <a:pt x="115" y="103"/>
                      <a:pt x="115" y="103"/>
                    </a:cubicBezTo>
                    <a:cubicBezTo>
                      <a:pt x="115" y="103"/>
                      <a:pt x="114" y="103"/>
                      <a:pt x="114" y="103"/>
                    </a:cubicBezTo>
                    <a:cubicBezTo>
                      <a:pt x="114" y="103"/>
                      <a:pt x="114" y="102"/>
                      <a:pt x="113" y="102"/>
                    </a:cubicBezTo>
                    <a:cubicBezTo>
                      <a:pt x="113" y="102"/>
                      <a:pt x="113" y="102"/>
                      <a:pt x="113" y="102"/>
                    </a:cubicBezTo>
                    <a:cubicBezTo>
                      <a:pt x="113" y="102"/>
                      <a:pt x="113" y="102"/>
                      <a:pt x="113" y="102"/>
                    </a:cubicBezTo>
                    <a:cubicBezTo>
                      <a:pt x="113" y="102"/>
                      <a:pt x="112" y="102"/>
                      <a:pt x="112" y="102"/>
                    </a:cubicBezTo>
                    <a:cubicBezTo>
                      <a:pt x="112" y="102"/>
                      <a:pt x="112" y="102"/>
                      <a:pt x="112" y="102"/>
                    </a:cubicBezTo>
                    <a:cubicBezTo>
                      <a:pt x="112" y="102"/>
                      <a:pt x="112" y="103"/>
                      <a:pt x="112" y="103"/>
                    </a:cubicBezTo>
                    <a:cubicBezTo>
                      <a:pt x="112" y="103"/>
                      <a:pt x="112" y="103"/>
                      <a:pt x="111" y="103"/>
                    </a:cubicBezTo>
                    <a:cubicBezTo>
                      <a:pt x="111" y="103"/>
                      <a:pt x="111" y="103"/>
                      <a:pt x="111" y="103"/>
                    </a:cubicBezTo>
                    <a:cubicBezTo>
                      <a:pt x="110" y="103"/>
                      <a:pt x="110" y="103"/>
                      <a:pt x="110" y="103"/>
                    </a:cubicBezTo>
                    <a:cubicBezTo>
                      <a:pt x="110" y="103"/>
                      <a:pt x="110" y="103"/>
                      <a:pt x="110" y="103"/>
                    </a:cubicBezTo>
                    <a:cubicBezTo>
                      <a:pt x="109" y="103"/>
                      <a:pt x="109" y="103"/>
                      <a:pt x="109" y="103"/>
                    </a:cubicBezTo>
                    <a:cubicBezTo>
                      <a:pt x="109" y="103"/>
                      <a:pt x="109" y="103"/>
                      <a:pt x="109" y="103"/>
                    </a:cubicBezTo>
                    <a:cubicBezTo>
                      <a:pt x="108" y="103"/>
                      <a:pt x="108" y="103"/>
                      <a:pt x="108" y="104"/>
                    </a:cubicBezTo>
                    <a:cubicBezTo>
                      <a:pt x="108" y="104"/>
                      <a:pt x="108" y="104"/>
                      <a:pt x="108" y="104"/>
                    </a:cubicBezTo>
                    <a:cubicBezTo>
                      <a:pt x="108" y="104"/>
                      <a:pt x="107" y="104"/>
                      <a:pt x="107" y="104"/>
                    </a:cubicBezTo>
                    <a:cubicBezTo>
                      <a:pt x="107" y="104"/>
                      <a:pt x="107" y="104"/>
                      <a:pt x="107" y="104"/>
                    </a:cubicBezTo>
                    <a:cubicBezTo>
                      <a:pt x="107" y="104"/>
                      <a:pt x="107" y="104"/>
                      <a:pt x="106" y="104"/>
                    </a:cubicBezTo>
                    <a:cubicBezTo>
                      <a:pt x="106" y="104"/>
                      <a:pt x="105" y="105"/>
                      <a:pt x="105" y="105"/>
                    </a:cubicBezTo>
                    <a:cubicBezTo>
                      <a:pt x="105" y="105"/>
                      <a:pt x="106" y="105"/>
                      <a:pt x="106" y="106"/>
                    </a:cubicBezTo>
                    <a:cubicBezTo>
                      <a:pt x="106" y="106"/>
                      <a:pt x="106" y="106"/>
                      <a:pt x="106" y="106"/>
                    </a:cubicBezTo>
                    <a:cubicBezTo>
                      <a:pt x="105" y="106"/>
                      <a:pt x="105" y="107"/>
                      <a:pt x="106" y="106"/>
                    </a:cubicBezTo>
                    <a:cubicBezTo>
                      <a:pt x="106" y="106"/>
                      <a:pt x="106" y="107"/>
                      <a:pt x="106" y="107"/>
                    </a:cubicBezTo>
                    <a:cubicBezTo>
                      <a:pt x="106" y="107"/>
                      <a:pt x="106" y="107"/>
                      <a:pt x="106" y="107"/>
                    </a:cubicBezTo>
                    <a:cubicBezTo>
                      <a:pt x="106" y="107"/>
                      <a:pt x="106" y="107"/>
                      <a:pt x="105" y="108"/>
                    </a:cubicBezTo>
                    <a:cubicBezTo>
                      <a:pt x="105" y="108"/>
                      <a:pt x="106" y="108"/>
                      <a:pt x="106" y="108"/>
                    </a:cubicBezTo>
                    <a:cubicBezTo>
                      <a:pt x="106" y="108"/>
                      <a:pt x="106" y="108"/>
                      <a:pt x="106" y="108"/>
                    </a:cubicBezTo>
                    <a:cubicBezTo>
                      <a:pt x="106" y="109"/>
                      <a:pt x="106" y="109"/>
                      <a:pt x="106" y="109"/>
                    </a:cubicBezTo>
                    <a:cubicBezTo>
                      <a:pt x="106" y="109"/>
                      <a:pt x="106" y="109"/>
                      <a:pt x="107" y="109"/>
                    </a:cubicBezTo>
                    <a:cubicBezTo>
                      <a:pt x="107" y="109"/>
                      <a:pt x="107" y="109"/>
                      <a:pt x="107" y="109"/>
                    </a:cubicBezTo>
                    <a:cubicBezTo>
                      <a:pt x="107" y="109"/>
                      <a:pt x="107" y="109"/>
                      <a:pt x="107" y="109"/>
                    </a:cubicBezTo>
                    <a:cubicBezTo>
                      <a:pt x="107" y="109"/>
                      <a:pt x="108" y="109"/>
                      <a:pt x="108" y="109"/>
                    </a:cubicBezTo>
                    <a:cubicBezTo>
                      <a:pt x="108" y="109"/>
                      <a:pt x="108" y="109"/>
                      <a:pt x="108" y="109"/>
                    </a:cubicBezTo>
                    <a:cubicBezTo>
                      <a:pt x="108" y="109"/>
                      <a:pt x="108" y="109"/>
                      <a:pt x="109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9" y="109"/>
                      <a:pt x="109" y="110"/>
                      <a:pt x="109" y="110"/>
                    </a:cubicBezTo>
                    <a:cubicBezTo>
                      <a:pt x="109" y="110"/>
                      <a:pt x="108" y="111"/>
                      <a:pt x="108" y="111"/>
                    </a:cubicBezTo>
                    <a:cubicBezTo>
                      <a:pt x="108" y="111"/>
                      <a:pt x="108" y="111"/>
                      <a:pt x="108" y="111"/>
                    </a:cubicBezTo>
                    <a:cubicBezTo>
                      <a:pt x="109" y="111"/>
                      <a:pt x="109" y="111"/>
                      <a:pt x="109" y="111"/>
                    </a:cubicBezTo>
                    <a:cubicBezTo>
                      <a:pt x="108" y="111"/>
                      <a:pt x="108" y="111"/>
                      <a:pt x="108" y="111"/>
                    </a:cubicBezTo>
                    <a:cubicBezTo>
                      <a:pt x="108" y="111"/>
                      <a:pt x="108" y="112"/>
                      <a:pt x="108" y="112"/>
                    </a:cubicBezTo>
                    <a:cubicBezTo>
                      <a:pt x="108" y="112"/>
                      <a:pt x="108" y="113"/>
                      <a:pt x="108" y="113"/>
                    </a:cubicBezTo>
                    <a:cubicBezTo>
                      <a:pt x="108" y="113"/>
                      <a:pt x="108" y="114"/>
                      <a:pt x="108" y="114"/>
                    </a:cubicBezTo>
                    <a:cubicBezTo>
                      <a:pt x="108" y="114"/>
                      <a:pt x="108" y="114"/>
                      <a:pt x="108" y="115"/>
                    </a:cubicBezTo>
                    <a:cubicBezTo>
                      <a:pt x="108" y="115"/>
                      <a:pt x="108" y="115"/>
                      <a:pt x="108" y="115"/>
                    </a:cubicBezTo>
                    <a:cubicBezTo>
                      <a:pt x="107" y="115"/>
                      <a:pt x="107" y="116"/>
                      <a:pt x="106" y="116"/>
                    </a:cubicBezTo>
                    <a:cubicBezTo>
                      <a:pt x="106" y="116"/>
                      <a:pt x="106" y="116"/>
                      <a:pt x="106" y="116"/>
                    </a:cubicBezTo>
                    <a:cubicBezTo>
                      <a:pt x="106" y="116"/>
                      <a:pt x="106" y="116"/>
                      <a:pt x="106" y="116"/>
                    </a:cubicBezTo>
                    <a:cubicBezTo>
                      <a:pt x="105" y="116"/>
                      <a:pt x="105" y="115"/>
                      <a:pt x="105" y="115"/>
                    </a:cubicBezTo>
                    <a:cubicBezTo>
                      <a:pt x="104" y="115"/>
                      <a:pt x="104" y="114"/>
                      <a:pt x="104" y="114"/>
                    </a:cubicBezTo>
                    <a:cubicBezTo>
                      <a:pt x="104" y="114"/>
                      <a:pt x="104" y="114"/>
                      <a:pt x="104" y="114"/>
                    </a:cubicBezTo>
                    <a:cubicBezTo>
                      <a:pt x="104" y="114"/>
                      <a:pt x="104" y="113"/>
                      <a:pt x="103" y="113"/>
                    </a:cubicBezTo>
                    <a:cubicBezTo>
                      <a:pt x="103" y="113"/>
                      <a:pt x="103" y="113"/>
                      <a:pt x="103" y="113"/>
                    </a:cubicBezTo>
                    <a:cubicBezTo>
                      <a:pt x="103" y="113"/>
                      <a:pt x="103" y="112"/>
                      <a:pt x="103" y="112"/>
                    </a:cubicBezTo>
                    <a:cubicBezTo>
                      <a:pt x="103" y="112"/>
                      <a:pt x="102" y="112"/>
                      <a:pt x="101" y="112"/>
                    </a:cubicBezTo>
                    <a:cubicBezTo>
                      <a:pt x="101" y="112"/>
                      <a:pt x="101" y="112"/>
                      <a:pt x="101" y="112"/>
                    </a:cubicBezTo>
                    <a:cubicBezTo>
                      <a:pt x="101" y="113"/>
                      <a:pt x="101" y="113"/>
                      <a:pt x="101" y="113"/>
                    </a:cubicBezTo>
                    <a:cubicBezTo>
                      <a:pt x="100" y="113"/>
                      <a:pt x="100" y="113"/>
                      <a:pt x="99" y="114"/>
                    </a:cubicBezTo>
                    <a:cubicBezTo>
                      <a:pt x="99" y="114"/>
                      <a:pt x="99" y="114"/>
                      <a:pt x="99" y="114"/>
                    </a:cubicBezTo>
                    <a:cubicBezTo>
                      <a:pt x="99" y="114"/>
                      <a:pt x="99" y="114"/>
                      <a:pt x="99" y="115"/>
                    </a:cubicBezTo>
                    <a:cubicBezTo>
                      <a:pt x="99" y="115"/>
                      <a:pt x="99" y="115"/>
                      <a:pt x="99" y="115"/>
                    </a:cubicBezTo>
                    <a:cubicBezTo>
                      <a:pt x="99" y="115"/>
                      <a:pt x="98" y="116"/>
                      <a:pt x="98" y="116"/>
                    </a:cubicBezTo>
                    <a:cubicBezTo>
                      <a:pt x="98" y="116"/>
                      <a:pt x="97" y="117"/>
                      <a:pt x="97" y="117"/>
                    </a:cubicBezTo>
                    <a:cubicBezTo>
                      <a:pt x="97" y="118"/>
                      <a:pt x="97" y="118"/>
                      <a:pt x="97" y="119"/>
                    </a:cubicBezTo>
                    <a:cubicBezTo>
                      <a:pt x="97" y="119"/>
                      <a:pt x="98" y="120"/>
                      <a:pt x="98" y="120"/>
                    </a:cubicBezTo>
                    <a:cubicBezTo>
                      <a:pt x="98" y="120"/>
                      <a:pt x="98" y="120"/>
                      <a:pt x="98" y="120"/>
                    </a:cubicBezTo>
                    <a:cubicBezTo>
                      <a:pt x="98" y="120"/>
                      <a:pt x="98" y="120"/>
                      <a:pt x="98" y="120"/>
                    </a:cubicBezTo>
                    <a:cubicBezTo>
                      <a:pt x="98" y="121"/>
                      <a:pt x="98" y="121"/>
                      <a:pt x="98" y="121"/>
                    </a:cubicBezTo>
                    <a:cubicBezTo>
                      <a:pt x="98" y="122"/>
                      <a:pt x="98" y="122"/>
                      <a:pt x="98" y="122"/>
                    </a:cubicBezTo>
                    <a:cubicBezTo>
                      <a:pt x="99" y="122"/>
                      <a:pt x="99" y="123"/>
                      <a:pt x="99" y="124"/>
                    </a:cubicBezTo>
                    <a:cubicBezTo>
                      <a:pt x="99" y="124"/>
                      <a:pt x="99" y="124"/>
                      <a:pt x="99" y="124"/>
                    </a:cubicBezTo>
                    <a:cubicBezTo>
                      <a:pt x="99" y="124"/>
                      <a:pt x="99" y="124"/>
                      <a:pt x="99" y="124"/>
                    </a:cubicBezTo>
                    <a:cubicBezTo>
                      <a:pt x="99" y="124"/>
                      <a:pt x="99" y="124"/>
                      <a:pt x="99" y="124"/>
                    </a:cubicBezTo>
                    <a:cubicBezTo>
                      <a:pt x="99" y="125"/>
                      <a:pt x="99" y="125"/>
                      <a:pt x="99" y="125"/>
                    </a:cubicBezTo>
                    <a:cubicBezTo>
                      <a:pt x="99" y="125"/>
                      <a:pt x="99" y="125"/>
                      <a:pt x="99" y="125"/>
                    </a:cubicBezTo>
                    <a:cubicBezTo>
                      <a:pt x="98" y="125"/>
                      <a:pt x="98" y="126"/>
                      <a:pt x="98" y="126"/>
                    </a:cubicBezTo>
                    <a:cubicBezTo>
                      <a:pt x="97" y="126"/>
                      <a:pt x="97" y="126"/>
                      <a:pt x="97" y="125"/>
                    </a:cubicBezTo>
                    <a:cubicBezTo>
                      <a:pt x="98" y="125"/>
                      <a:pt x="98" y="125"/>
                      <a:pt x="98" y="125"/>
                    </a:cubicBezTo>
                    <a:cubicBezTo>
                      <a:pt x="98" y="125"/>
                      <a:pt x="98" y="124"/>
                      <a:pt x="98" y="124"/>
                    </a:cubicBezTo>
                    <a:cubicBezTo>
                      <a:pt x="98" y="124"/>
                      <a:pt x="98" y="124"/>
                      <a:pt x="98" y="124"/>
                    </a:cubicBezTo>
                    <a:cubicBezTo>
                      <a:pt x="99" y="123"/>
                      <a:pt x="98" y="123"/>
                      <a:pt x="98" y="123"/>
                    </a:cubicBezTo>
                    <a:cubicBezTo>
                      <a:pt x="98" y="123"/>
                      <a:pt x="98" y="123"/>
                      <a:pt x="97" y="124"/>
                    </a:cubicBezTo>
                    <a:cubicBezTo>
                      <a:pt x="97" y="124"/>
                      <a:pt x="97" y="125"/>
                      <a:pt x="97" y="125"/>
                    </a:cubicBezTo>
                    <a:cubicBezTo>
                      <a:pt x="97" y="125"/>
                      <a:pt x="96" y="126"/>
                      <a:pt x="96" y="126"/>
                    </a:cubicBezTo>
                    <a:cubicBezTo>
                      <a:pt x="96" y="126"/>
                      <a:pt x="95" y="126"/>
                      <a:pt x="95" y="126"/>
                    </a:cubicBezTo>
                    <a:cubicBezTo>
                      <a:pt x="95" y="126"/>
                      <a:pt x="94" y="126"/>
                      <a:pt x="94" y="126"/>
                    </a:cubicBezTo>
                    <a:cubicBezTo>
                      <a:pt x="94" y="126"/>
                      <a:pt x="94" y="126"/>
                      <a:pt x="94" y="126"/>
                    </a:cubicBezTo>
                    <a:cubicBezTo>
                      <a:pt x="94" y="126"/>
                      <a:pt x="94" y="126"/>
                      <a:pt x="94" y="127"/>
                    </a:cubicBezTo>
                    <a:cubicBezTo>
                      <a:pt x="94" y="127"/>
                      <a:pt x="94" y="127"/>
                      <a:pt x="93" y="127"/>
                    </a:cubicBezTo>
                    <a:cubicBezTo>
                      <a:pt x="93" y="128"/>
                      <a:pt x="93" y="128"/>
                      <a:pt x="93" y="128"/>
                    </a:cubicBezTo>
                    <a:cubicBezTo>
                      <a:pt x="93" y="128"/>
                      <a:pt x="93" y="128"/>
                      <a:pt x="93" y="128"/>
                    </a:cubicBezTo>
                    <a:cubicBezTo>
                      <a:pt x="93" y="129"/>
                      <a:pt x="92" y="129"/>
                      <a:pt x="91" y="129"/>
                    </a:cubicBezTo>
                    <a:cubicBezTo>
                      <a:pt x="91" y="129"/>
                      <a:pt x="91" y="129"/>
                      <a:pt x="91" y="129"/>
                    </a:cubicBezTo>
                    <a:cubicBezTo>
                      <a:pt x="91" y="129"/>
                      <a:pt x="91" y="129"/>
                      <a:pt x="91" y="129"/>
                    </a:cubicBezTo>
                    <a:cubicBezTo>
                      <a:pt x="91" y="129"/>
                      <a:pt x="90" y="129"/>
                      <a:pt x="90" y="129"/>
                    </a:cubicBezTo>
                    <a:cubicBezTo>
                      <a:pt x="90" y="128"/>
                      <a:pt x="90" y="128"/>
                      <a:pt x="89" y="128"/>
                    </a:cubicBezTo>
                    <a:cubicBezTo>
                      <a:pt x="89" y="128"/>
                      <a:pt x="89" y="128"/>
                      <a:pt x="89" y="128"/>
                    </a:cubicBezTo>
                    <a:cubicBezTo>
                      <a:pt x="89" y="128"/>
                      <a:pt x="89" y="127"/>
                      <a:pt x="90" y="127"/>
                    </a:cubicBezTo>
                    <a:cubicBezTo>
                      <a:pt x="90" y="127"/>
                      <a:pt x="90" y="127"/>
                      <a:pt x="90" y="127"/>
                    </a:cubicBezTo>
                    <a:cubicBezTo>
                      <a:pt x="90" y="127"/>
                      <a:pt x="89" y="127"/>
                      <a:pt x="89" y="127"/>
                    </a:cubicBezTo>
                    <a:cubicBezTo>
                      <a:pt x="89" y="127"/>
                      <a:pt x="88" y="127"/>
                      <a:pt x="88" y="127"/>
                    </a:cubicBezTo>
                    <a:cubicBezTo>
                      <a:pt x="88" y="127"/>
                      <a:pt x="87" y="127"/>
                      <a:pt x="87" y="127"/>
                    </a:cubicBezTo>
                    <a:cubicBezTo>
                      <a:pt x="86" y="127"/>
                      <a:pt x="85" y="127"/>
                      <a:pt x="85" y="127"/>
                    </a:cubicBezTo>
                    <a:cubicBezTo>
                      <a:pt x="85" y="127"/>
                      <a:pt x="84" y="128"/>
                      <a:pt x="84" y="128"/>
                    </a:cubicBezTo>
                    <a:cubicBezTo>
                      <a:pt x="83" y="128"/>
                      <a:pt x="83" y="128"/>
                      <a:pt x="83" y="128"/>
                    </a:cubicBezTo>
                    <a:cubicBezTo>
                      <a:pt x="83" y="128"/>
                      <a:pt x="83" y="128"/>
                      <a:pt x="83" y="128"/>
                    </a:cubicBezTo>
                    <a:cubicBezTo>
                      <a:pt x="83" y="128"/>
                      <a:pt x="83" y="128"/>
                      <a:pt x="83" y="129"/>
                    </a:cubicBezTo>
                    <a:cubicBezTo>
                      <a:pt x="82" y="129"/>
                      <a:pt x="82" y="129"/>
                      <a:pt x="82" y="129"/>
                    </a:cubicBezTo>
                    <a:cubicBezTo>
                      <a:pt x="82" y="129"/>
                      <a:pt x="82" y="130"/>
                      <a:pt x="82" y="130"/>
                    </a:cubicBezTo>
                    <a:cubicBezTo>
                      <a:pt x="81" y="130"/>
                      <a:pt x="81" y="130"/>
                      <a:pt x="80" y="130"/>
                    </a:cubicBezTo>
                    <a:cubicBezTo>
                      <a:pt x="79" y="130"/>
                      <a:pt x="79" y="130"/>
                      <a:pt x="78" y="130"/>
                    </a:cubicBezTo>
                    <a:cubicBezTo>
                      <a:pt x="78" y="131"/>
                      <a:pt x="77" y="131"/>
                      <a:pt x="77" y="131"/>
                    </a:cubicBezTo>
                    <a:cubicBezTo>
                      <a:pt x="76" y="131"/>
                      <a:pt x="76" y="131"/>
                      <a:pt x="76" y="131"/>
                    </a:cubicBezTo>
                    <a:cubicBezTo>
                      <a:pt x="76" y="131"/>
                      <a:pt x="76" y="131"/>
                      <a:pt x="77" y="132"/>
                    </a:cubicBezTo>
                    <a:cubicBezTo>
                      <a:pt x="77" y="132"/>
                      <a:pt x="77" y="132"/>
                      <a:pt x="77" y="132"/>
                    </a:cubicBezTo>
                    <a:cubicBezTo>
                      <a:pt x="77" y="133"/>
                      <a:pt x="77" y="133"/>
                      <a:pt x="77" y="133"/>
                    </a:cubicBezTo>
                    <a:cubicBezTo>
                      <a:pt x="76" y="132"/>
                      <a:pt x="76" y="132"/>
                      <a:pt x="76" y="132"/>
                    </a:cubicBezTo>
                    <a:cubicBezTo>
                      <a:pt x="76" y="132"/>
                      <a:pt x="76" y="132"/>
                      <a:pt x="76" y="132"/>
                    </a:cubicBezTo>
                    <a:cubicBezTo>
                      <a:pt x="76" y="132"/>
                      <a:pt x="76" y="132"/>
                      <a:pt x="76" y="132"/>
                    </a:cubicBezTo>
                    <a:cubicBezTo>
                      <a:pt x="77" y="133"/>
                      <a:pt x="77" y="133"/>
                      <a:pt x="77" y="133"/>
                    </a:cubicBezTo>
                    <a:cubicBezTo>
                      <a:pt x="77" y="133"/>
                      <a:pt x="77" y="133"/>
                      <a:pt x="77" y="133"/>
                    </a:cubicBezTo>
                    <a:cubicBezTo>
                      <a:pt x="76" y="132"/>
                      <a:pt x="76" y="132"/>
                      <a:pt x="76" y="132"/>
                    </a:cubicBezTo>
                    <a:cubicBezTo>
                      <a:pt x="76" y="132"/>
                      <a:pt x="75" y="132"/>
                      <a:pt x="75" y="131"/>
                    </a:cubicBezTo>
                    <a:cubicBezTo>
                      <a:pt x="75" y="131"/>
                      <a:pt x="74" y="131"/>
                      <a:pt x="74" y="131"/>
                    </a:cubicBezTo>
                    <a:cubicBezTo>
                      <a:pt x="75" y="131"/>
                      <a:pt x="74" y="131"/>
                      <a:pt x="74" y="130"/>
                    </a:cubicBezTo>
                    <a:cubicBezTo>
                      <a:pt x="74" y="130"/>
                      <a:pt x="74" y="130"/>
                      <a:pt x="74" y="130"/>
                    </a:cubicBezTo>
                    <a:cubicBezTo>
                      <a:pt x="73" y="130"/>
                      <a:pt x="73" y="130"/>
                      <a:pt x="73" y="130"/>
                    </a:cubicBezTo>
                    <a:cubicBezTo>
                      <a:pt x="73" y="130"/>
                      <a:pt x="72" y="129"/>
                      <a:pt x="72" y="129"/>
                    </a:cubicBezTo>
                    <a:cubicBezTo>
                      <a:pt x="72" y="129"/>
                      <a:pt x="71" y="128"/>
                      <a:pt x="71" y="128"/>
                    </a:cubicBezTo>
                    <a:cubicBezTo>
                      <a:pt x="71" y="128"/>
                      <a:pt x="70" y="128"/>
                      <a:pt x="70" y="128"/>
                    </a:cubicBezTo>
                    <a:cubicBezTo>
                      <a:pt x="70" y="128"/>
                      <a:pt x="70" y="129"/>
                      <a:pt x="70" y="129"/>
                    </a:cubicBezTo>
                    <a:cubicBezTo>
                      <a:pt x="70" y="129"/>
                      <a:pt x="69" y="130"/>
                      <a:pt x="69" y="130"/>
                    </a:cubicBezTo>
                    <a:cubicBezTo>
                      <a:pt x="69" y="130"/>
                      <a:pt x="69" y="130"/>
                      <a:pt x="68" y="130"/>
                    </a:cubicBezTo>
                    <a:cubicBezTo>
                      <a:pt x="68" y="130"/>
                      <a:pt x="68" y="130"/>
                      <a:pt x="68" y="130"/>
                    </a:cubicBezTo>
                    <a:cubicBezTo>
                      <a:pt x="67" y="130"/>
                      <a:pt x="67" y="130"/>
                      <a:pt x="67" y="13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66" y="131"/>
                      <a:pt x="66" y="131"/>
                      <a:pt x="66" y="131"/>
                    </a:cubicBezTo>
                    <a:cubicBezTo>
                      <a:pt x="65" y="131"/>
                      <a:pt x="65" y="131"/>
                      <a:pt x="65" y="131"/>
                    </a:cubicBezTo>
                    <a:cubicBezTo>
                      <a:pt x="65" y="131"/>
                      <a:pt x="65" y="131"/>
                      <a:pt x="65" y="130"/>
                    </a:cubicBezTo>
                    <a:cubicBezTo>
                      <a:pt x="65" y="130"/>
                      <a:pt x="65" y="130"/>
                      <a:pt x="65" y="130"/>
                    </a:cubicBezTo>
                    <a:cubicBezTo>
                      <a:pt x="65" y="130"/>
                      <a:pt x="66" y="129"/>
                      <a:pt x="66" y="129"/>
                    </a:cubicBezTo>
                    <a:cubicBezTo>
                      <a:pt x="66" y="129"/>
                      <a:pt x="66" y="129"/>
                      <a:pt x="66" y="129"/>
                    </a:cubicBezTo>
                    <a:cubicBezTo>
                      <a:pt x="65" y="129"/>
                      <a:pt x="65" y="129"/>
                      <a:pt x="65" y="129"/>
                    </a:cubicBezTo>
                    <a:cubicBezTo>
                      <a:pt x="64" y="129"/>
                      <a:pt x="64" y="129"/>
                      <a:pt x="64" y="129"/>
                    </a:cubicBezTo>
                    <a:cubicBezTo>
                      <a:pt x="64" y="129"/>
                      <a:pt x="64" y="129"/>
                      <a:pt x="64" y="129"/>
                    </a:cubicBezTo>
                    <a:cubicBezTo>
                      <a:pt x="64" y="129"/>
                      <a:pt x="63" y="129"/>
                      <a:pt x="63" y="129"/>
                    </a:cubicBezTo>
                    <a:cubicBezTo>
                      <a:pt x="63" y="129"/>
                      <a:pt x="63" y="129"/>
                      <a:pt x="63" y="129"/>
                    </a:cubicBezTo>
                    <a:cubicBezTo>
                      <a:pt x="63" y="129"/>
                      <a:pt x="63" y="128"/>
                      <a:pt x="62" y="128"/>
                    </a:cubicBezTo>
                    <a:cubicBezTo>
                      <a:pt x="62" y="128"/>
                      <a:pt x="62" y="128"/>
                      <a:pt x="62" y="128"/>
                    </a:cubicBezTo>
                    <a:cubicBezTo>
                      <a:pt x="62" y="128"/>
                      <a:pt x="62" y="127"/>
                      <a:pt x="62" y="127"/>
                    </a:cubicBezTo>
                    <a:cubicBezTo>
                      <a:pt x="62" y="127"/>
                      <a:pt x="62" y="127"/>
                      <a:pt x="62" y="127"/>
                    </a:cubicBezTo>
                    <a:cubicBezTo>
                      <a:pt x="62" y="127"/>
                      <a:pt x="62" y="127"/>
                      <a:pt x="62" y="127"/>
                    </a:cubicBezTo>
                    <a:cubicBezTo>
                      <a:pt x="61" y="127"/>
                      <a:pt x="61" y="127"/>
                      <a:pt x="61" y="127"/>
                    </a:cubicBezTo>
                    <a:cubicBezTo>
                      <a:pt x="58" y="126"/>
                      <a:pt x="58" y="126"/>
                      <a:pt x="58" y="126"/>
                    </a:cubicBezTo>
                    <a:cubicBezTo>
                      <a:pt x="58" y="126"/>
                      <a:pt x="58" y="126"/>
                      <a:pt x="58" y="127"/>
                    </a:cubicBezTo>
                    <a:cubicBezTo>
                      <a:pt x="58" y="127"/>
                      <a:pt x="58" y="127"/>
                      <a:pt x="59" y="128"/>
                    </a:cubicBezTo>
                    <a:cubicBezTo>
                      <a:pt x="59" y="128"/>
                      <a:pt x="59" y="128"/>
                      <a:pt x="58" y="128"/>
                    </a:cubicBezTo>
                    <a:cubicBezTo>
                      <a:pt x="58" y="129"/>
                      <a:pt x="58" y="129"/>
                      <a:pt x="58" y="129"/>
                    </a:cubicBezTo>
                    <a:cubicBezTo>
                      <a:pt x="58" y="129"/>
                      <a:pt x="58" y="129"/>
                      <a:pt x="58" y="129"/>
                    </a:cubicBezTo>
                    <a:cubicBezTo>
                      <a:pt x="59" y="129"/>
                      <a:pt x="59" y="129"/>
                      <a:pt x="59" y="129"/>
                    </a:cubicBezTo>
                    <a:cubicBezTo>
                      <a:pt x="59" y="129"/>
                      <a:pt x="59" y="130"/>
                      <a:pt x="59" y="130"/>
                    </a:cubicBezTo>
                    <a:cubicBezTo>
                      <a:pt x="59" y="130"/>
                      <a:pt x="59" y="130"/>
                      <a:pt x="59" y="130"/>
                    </a:cubicBezTo>
                    <a:cubicBezTo>
                      <a:pt x="59" y="130"/>
                      <a:pt x="59" y="130"/>
                      <a:pt x="59" y="130"/>
                    </a:cubicBezTo>
                    <a:cubicBezTo>
                      <a:pt x="59" y="130"/>
                      <a:pt x="59" y="130"/>
                      <a:pt x="59" y="131"/>
                    </a:cubicBezTo>
                    <a:cubicBezTo>
                      <a:pt x="59" y="131"/>
                      <a:pt x="59" y="131"/>
                      <a:pt x="60" y="131"/>
                    </a:cubicBezTo>
                    <a:cubicBezTo>
                      <a:pt x="60" y="131"/>
                      <a:pt x="60" y="131"/>
                      <a:pt x="60" y="131"/>
                    </a:cubicBezTo>
                    <a:cubicBezTo>
                      <a:pt x="60" y="131"/>
                      <a:pt x="60" y="131"/>
                      <a:pt x="60" y="131"/>
                    </a:cubicBezTo>
                    <a:cubicBezTo>
                      <a:pt x="60" y="131"/>
                      <a:pt x="60" y="132"/>
                      <a:pt x="60" y="132"/>
                    </a:cubicBezTo>
                    <a:cubicBezTo>
                      <a:pt x="60" y="132"/>
                      <a:pt x="60" y="132"/>
                      <a:pt x="60" y="132"/>
                    </a:cubicBezTo>
                    <a:cubicBezTo>
                      <a:pt x="60" y="132"/>
                      <a:pt x="59" y="131"/>
                      <a:pt x="59" y="131"/>
                    </a:cubicBezTo>
                    <a:cubicBezTo>
                      <a:pt x="59" y="131"/>
                      <a:pt x="59" y="131"/>
                      <a:pt x="59" y="131"/>
                    </a:cubicBezTo>
                    <a:cubicBezTo>
                      <a:pt x="59" y="131"/>
                      <a:pt x="59" y="131"/>
                      <a:pt x="59" y="131"/>
                    </a:cubicBezTo>
                    <a:cubicBezTo>
                      <a:pt x="59" y="131"/>
                      <a:pt x="58" y="131"/>
                      <a:pt x="58" y="131"/>
                    </a:cubicBezTo>
                    <a:cubicBezTo>
                      <a:pt x="58" y="131"/>
                      <a:pt x="58" y="131"/>
                      <a:pt x="58" y="132"/>
                    </a:cubicBezTo>
                    <a:cubicBezTo>
                      <a:pt x="58" y="132"/>
                      <a:pt x="58" y="132"/>
                      <a:pt x="58" y="132"/>
                    </a:cubicBezTo>
                    <a:cubicBezTo>
                      <a:pt x="58" y="133"/>
                      <a:pt x="58" y="133"/>
                      <a:pt x="58" y="133"/>
                    </a:cubicBezTo>
                    <a:cubicBezTo>
                      <a:pt x="58" y="133"/>
                      <a:pt x="58" y="134"/>
                      <a:pt x="58" y="134"/>
                    </a:cubicBezTo>
                    <a:cubicBezTo>
                      <a:pt x="57" y="134"/>
                      <a:pt x="57" y="133"/>
                      <a:pt x="57" y="133"/>
                    </a:cubicBezTo>
                    <a:cubicBezTo>
                      <a:pt x="57" y="133"/>
                      <a:pt x="57" y="133"/>
                      <a:pt x="57" y="133"/>
                    </a:cubicBezTo>
                    <a:cubicBezTo>
                      <a:pt x="57" y="133"/>
                      <a:pt x="57" y="133"/>
                      <a:pt x="57" y="133"/>
                    </a:cubicBezTo>
                    <a:cubicBezTo>
                      <a:pt x="57" y="133"/>
                      <a:pt x="57" y="133"/>
                      <a:pt x="57" y="133"/>
                    </a:cubicBezTo>
                    <a:cubicBezTo>
                      <a:pt x="57" y="133"/>
                      <a:pt x="56" y="133"/>
                      <a:pt x="56" y="133"/>
                    </a:cubicBezTo>
                    <a:cubicBezTo>
                      <a:pt x="56" y="133"/>
                      <a:pt x="56" y="133"/>
                      <a:pt x="56" y="133"/>
                    </a:cubicBezTo>
                    <a:cubicBezTo>
                      <a:pt x="56" y="133"/>
                      <a:pt x="56" y="133"/>
                      <a:pt x="56" y="133"/>
                    </a:cubicBezTo>
                    <a:cubicBezTo>
                      <a:pt x="56" y="133"/>
                      <a:pt x="56" y="133"/>
                      <a:pt x="56" y="133"/>
                    </a:cubicBezTo>
                    <a:cubicBezTo>
                      <a:pt x="56" y="132"/>
                      <a:pt x="56" y="132"/>
                      <a:pt x="56" y="132"/>
                    </a:cubicBezTo>
                    <a:cubicBezTo>
                      <a:pt x="56" y="132"/>
                      <a:pt x="55" y="132"/>
                      <a:pt x="55" y="132"/>
                    </a:cubicBezTo>
                    <a:cubicBezTo>
                      <a:pt x="55" y="132"/>
                      <a:pt x="55" y="132"/>
                      <a:pt x="54" y="132"/>
                    </a:cubicBezTo>
                    <a:cubicBezTo>
                      <a:pt x="54" y="132"/>
                      <a:pt x="53" y="132"/>
                      <a:pt x="53" y="132"/>
                    </a:cubicBezTo>
                    <a:cubicBezTo>
                      <a:pt x="53" y="132"/>
                      <a:pt x="53" y="133"/>
                      <a:pt x="53" y="133"/>
                    </a:cubicBezTo>
                    <a:cubicBezTo>
                      <a:pt x="53" y="133"/>
                      <a:pt x="53" y="133"/>
                      <a:pt x="53" y="133"/>
                    </a:cubicBezTo>
                    <a:cubicBezTo>
                      <a:pt x="53" y="133"/>
                      <a:pt x="53" y="134"/>
                      <a:pt x="53" y="134"/>
                    </a:cubicBezTo>
                    <a:cubicBezTo>
                      <a:pt x="54" y="134"/>
                      <a:pt x="54" y="134"/>
                      <a:pt x="54" y="134"/>
                    </a:cubicBezTo>
                    <a:cubicBezTo>
                      <a:pt x="53" y="134"/>
                      <a:pt x="53" y="134"/>
                      <a:pt x="53" y="134"/>
                    </a:cubicBezTo>
                    <a:cubicBezTo>
                      <a:pt x="53" y="134"/>
                      <a:pt x="53" y="134"/>
                      <a:pt x="53" y="134"/>
                    </a:cubicBezTo>
                    <a:cubicBezTo>
                      <a:pt x="53" y="134"/>
                      <a:pt x="53" y="134"/>
                      <a:pt x="53" y="134"/>
                    </a:cubicBezTo>
                    <a:cubicBezTo>
                      <a:pt x="53" y="134"/>
                      <a:pt x="53" y="134"/>
                      <a:pt x="52" y="134"/>
                    </a:cubicBezTo>
                    <a:cubicBezTo>
                      <a:pt x="52" y="134"/>
                      <a:pt x="52" y="133"/>
                      <a:pt x="51" y="133"/>
                    </a:cubicBezTo>
                    <a:cubicBezTo>
                      <a:pt x="51" y="133"/>
                      <a:pt x="50" y="133"/>
                      <a:pt x="50" y="134"/>
                    </a:cubicBezTo>
                    <a:cubicBezTo>
                      <a:pt x="50" y="134"/>
                      <a:pt x="49" y="134"/>
                      <a:pt x="48" y="134"/>
                    </a:cubicBezTo>
                    <a:cubicBezTo>
                      <a:pt x="48" y="134"/>
                      <a:pt x="48" y="134"/>
                      <a:pt x="48" y="134"/>
                    </a:cubicBezTo>
                    <a:cubicBezTo>
                      <a:pt x="48" y="134"/>
                      <a:pt x="48" y="134"/>
                      <a:pt x="48" y="134"/>
                    </a:cubicBezTo>
                    <a:cubicBezTo>
                      <a:pt x="48" y="134"/>
                      <a:pt x="47" y="135"/>
                      <a:pt x="48" y="135"/>
                    </a:cubicBezTo>
                    <a:cubicBezTo>
                      <a:pt x="48" y="136"/>
                      <a:pt x="48" y="136"/>
                      <a:pt x="48" y="136"/>
                    </a:cubicBezTo>
                    <a:cubicBezTo>
                      <a:pt x="48" y="136"/>
                      <a:pt x="48" y="136"/>
                      <a:pt x="48" y="137"/>
                    </a:cubicBezTo>
                    <a:cubicBezTo>
                      <a:pt x="48" y="137"/>
                      <a:pt x="48" y="137"/>
                      <a:pt x="48" y="137"/>
                    </a:cubicBezTo>
                    <a:cubicBezTo>
                      <a:pt x="48" y="138"/>
                      <a:pt x="47" y="138"/>
                      <a:pt x="47" y="138"/>
                    </a:cubicBezTo>
                    <a:cubicBezTo>
                      <a:pt x="47" y="138"/>
                      <a:pt x="46" y="138"/>
                      <a:pt x="46" y="138"/>
                    </a:cubicBezTo>
                    <a:cubicBezTo>
                      <a:pt x="46" y="138"/>
                      <a:pt x="47" y="137"/>
                      <a:pt x="47" y="137"/>
                    </a:cubicBezTo>
                    <a:cubicBezTo>
                      <a:pt x="47" y="137"/>
                      <a:pt x="47" y="137"/>
                      <a:pt x="47" y="137"/>
                    </a:cubicBezTo>
                    <a:cubicBezTo>
                      <a:pt x="47" y="136"/>
                      <a:pt x="47" y="136"/>
                      <a:pt x="46" y="136"/>
                    </a:cubicBezTo>
                    <a:cubicBezTo>
                      <a:pt x="46" y="136"/>
                      <a:pt x="46" y="136"/>
                      <a:pt x="46" y="136"/>
                    </a:cubicBezTo>
                    <a:cubicBezTo>
                      <a:pt x="46" y="136"/>
                      <a:pt x="45" y="136"/>
                      <a:pt x="45" y="136"/>
                    </a:cubicBezTo>
                    <a:cubicBezTo>
                      <a:pt x="45" y="137"/>
                      <a:pt x="45" y="137"/>
                      <a:pt x="45" y="137"/>
                    </a:cubicBezTo>
                    <a:cubicBezTo>
                      <a:pt x="45" y="137"/>
                      <a:pt x="45" y="137"/>
                      <a:pt x="45" y="137"/>
                    </a:cubicBezTo>
                    <a:cubicBezTo>
                      <a:pt x="45" y="137"/>
                      <a:pt x="45" y="138"/>
                      <a:pt x="45" y="138"/>
                    </a:cubicBezTo>
                    <a:cubicBezTo>
                      <a:pt x="45" y="138"/>
                      <a:pt x="44" y="139"/>
                      <a:pt x="44" y="140"/>
                    </a:cubicBezTo>
                    <a:cubicBezTo>
                      <a:pt x="43" y="141"/>
                      <a:pt x="43" y="141"/>
                      <a:pt x="43" y="141"/>
                    </a:cubicBezTo>
                    <a:cubicBezTo>
                      <a:pt x="43" y="140"/>
                      <a:pt x="44" y="140"/>
                      <a:pt x="44" y="141"/>
                    </a:cubicBezTo>
                    <a:cubicBezTo>
                      <a:pt x="44" y="141"/>
                      <a:pt x="44" y="141"/>
                      <a:pt x="44" y="141"/>
                    </a:cubicBezTo>
                    <a:cubicBezTo>
                      <a:pt x="44" y="141"/>
                      <a:pt x="45" y="142"/>
                      <a:pt x="45" y="142"/>
                    </a:cubicBezTo>
                    <a:cubicBezTo>
                      <a:pt x="45" y="142"/>
                      <a:pt x="44" y="142"/>
                      <a:pt x="44" y="142"/>
                    </a:cubicBezTo>
                    <a:cubicBezTo>
                      <a:pt x="43" y="142"/>
                      <a:pt x="43" y="142"/>
                      <a:pt x="43" y="142"/>
                    </a:cubicBezTo>
                    <a:cubicBezTo>
                      <a:pt x="43" y="142"/>
                      <a:pt x="43" y="142"/>
                      <a:pt x="43" y="142"/>
                    </a:cubicBezTo>
                    <a:cubicBezTo>
                      <a:pt x="44" y="142"/>
                      <a:pt x="44" y="143"/>
                      <a:pt x="44" y="143"/>
                    </a:cubicBezTo>
                    <a:cubicBezTo>
                      <a:pt x="44" y="143"/>
                      <a:pt x="44" y="143"/>
                      <a:pt x="44" y="143"/>
                    </a:cubicBezTo>
                    <a:cubicBezTo>
                      <a:pt x="44" y="143"/>
                      <a:pt x="44" y="143"/>
                      <a:pt x="44" y="143"/>
                    </a:cubicBezTo>
                    <a:cubicBezTo>
                      <a:pt x="44" y="143"/>
                      <a:pt x="44" y="143"/>
                      <a:pt x="44" y="143"/>
                    </a:cubicBezTo>
                    <a:cubicBezTo>
                      <a:pt x="44" y="143"/>
                      <a:pt x="43" y="143"/>
                      <a:pt x="43" y="144"/>
                    </a:cubicBezTo>
                    <a:cubicBezTo>
                      <a:pt x="43" y="143"/>
                      <a:pt x="43" y="143"/>
                      <a:pt x="43" y="143"/>
                    </a:cubicBezTo>
                    <a:cubicBezTo>
                      <a:pt x="43" y="143"/>
                      <a:pt x="43" y="143"/>
                      <a:pt x="43" y="143"/>
                    </a:cubicBezTo>
                    <a:cubicBezTo>
                      <a:pt x="42" y="143"/>
                      <a:pt x="42" y="143"/>
                      <a:pt x="42" y="143"/>
                    </a:cubicBezTo>
                    <a:cubicBezTo>
                      <a:pt x="42" y="143"/>
                      <a:pt x="41" y="143"/>
                      <a:pt x="41" y="143"/>
                    </a:cubicBezTo>
                    <a:cubicBezTo>
                      <a:pt x="41" y="143"/>
                      <a:pt x="41" y="143"/>
                      <a:pt x="40" y="144"/>
                    </a:cubicBezTo>
                    <a:cubicBezTo>
                      <a:pt x="40" y="144"/>
                      <a:pt x="40" y="144"/>
                      <a:pt x="40" y="144"/>
                    </a:cubicBezTo>
                    <a:cubicBezTo>
                      <a:pt x="40" y="144"/>
                      <a:pt x="39" y="144"/>
                      <a:pt x="39" y="144"/>
                    </a:cubicBezTo>
                    <a:cubicBezTo>
                      <a:pt x="39" y="144"/>
                      <a:pt x="39" y="144"/>
                      <a:pt x="39" y="144"/>
                    </a:cubicBezTo>
                    <a:cubicBezTo>
                      <a:pt x="39" y="144"/>
                      <a:pt x="39" y="144"/>
                      <a:pt x="39" y="144"/>
                    </a:cubicBezTo>
                    <a:cubicBezTo>
                      <a:pt x="39" y="144"/>
                      <a:pt x="39" y="144"/>
                      <a:pt x="39" y="144"/>
                    </a:cubicBezTo>
                    <a:cubicBezTo>
                      <a:pt x="39" y="144"/>
                      <a:pt x="39" y="144"/>
                      <a:pt x="39" y="144"/>
                    </a:cubicBezTo>
                    <a:cubicBezTo>
                      <a:pt x="38" y="145"/>
                      <a:pt x="37" y="145"/>
                      <a:pt x="37" y="145"/>
                    </a:cubicBezTo>
                    <a:cubicBezTo>
                      <a:pt x="37" y="145"/>
                      <a:pt x="36" y="145"/>
                      <a:pt x="36" y="145"/>
                    </a:cubicBezTo>
                    <a:cubicBezTo>
                      <a:pt x="36" y="145"/>
                      <a:pt x="35" y="146"/>
                      <a:pt x="35" y="146"/>
                    </a:cubicBezTo>
                    <a:cubicBezTo>
                      <a:pt x="35" y="146"/>
                      <a:pt x="35" y="146"/>
                      <a:pt x="35" y="146"/>
                    </a:cubicBezTo>
                    <a:cubicBezTo>
                      <a:pt x="35" y="147"/>
                      <a:pt x="35" y="147"/>
                      <a:pt x="35" y="147"/>
                    </a:cubicBezTo>
                    <a:cubicBezTo>
                      <a:pt x="35" y="148"/>
                      <a:pt x="35" y="148"/>
                      <a:pt x="35" y="148"/>
                    </a:cubicBezTo>
                    <a:cubicBezTo>
                      <a:pt x="36" y="149"/>
                      <a:pt x="36" y="149"/>
                      <a:pt x="35" y="149"/>
                    </a:cubicBezTo>
                    <a:cubicBezTo>
                      <a:pt x="35" y="149"/>
                      <a:pt x="35" y="149"/>
                      <a:pt x="35" y="149"/>
                    </a:cubicBezTo>
                    <a:cubicBezTo>
                      <a:pt x="35" y="149"/>
                      <a:pt x="34" y="149"/>
                      <a:pt x="34" y="150"/>
                    </a:cubicBezTo>
                    <a:cubicBezTo>
                      <a:pt x="34" y="150"/>
                      <a:pt x="34" y="150"/>
                      <a:pt x="33" y="150"/>
                    </a:cubicBezTo>
                    <a:cubicBezTo>
                      <a:pt x="33" y="150"/>
                      <a:pt x="32" y="151"/>
                      <a:pt x="31" y="151"/>
                    </a:cubicBezTo>
                    <a:cubicBezTo>
                      <a:pt x="31" y="151"/>
                      <a:pt x="31" y="151"/>
                      <a:pt x="31" y="151"/>
                    </a:cubicBezTo>
                    <a:cubicBezTo>
                      <a:pt x="31" y="151"/>
                      <a:pt x="31" y="151"/>
                      <a:pt x="31" y="151"/>
                    </a:cubicBezTo>
                    <a:cubicBezTo>
                      <a:pt x="31" y="151"/>
                      <a:pt x="31" y="151"/>
                      <a:pt x="31" y="151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31" y="152"/>
                      <a:pt x="32" y="152"/>
                      <a:pt x="32" y="152"/>
                    </a:cubicBezTo>
                    <a:cubicBezTo>
                      <a:pt x="31" y="152"/>
                      <a:pt x="31" y="152"/>
                      <a:pt x="31" y="153"/>
                    </a:cubicBezTo>
                    <a:cubicBezTo>
                      <a:pt x="31" y="153"/>
                      <a:pt x="30" y="153"/>
                      <a:pt x="30" y="153"/>
                    </a:cubicBezTo>
                    <a:cubicBezTo>
                      <a:pt x="30" y="153"/>
                      <a:pt x="30" y="153"/>
                      <a:pt x="30" y="153"/>
                    </a:cubicBezTo>
                    <a:cubicBezTo>
                      <a:pt x="29" y="153"/>
                      <a:pt x="29" y="153"/>
                      <a:pt x="29" y="153"/>
                    </a:cubicBezTo>
                    <a:cubicBezTo>
                      <a:pt x="29" y="153"/>
                      <a:pt x="28" y="153"/>
                      <a:pt x="28" y="153"/>
                    </a:cubicBezTo>
                    <a:cubicBezTo>
                      <a:pt x="28" y="153"/>
                      <a:pt x="28" y="153"/>
                      <a:pt x="28" y="153"/>
                    </a:cubicBezTo>
                    <a:cubicBezTo>
                      <a:pt x="28" y="153"/>
                      <a:pt x="27" y="153"/>
                      <a:pt x="27" y="153"/>
                    </a:cubicBezTo>
                    <a:cubicBezTo>
                      <a:pt x="27" y="153"/>
                      <a:pt x="27" y="153"/>
                      <a:pt x="27" y="153"/>
                    </a:cubicBezTo>
                    <a:cubicBezTo>
                      <a:pt x="27" y="153"/>
                      <a:pt x="26" y="153"/>
                      <a:pt x="26" y="152"/>
                    </a:cubicBezTo>
                    <a:cubicBezTo>
                      <a:pt x="26" y="152"/>
                      <a:pt x="26" y="152"/>
                      <a:pt x="26" y="152"/>
                    </a:cubicBezTo>
                    <a:cubicBezTo>
                      <a:pt x="26" y="152"/>
                      <a:pt x="26" y="152"/>
                      <a:pt x="26" y="152"/>
                    </a:cubicBezTo>
                    <a:cubicBezTo>
                      <a:pt x="26" y="151"/>
                      <a:pt x="26" y="151"/>
                      <a:pt x="25" y="151"/>
                    </a:cubicBezTo>
                    <a:cubicBezTo>
                      <a:pt x="25" y="151"/>
                      <a:pt x="25" y="151"/>
                      <a:pt x="25" y="151"/>
                    </a:cubicBezTo>
                    <a:cubicBezTo>
                      <a:pt x="25" y="151"/>
                      <a:pt x="25" y="151"/>
                      <a:pt x="25" y="151"/>
                    </a:cubicBezTo>
                    <a:cubicBezTo>
                      <a:pt x="25" y="151"/>
                      <a:pt x="24" y="151"/>
                      <a:pt x="24" y="151"/>
                    </a:cubicBezTo>
                    <a:cubicBezTo>
                      <a:pt x="24" y="151"/>
                      <a:pt x="24" y="151"/>
                      <a:pt x="24" y="151"/>
                    </a:cubicBezTo>
                    <a:cubicBezTo>
                      <a:pt x="24" y="151"/>
                      <a:pt x="24" y="151"/>
                      <a:pt x="24" y="152"/>
                    </a:cubicBezTo>
                    <a:cubicBezTo>
                      <a:pt x="24" y="152"/>
                      <a:pt x="24" y="152"/>
                      <a:pt x="24" y="152"/>
                    </a:cubicBezTo>
                    <a:cubicBezTo>
                      <a:pt x="24" y="152"/>
                      <a:pt x="25" y="153"/>
                      <a:pt x="25" y="153"/>
                    </a:cubicBezTo>
                    <a:cubicBezTo>
                      <a:pt x="25" y="153"/>
                      <a:pt x="25" y="153"/>
                      <a:pt x="25" y="154"/>
                    </a:cubicBezTo>
                    <a:cubicBezTo>
                      <a:pt x="25" y="154"/>
                      <a:pt x="25" y="154"/>
                      <a:pt x="25" y="154"/>
                    </a:cubicBezTo>
                    <a:cubicBezTo>
                      <a:pt x="25" y="154"/>
                      <a:pt x="25" y="155"/>
                      <a:pt x="25" y="155"/>
                    </a:cubicBezTo>
                    <a:cubicBezTo>
                      <a:pt x="25" y="155"/>
                      <a:pt x="25" y="155"/>
                      <a:pt x="25" y="156"/>
                    </a:cubicBezTo>
                    <a:cubicBezTo>
                      <a:pt x="25" y="156"/>
                      <a:pt x="26" y="156"/>
                      <a:pt x="26" y="156"/>
                    </a:cubicBezTo>
                    <a:cubicBezTo>
                      <a:pt x="26" y="156"/>
                      <a:pt x="26" y="156"/>
                      <a:pt x="25" y="156"/>
                    </a:cubicBezTo>
                    <a:cubicBezTo>
                      <a:pt x="25" y="156"/>
                      <a:pt x="25" y="156"/>
                      <a:pt x="25" y="156"/>
                    </a:cubicBezTo>
                    <a:cubicBezTo>
                      <a:pt x="25" y="156"/>
                      <a:pt x="25" y="156"/>
                      <a:pt x="25" y="156"/>
                    </a:cubicBezTo>
                    <a:cubicBezTo>
                      <a:pt x="25" y="156"/>
                      <a:pt x="24" y="156"/>
                      <a:pt x="24" y="156"/>
                    </a:cubicBezTo>
                    <a:cubicBezTo>
                      <a:pt x="24" y="156"/>
                      <a:pt x="24" y="156"/>
                      <a:pt x="24" y="156"/>
                    </a:cubicBezTo>
                    <a:cubicBezTo>
                      <a:pt x="24" y="156"/>
                      <a:pt x="24" y="156"/>
                      <a:pt x="24" y="156"/>
                    </a:cubicBezTo>
                    <a:cubicBezTo>
                      <a:pt x="23" y="156"/>
                      <a:pt x="23" y="156"/>
                      <a:pt x="23" y="156"/>
                    </a:cubicBezTo>
                    <a:cubicBezTo>
                      <a:pt x="23" y="156"/>
                      <a:pt x="23" y="156"/>
                      <a:pt x="23" y="156"/>
                    </a:cubicBezTo>
                    <a:cubicBezTo>
                      <a:pt x="23" y="156"/>
                      <a:pt x="23" y="156"/>
                      <a:pt x="23" y="156"/>
                    </a:cubicBezTo>
                    <a:cubicBezTo>
                      <a:pt x="23" y="156"/>
                      <a:pt x="23" y="156"/>
                      <a:pt x="23" y="156"/>
                    </a:cubicBezTo>
                    <a:cubicBezTo>
                      <a:pt x="22" y="156"/>
                      <a:pt x="22" y="156"/>
                      <a:pt x="22" y="156"/>
                    </a:cubicBezTo>
                    <a:cubicBezTo>
                      <a:pt x="22" y="156"/>
                      <a:pt x="22" y="156"/>
                      <a:pt x="22" y="157"/>
                    </a:cubicBezTo>
                    <a:cubicBezTo>
                      <a:pt x="22" y="157"/>
                      <a:pt x="21" y="157"/>
                      <a:pt x="21" y="157"/>
                    </a:cubicBezTo>
                    <a:cubicBezTo>
                      <a:pt x="21" y="157"/>
                      <a:pt x="21" y="156"/>
                      <a:pt x="21" y="156"/>
                    </a:cubicBezTo>
                    <a:cubicBezTo>
                      <a:pt x="21" y="155"/>
                      <a:pt x="21" y="155"/>
                      <a:pt x="21" y="155"/>
                    </a:cubicBezTo>
                    <a:cubicBezTo>
                      <a:pt x="21" y="155"/>
                      <a:pt x="21" y="155"/>
                      <a:pt x="21" y="155"/>
                    </a:cubicBezTo>
                    <a:cubicBezTo>
                      <a:pt x="20" y="155"/>
                      <a:pt x="20" y="155"/>
                      <a:pt x="19" y="155"/>
                    </a:cubicBezTo>
                    <a:cubicBezTo>
                      <a:pt x="19" y="155"/>
                      <a:pt x="19" y="155"/>
                      <a:pt x="18" y="155"/>
                    </a:cubicBezTo>
                    <a:cubicBezTo>
                      <a:pt x="18" y="156"/>
                      <a:pt x="18" y="156"/>
                      <a:pt x="18" y="156"/>
                    </a:cubicBezTo>
                    <a:cubicBezTo>
                      <a:pt x="18" y="156"/>
                      <a:pt x="18" y="156"/>
                      <a:pt x="18" y="156"/>
                    </a:cubicBezTo>
                    <a:cubicBezTo>
                      <a:pt x="17" y="156"/>
                      <a:pt x="17" y="156"/>
                      <a:pt x="17" y="156"/>
                    </a:cubicBezTo>
                    <a:cubicBezTo>
                      <a:pt x="17" y="156"/>
                      <a:pt x="17" y="156"/>
                      <a:pt x="17" y="156"/>
                    </a:cubicBezTo>
                    <a:cubicBezTo>
                      <a:pt x="17" y="155"/>
                      <a:pt x="17" y="155"/>
                      <a:pt x="17" y="155"/>
                    </a:cubicBezTo>
                    <a:cubicBezTo>
                      <a:pt x="17" y="156"/>
                      <a:pt x="16" y="156"/>
                      <a:pt x="16" y="156"/>
                    </a:cubicBezTo>
                    <a:cubicBezTo>
                      <a:pt x="16" y="156"/>
                      <a:pt x="15" y="156"/>
                      <a:pt x="15" y="157"/>
                    </a:cubicBezTo>
                    <a:cubicBezTo>
                      <a:pt x="15" y="157"/>
                      <a:pt x="15" y="157"/>
                      <a:pt x="15" y="157"/>
                    </a:cubicBezTo>
                    <a:cubicBezTo>
                      <a:pt x="15" y="158"/>
                      <a:pt x="16" y="158"/>
                      <a:pt x="16" y="158"/>
                    </a:cubicBezTo>
                    <a:cubicBezTo>
                      <a:pt x="16" y="158"/>
                      <a:pt x="16" y="158"/>
                      <a:pt x="16" y="158"/>
                    </a:cubicBezTo>
                    <a:cubicBezTo>
                      <a:pt x="16" y="158"/>
                      <a:pt x="15" y="158"/>
                      <a:pt x="15" y="159"/>
                    </a:cubicBezTo>
                    <a:cubicBezTo>
                      <a:pt x="15" y="159"/>
                      <a:pt x="15" y="159"/>
                      <a:pt x="15" y="159"/>
                    </a:cubicBezTo>
                    <a:cubicBezTo>
                      <a:pt x="15" y="159"/>
                      <a:pt x="16" y="159"/>
                      <a:pt x="16" y="159"/>
                    </a:cubicBezTo>
                    <a:cubicBezTo>
                      <a:pt x="16" y="159"/>
                      <a:pt x="16" y="160"/>
                      <a:pt x="16" y="160"/>
                    </a:cubicBezTo>
                    <a:cubicBezTo>
                      <a:pt x="16" y="160"/>
                      <a:pt x="16" y="160"/>
                      <a:pt x="17" y="160"/>
                    </a:cubicBezTo>
                    <a:cubicBezTo>
                      <a:pt x="17" y="160"/>
                      <a:pt x="17" y="160"/>
                      <a:pt x="17" y="160"/>
                    </a:cubicBezTo>
                    <a:cubicBezTo>
                      <a:pt x="17" y="159"/>
                      <a:pt x="17" y="160"/>
                      <a:pt x="18" y="160"/>
                    </a:cubicBezTo>
                    <a:cubicBezTo>
                      <a:pt x="18" y="160"/>
                      <a:pt x="18" y="160"/>
                      <a:pt x="18" y="160"/>
                    </a:cubicBezTo>
                    <a:cubicBezTo>
                      <a:pt x="18" y="160"/>
                      <a:pt x="18" y="160"/>
                      <a:pt x="19" y="160"/>
                    </a:cubicBezTo>
                    <a:cubicBezTo>
                      <a:pt x="19" y="160"/>
                      <a:pt x="19" y="161"/>
                      <a:pt x="20" y="161"/>
                    </a:cubicBezTo>
                    <a:cubicBezTo>
                      <a:pt x="20" y="161"/>
                      <a:pt x="20" y="161"/>
                      <a:pt x="20" y="161"/>
                    </a:cubicBezTo>
                    <a:cubicBezTo>
                      <a:pt x="20" y="161"/>
                      <a:pt x="21" y="161"/>
                      <a:pt x="21" y="161"/>
                    </a:cubicBezTo>
                    <a:cubicBezTo>
                      <a:pt x="21" y="161"/>
                      <a:pt x="21" y="161"/>
                      <a:pt x="21" y="161"/>
                    </a:cubicBezTo>
                    <a:cubicBezTo>
                      <a:pt x="21" y="161"/>
                      <a:pt x="21" y="161"/>
                      <a:pt x="22" y="161"/>
                    </a:cubicBezTo>
                    <a:cubicBezTo>
                      <a:pt x="22" y="161"/>
                      <a:pt x="22" y="161"/>
                      <a:pt x="22" y="161"/>
                    </a:cubicBezTo>
                    <a:cubicBezTo>
                      <a:pt x="22" y="161"/>
                      <a:pt x="22" y="162"/>
                      <a:pt x="22" y="162"/>
                    </a:cubicBezTo>
                    <a:cubicBezTo>
                      <a:pt x="22" y="162"/>
                      <a:pt x="22" y="162"/>
                      <a:pt x="22" y="162"/>
                    </a:cubicBezTo>
                    <a:cubicBezTo>
                      <a:pt x="22" y="162"/>
                      <a:pt x="22" y="162"/>
                      <a:pt x="23" y="162"/>
                    </a:cubicBezTo>
                    <a:cubicBezTo>
                      <a:pt x="23" y="162"/>
                      <a:pt x="23" y="163"/>
                      <a:pt x="23" y="163"/>
                    </a:cubicBezTo>
                    <a:cubicBezTo>
                      <a:pt x="23" y="163"/>
                      <a:pt x="23" y="163"/>
                      <a:pt x="23" y="163"/>
                    </a:cubicBezTo>
                    <a:cubicBezTo>
                      <a:pt x="24" y="163"/>
                      <a:pt x="24" y="164"/>
                      <a:pt x="24" y="164"/>
                    </a:cubicBezTo>
                    <a:cubicBezTo>
                      <a:pt x="23" y="164"/>
                      <a:pt x="23" y="165"/>
                      <a:pt x="24" y="165"/>
                    </a:cubicBezTo>
                    <a:cubicBezTo>
                      <a:pt x="24" y="165"/>
                      <a:pt x="24" y="166"/>
                      <a:pt x="25" y="166"/>
                    </a:cubicBezTo>
                    <a:cubicBezTo>
                      <a:pt x="25" y="166"/>
                      <a:pt x="26" y="167"/>
                      <a:pt x="26" y="167"/>
                    </a:cubicBezTo>
                    <a:cubicBezTo>
                      <a:pt x="26" y="167"/>
                      <a:pt x="26" y="167"/>
                      <a:pt x="26" y="167"/>
                    </a:cubicBezTo>
                    <a:cubicBezTo>
                      <a:pt x="26" y="167"/>
                      <a:pt x="26" y="168"/>
                      <a:pt x="27" y="168"/>
                    </a:cubicBezTo>
                    <a:cubicBezTo>
                      <a:pt x="27" y="169"/>
                      <a:pt x="27" y="169"/>
                      <a:pt x="27" y="169"/>
                    </a:cubicBezTo>
                    <a:cubicBezTo>
                      <a:pt x="26" y="169"/>
                      <a:pt x="26" y="169"/>
                      <a:pt x="26" y="169"/>
                    </a:cubicBezTo>
                    <a:cubicBezTo>
                      <a:pt x="26" y="169"/>
                      <a:pt x="26" y="170"/>
                      <a:pt x="27" y="170"/>
                    </a:cubicBezTo>
                    <a:cubicBezTo>
                      <a:pt x="27" y="170"/>
                      <a:pt x="27" y="170"/>
                      <a:pt x="27" y="171"/>
                    </a:cubicBezTo>
                    <a:cubicBezTo>
                      <a:pt x="27" y="171"/>
                      <a:pt x="26" y="172"/>
                      <a:pt x="26" y="173"/>
                    </a:cubicBezTo>
                    <a:cubicBezTo>
                      <a:pt x="26" y="174"/>
                      <a:pt x="26" y="175"/>
                      <a:pt x="26" y="176"/>
                    </a:cubicBezTo>
                    <a:cubicBezTo>
                      <a:pt x="26" y="176"/>
                      <a:pt x="26" y="177"/>
                      <a:pt x="26" y="178"/>
                    </a:cubicBezTo>
                    <a:cubicBezTo>
                      <a:pt x="26" y="178"/>
                      <a:pt x="26" y="179"/>
                      <a:pt x="25" y="179"/>
                    </a:cubicBezTo>
                    <a:cubicBezTo>
                      <a:pt x="25" y="179"/>
                      <a:pt x="25" y="180"/>
                      <a:pt x="25" y="180"/>
                    </a:cubicBezTo>
                    <a:cubicBezTo>
                      <a:pt x="24" y="181"/>
                      <a:pt x="24" y="181"/>
                      <a:pt x="24" y="181"/>
                    </a:cubicBezTo>
                    <a:cubicBezTo>
                      <a:pt x="27" y="182"/>
                      <a:pt x="27" y="182"/>
                      <a:pt x="27" y="182"/>
                    </a:cubicBezTo>
                    <a:cubicBezTo>
                      <a:pt x="27" y="182"/>
                      <a:pt x="27" y="182"/>
                      <a:pt x="27" y="182"/>
                    </a:cubicBezTo>
                    <a:cubicBezTo>
                      <a:pt x="27" y="182"/>
                      <a:pt x="27" y="182"/>
                      <a:pt x="27" y="182"/>
                    </a:cubicBezTo>
                    <a:cubicBezTo>
                      <a:pt x="24" y="181"/>
                      <a:pt x="24" y="181"/>
                      <a:pt x="24" y="181"/>
                    </a:cubicBezTo>
                    <a:cubicBezTo>
                      <a:pt x="25" y="180"/>
                      <a:pt x="25" y="180"/>
                      <a:pt x="25" y="180"/>
                    </a:cubicBezTo>
                    <a:cubicBezTo>
                      <a:pt x="25" y="180"/>
                      <a:pt x="24" y="180"/>
                      <a:pt x="24" y="180"/>
                    </a:cubicBezTo>
                    <a:cubicBezTo>
                      <a:pt x="24" y="180"/>
                      <a:pt x="24" y="180"/>
                      <a:pt x="24" y="180"/>
                    </a:cubicBezTo>
                    <a:cubicBezTo>
                      <a:pt x="24" y="180"/>
                      <a:pt x="24" y="180"/>
                      <a:pt x="24" y="180"/>
                    </a:cubicBezTo>
                    <a:cubicBezTo>
                      <a:pt x="23" y="180"/>
                      <a:pt x="22" y="180"/>
                      <a:pt x="22" y="180"/>
                    </a:cubicBezTo>
                    <a:cubicBezTo>
                      <a:pt x="22" y="180"/>
                      <a:pt x="21" y="180"/>
                      <a:pt x="21" y="180"/>
                    </a:cubicBezTo>
                    <a:cubicBezTo>
                      <a:pt x="21" y="180"/>
                      <a:pt x="21" y="180"/>
                      <a:pt x="21" y="180"/>
                    </a:cubicBezTo>
                    <a:cubicBezTo>
                      <a:pt x="20" y="180"/>
                      <a:pt x="20" y="180"/>
                      <a:pt x="20" y="180"/>
                    </a:cubicBezTo>
                    <a:cubicBezTo>
                      <a:pt x="19" y="180"/>
                      <a:pt x="19" y="180"/>
                      <a:pt x="19" y="180"/>
                    </a:cubicBezTo>
                    <a:cubicBezTo>
                      <a:pt x="19" y="180"/>
                      <a:pt x="19" y="179"/>
                      <a:pt x="19" y="179"/>
                    </a:cubicBezTo>
                    <a:cubicBezTo>
                      <a:pt x="19" y="179"/>
                      <a:pt x="19" y="179"/>
                      <a:pt x="18" y="179"/>
                    </a:cubicBezTo>
                    <a:cubicBezTo>
                      <a:pt x="18" y="180"/>
                      <a:pt x="18" y="180"/>
                      <a:pt x="18" y="180"/>
                    </a:cubicBezTo>
                    <a:cubicBezTo>
                      <a:pt x="18" y="180"/>
                      <a:pt x="17" y="180"/>
                      <a:pt x="17" y="180"/>
                    </a:cubicBezTo>
                    <a:cubicBezTo>
                      <a:pt x="17" y="180"/>
                      <a:pt x="16" y="180"/>
                      <a:pt x="15" y="180"/>
                    </a:cubicBezTo>
                    <a:cubicBezTo>
                      <a:pt x="15" y="180"/>
                      <a:pt x="15" y="180"/>
                      <a:pt x="15" y="180"/>
                    </a:cubicBezTo>
                    <a:cubicBezTo>
                      <a:pt x="15" y="180"/>
                      <a:pt x="15" y="180"/>
                      <a:pt x="15" y="180"/>
                    </a:cubicBezTo>
                    <a:cubicBezTo>
                      <a:pt x="14" y="180"/>
                      <a:pt x="14" y="180"/>
                      <a:pt x="13" y="179"/>
                    </a:cubicBezTo>
                    <a:cubicBezTo>
                      <a:pt x="13" y="179"/>
                      <a:pt x="13" y="179"/>
                      <a:pt x="13" y="179"/>
                    </a:cubicBezTo>
                    <a:cubicBezTo>
                      <a:pt x="13" y="179"/>
                      <a:pt x="13" y="179"/>
                      <a:pt x="13" y="179"/>
                    </a:cubicBezTo>
                    <a:cubicBezTo>
                      <a:pt x="13" y="179"/>
                      <a:pt x="13" y="179"/>
                      <a:pt x="12" y="179"/>
                    </a:cubicBezTo>
                    <a:cubicBezTo>
                      <a:pt x="12" y="179"/>
                      <a:pt x="12" y="179"/>
                      <a:pt x="12" y="179"/>
                    </a:cubicBezTo>
                    <a:cubicBezTo>
                      <a:pt x="11" y="179"/>
                      <a:pt x="11" y="179"/>
                      <a:pt x="11" y="179"/>
                    </a:cubicBezTo>
                    <a:cubicBezTo>
                      <a:pt x="11" y="179"/>
                      <a:pt x="11" y="179"/>
                      <a:pt x="10" y="179"/>
                    </a:cubicBezTo>
                    <a:cubicBezTo>
                      <a:pt x="9" y="179"/>
                      <a:pt x="8" y="179"/>
                      <a:pt x="8" y="179"/>
                    </a:cubicBezTo>
                    <a:cubicBezTo>
                      <a:pt x="8" y="179"/>
                      <a:pt x="8" y="179"/>
                      <a:pt x="7" y="179"/>
                    </a:cubicBezTo>
                    <a:cubicBezTo>
                      <a:pt x="7" y="179"/>
                      <a:pt x="7" y="179"/>
                      <a:pt x="7" y="179"/>
                    </a:cubicBezTo>
                    <a:cubicBezTo>
                      <a:pt x="7" y="179"/>
                      <a:pt x="7" y="179"/>
                      <a:pt x="7" y="179"/>
                    </a:cubicBezTo>
                    <a:cubicBezTo>
                      <a:pt x="7" y="179"/>
                      <a:pt x="6" y="179"/>
                      <a:pt x="6" y="179"/>
                    </a:cubicBezTo>
                    <a:cubicBezTo>
                      <a:pt x="6" y="179"/>
                      <a:pt x="6" y="179"/>
                      <a:pt x="6" y="178"/>
                    </a:cubicBezTo>
                    <a:cubicBezTo>
                      <a:pt x="6" y="178"/>
                      <a:pt x="5" y="178"/>
                      <a:pt x="5" y="178"/>
                    </a:cubicBezTo>
                    <a:cubicBezTo>
                      <a:pt x="5" y="179"/>
                      <a:pt x="4" y="179"/>
                      <a:pt x="4" y="179"/>
                    </a:cubicBezTo>
                    <a:cubicBezTo>
                      <a:pt x="4" y="179"/>
                      <a:pt x="4" y="179"/>
                      <a:pt x="4" y="180"/>
                    </a:cubicBezTo>
                    <a:cubicBezTo>
                      <a:pt x="4" y="180"/>
                      <a:pt x="4" y="180"/>
                      <a:pt x="4" y="180"/>
                    </a:cubicBezTo>
                    <a:cubicBezTo>
                      <a:pt x="4" y="180"/>
                      <a:pt x="4" y="180"/>
                      <a:pt x="4" y="180"/>
                    </a:cubicBezTo>
                    <a:cubicBezTo>
                      <a:pt x="3" y="180"/>
                      <a:pt x="3" y="180"/>
                      <a:pt x="3" y="180"/>
                    </a:cubicBezTo>
                    <a:cubicBezTo>
                      <a:pt x="3" y="180"/>
                      <a:pt x="2" y="180"/>
                      <a:pt x="2" y="180"/>
                    </a:cubicBezTo>
                    <a:cubicBezTo>
                      <a:pt x="2" y="180"/>
                      <a:pt x="2" y="180"/>
                      <a:pt x="1" y="181"/>
                    </a:cubicBezTo>
                    <a:cubicBezTo>
                      <a:pt x="1" y="181"/>
                      <a:pt x="1" y="181"/>
                      <a:pt x="1" y="181"/>
                    </a:cubicBezTo>
                    <a:cubicBezTo>
                      <a:pt x="1" y="181"/>
                      <a:pt x="0" y="181"/>
                      <a:pt x="0" y="182"/>
                    </a:cubicBezTo>
                    <a:cubicBezTo>
                      <a:pt x="0" y="182"/>
                      <a:pt x="0" y="182"/>
                      <a:pt x="1" y="182"/>
                    </a:cubicBezTo>
                    <a:cubicBezTo>
                      <a:pt x="1" y="182"/>
                      <a:pt x="1" y="182"/>
                      <a:pt x="1" y="182"/>
                    </a:cubicBezTo>
                    <a:cubicBezTo>
                      <a:pt x="1" y="183"/>
                      <a:pt x="1" y="183"/>
                      <a:pt x="2" y="183"/>
                    </a:cubicBezTo>
                    <a:cubicBezTo>
                      <a:pt x="2" y="183"/>
                      <a:pt x="2" y="183"/>
                      <a:pt x="2" y="184"/>
                    </a:cubicBezTo>
                    <a:cubicBezTo>
                      <a:pt x="2" y="184"/>
                      <a:pt x="2" y="184"/>
                      <a:pt x="2" y="184"/>
                    </a:cubicBezTo>
                    <a:cubicBezTo>
                      <a:pt x="2" y="185"/>
                      <a:pt x="2" y="185"/>
                      <a:pt x="2" y="185"/>
                    </a:cubicBezTo>
                    <a:cubicBezTo>
                      <a:pt x="2" y="185"/>
                      <a:pt x="2" y="185"/>
                      <a:pt x="2" y="186"/>
                    </a:cubicBezTo>
                    <a:cubicBezTo>
                      <a:pt x="2" y="186"/>
                      <a:pt x="2" y="186"/>
                      <a:pt x="2" y="186"/>
                    </a:cubicBezTo>
                    <a:cubicBezTo>
                      <a:pt x="2" y="186"/>
                      <a:pt x="2" y="186"/>
                      <a:pt x="2" y="186"/>
                    </a:cubicBezTo>
                    <a:cubicBezTo>
                      <a:pt x="2" y="186"/>
                      <a:pt x="2" y="186"/>
                      <a:pt x="2" y="186"/>
                    </a:cubicBezTo>
                    <a:cubicBezTo>
                      <a:pt x="2" y="186"/>
                      <a:pt x="2" y="187"/>
                      <a:pt x="2" y="187"/>
                    </a:cubicBezTo>
                    <a:cubicBezTo>
                      <a:pt x="2" y="187"/>
                      <a:pt x="2" y="187"/>
                      <a:pt x="2" y="187"/>
                    </a:cubicBezTo>
                    <a:cubicBezTo>
                      <a:pt x="2" y="188"/>
                      <a:pt x="2" y="188"/>
                      <a:pt x="2" y="189"/>
                    </a:cubicBezTo>
                    <a:cubicBezTo>
                      <a:pt x="2" y="189"/>
                      <a:pt x="2" y="190"/>
                      <a:pt x="3" y="190"/>
                    </a:cubicBezTo>
                    <a:cubicBezTo>
                      <a:pt x="3" y="190"/>
                      <a:pt x="2" y="191"/>
                      <a:pt x="2" y="191"/>
                    </a:cubicBezTo>
                    <a:cubicBezTo>
                      <a:pt x="2" y="192"/>
                      <a:pt x="2" y="192"/>
                      <a:pt x="2" y="193"/>
                    </a:cubicBezTo>
                    <a:cubicBezTo>
                      <a:pt x="2" y="193"/>
                      <a:pt x="2" y="194"/>
                      <a:pt x="2" y="194"/>
                    </a:cubicBezTo>
                    <a:cubicBezTo>
                      <a:pt x="2" y="194"/>
                      <a:pt x="1" y="195"/>
                      <a:pt x="1" y="196"/>
                    </a:cubicBezTo>
                    <a:cubicBezTo>
                      <a:pt x="1" y="197"/>
                      <a:pt x="0" y="197"/>
                      <a:pt x="0" y="198"/>
                    </a:cubicBezTo>
                    <a:cubicBezTo>
                      <a:pt x="0" y="198"/>
                      <a:pt x="0" y="198"/>
                      <a:pt x="0" y="198"/>
                    </a:cubicBezTo>
                    <a:cubicBezTo>
                      <a:pt x="0" y="198"/>
                      <a:pt x="0" y="199"/>
                      <a:pt x="0" y="199"/>
                    </a:cubicBezTo>
                    <a:cubicBezTo>
                      <a:pt x="0" y="199"/>
                      <a:pt x="0" y="200"/>
                      <a:pt x="0" y="200"/>
                    </a:cubicBezTo>
                    <a:cubicBezTo>
                      <a:pt x="0" y="200"/>
                      <a:pt x="0" y="201"/>
                      <a:pt x="0" y="201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1" y="202"/>
                      <a:pt x="1" y="202"/>
                      <a:pt x="1" y="202"/>
                    </a:cubicBezTo>
                    <a:cubicBezTo>
                      <a:pt x="1" y="202"/>
                      <a:pt x="2" y="202"/>
                      <a:pt x="2" y="202"/>
                    </a:cubicBezTo>
                    <a:cubicBezTo>
                      <a:pt x="2" y="203"/>
                      <a:pt x="2" y="203"/>
                      <a:pt x="2" y="203"/>
                    </a:cubicBezTo>
                    <a:cubicBezTo>
                      <a:pt x="2" y="204"/>
                      <a:pt x="2" y="204"/>
                      <a:pt x="2" y="204"/>
                    </a:cubicBezTo>
                    <a:cubicBezTo>
                      <a:pt x="2" y="204"/>
                      <a:pt x="2" y="205"/>
                      <a:pt x="2" y="205"/>
                    </a:cubicBezTo>
                    <a:cubicBezTo>
                      <a:pt x="2" y="205"/>
                      <a:pt x="2" y="205"/>
                      <a:pt x="2" y="205"/>
                    </a:cubicBezTo>
                    <a:cubicBezTo>
                      <a:pt x="2" y="205"/>
                      <a:pt x="2" y="205"/>
                      <a:pt x="2" y="206"/>
                    </a:cubicBezTo>
                    <a:cubicBezTo>
                      <a:pt x="2" y="206"/>
                      <a:pt x="2" y="207"/>
                      <a:pt x="2" y="207"/>
                    </a:cubicBezTo>
                    <a:cubicBezTo>
                      <a:pt x="1" y="207"/>
                      <a:pt x="1" y="208"/>
                      <a:pt x="1" y="208"/>
                    </a:cubicBezTo>
                    <a:cubicBezTo>
                      <a:pt x="2" y="208"/>
                      <a:pt x="2" y="208"/>
                      <a:pt x="2" y="207"/>
                    </a:cubicBezTo>
                    <a:cubicBezTo>
                      <a:pt x="2" y="207"/>
                      <a:pt x="2" y="207"/>
                      <a:pt x="2" y="207"/>
                    </a:cubicBezTo>
                    <a:cubicBezTo>
                      <a:pt x="3" y="207"/>
                      <a:pt x="3" y="207"/>
                      <a:pt x="3" y="207"/>
                    </a:cubicBezTo>
                    <a:cubicBezTo>
                      <a:pt x="3" y="207"/>
                      <a:pt x="4" y="208"/>
                      <a:pt x="4" y="208"/>
                    </a:cubicBezTo>
                    <a:cubicBezTo>
                      <a:pt x="4" y="208"/>
                      <a:pt x="5" y="208"/>
                      <a:pt x="5" y="208"/>
                    </a:cubicBezTo>
                    <a:cubicBezTo>
                      <a:pt x="5" y="208"/>
                      <a:pt x="5" y="208"/>
                      <a:pt x="5" y="208"/>
                    </a:cubicBezTo>
                    <a:cubicBezTo>
                      <a:pt x="6" y="208"/>
                      <a:pt x="6" y="207"/>
                      <a:pt x="6" y="207"/>
                    </a:cubicBezTo>
                    <a:cubicBezTo>
                      <a:pt x="7" y="205"/>
                      <a:pt x="7" y="205"/>
                      <a:pt x="7" y="205"/>
                    </a:cubicBezTo>
                    <a:cubicBezTo>
                      <a:pt x="7" y="204"/>
                      <a:pt x="7" y="204"/>
                      <a:pt x="7" y="204"/>
                    </a:cubicBezTo>
                    <a:cubicBezTo>
                      <a:pt x="7" y="205"/>
                      <a:pt x="7" y="205"/>
                      <a:pt x="7" y="205"/>
                    </a:cubicBezTo>
                    <a:cubicBezTo>
                      <a:pt x="6" y="207"/>
                      <a:pt x="6" y="207"/>
                      <a:pt x="6" y="207"/>
                    </a:cubicBezTo>
                    <a:cubicBezTo>
                      <a:pt x="6" y="207"/>
                      <a:pt x="7" y="207"/>
                      <a:pt x="7" y="207"/>
                    </a:cubicBezTo>
                    <a:cubicBezTo>
                      <a:pt x="7" y="207"/>
                      <a:pt x="7" y="207"/>
                      <a:pt x="8" y="207"/>
                    </a:cubicBezTo>
                    <a:cubicBezTo>
                      <a:pt x="8" y="207"/>
                      <a:pt x="8" y="207"/>
                      <a:pt x="9" y="208"/>
                    </a:cubicBezTo>
                    <a:cubicBezTo>
                      <a:pt x="9" y="208"/>
                      <a:pt x="9" y="208"/>
                      <a:pt x="10" y="208"/>
                    </a:cubicBezTo>
                    <a:cubicBezTo>
                      <a:pt x="10" y="209"/>
                      <a:pt x="10" y="209"/>
                      <a:pt x="10" y="209"/>
                    </a:cubicBezTo>
                    <a:cubicBezTo>
                      <a:pt x="10" y="209"/>
                      <a:pt x="10" y="209"/>
                      <a:pt x="10" y="209"/>
                    </a:cubicBezTo>
                    <a:cubicBezTo>
                      <a:pt x="10" y="210"/>
                      <a:pt x="10" y="210"/>
                      <a:pt x="10" y="210"/>
                    </a:cubicBezTo>
                    <a:cubicBezTo>
                      <a:pt x="10" y="210"/>
                      <a:pt x="10" y="210"/>
                      <a:pt x="10" y="210"/>
                    </a:cubicBezTo>
                    <a:cubicBezTo>
                      <a:pt x="10" y="210"/>
                      <a:pt x="10" y="211"/>
                      <a:pt x="10" y="211"/>
                    </a:cubicBezTo>
                    <a:cubicBezTo>
                      <a:pt x="11" y="211"/>
                      <a:pt x="11" y="212"/>
                      <a:pt x="11" y="212"/>
                    </a:cubicBezTo>
                    <a:cubicBezTo>
                      <a:pt x="11" y="212"/>
                      <a:pt x="12" y="212"/>
                      <a:pt x="12" y="212"/>
                    </a:cubicBezTo>
                    <a:cubicBezTo>
                      <a:pt x="12" y="212"/>
                      <a:pt x="13" y="212"/>
                      <a:pt x="13" y="212"/>
                    </a:cubicBezTo>
                    <a:cubicBezTo>
                      <a:pt x="13" y="212"/>
                      <a:pt x="13" y="212"/>
                      <a:pt x="13" y="212"/>
                    </a:cubicBezTo>
                    <a:cubicBezTo>
                      <a:pt x="13" y="212"/>
                      <a:pt x="13" y="212"/>
                      <a:pt x="13" y="212"/>
                    </a:cubicBezTo>
                    <a:cubicBezTo>
                      <a:pt x="14" y="211"/>
                      <a:pt x="14" y="211"/>
                      <a:pt x="13" y="211"/>
                    </a:cubicBezTo>
                    <a:cubicBezTo>
                      <a:pt x="13" y="211"/>
                      <a:pt x="13" y="211"/>
                      <a:pt x="13" y="211"/>
                    </a:cubicBezTo>
                    <a:cubicBezTo>
                      <a:pt x="13" y="211"/>
                      <a:pt x="14" y="210"/>
                      <a:pt x="14" y="210"/>
                    </a:cubicBezTo>
                    <a:cubicBezTo>
                      <a:pt x="14" y="210"/>
                      <a:pt x="14" y="210"/>
                      <a:pt x="15" y="210"/>
                    </a:cubicBezTo>
                    <a:cubicBezTo>
                      <a:pt x="15" y="210"/>
                      <a:pt x="15" y="210"/>
                      <a:pt x="16" y="210"/>
                    </a:cubicBezTo>
                    <a:cubicBezTo>
                      <a:pt x="16" y="210"/>
                      <a:pt x="16" y="209"/>
                      <a:pt x="16" y="209"/>
                    </a:cubicBezTo>
                    <a:cubicBezTo>
                      <a:pt x="17" y="209"/>
                      <a:pt x="17" y="209"/>
                      <a:pt x="17" y="209"/>
                    </a:cubicBezTo>
                    <a:cubicBezTo>
                      <a:pt x="18" y="209"/>
                      <a:pt x="18" y="209"/>
                      <a:pt x="18" y="209"/>
                    </a:cubicBezTo>
                    <a:cubicBezTo>
                      <a:pt x="19" y="209"/>
                      <a:pt x="19" y="209"/>
                      <a:pt x="19" y="209"/>
                    </a:cubicBezTo>
                    <a:cubicBezTo>
                      <a:pt x="19" y="209"/>
                      <a:pt x="20" y="209"/>
                      <a:pt x="20" y="209"/>
                    </a:cubicBezTo>
                    <a:cubicBezTo>
                      <a:pt x="21" y="209"/>
                      <a:pt x="21" y="209"/>
                      <a:pt x="21" y="209"/>
                    </a:cubicBezTo>
                    <a:cubicBezTo>
                      <a:pt x="21" y="209"/>
                      <a:pt x="21" y="209"/>
                      <a:pt x="21" y="209"/>
                    </a:cubicBezTo>
                    <a:cubicBezTo>
                      <a:pt x="22" y="209"/>
                      <a:pt x="22" y="209"/>
                      <a:pt x="22" y="209"/>
                    </a:cubicBezTo>
                    <a:cubicBezTo>
                      <a:pt x="22" y="209"/>
                      <a:pt x="22" y="209"/>
                      <a:pt x="22" y="209"/>
                    </a:cubicBezTo>
                    <a:cubicBezTo>
                      <a:pt x="22" y="209"/>
                      <a:pt x="23" y="209"/>
                      <a:pt x="23" y="209"/>
                    </a:cubicBezTo>
                    <a:cubicBezTo>
                      <a:pt x="23" y="209"/>
                      <a:pt x="23" y="209"/>
                      <a:pt x="24" y="208"/>
                    </a:cubicBezTo>
                    <a:cubicBezTo>
                      <a:pt x="24" y="208"/>
                      <a:pt x="24" y="208"/>
                      <a:pt x="24" y="208"/>
                    </a:cubicBezTo>
                    <a:cubicBezTo>
                      <a:pt x="24" y="208"/>
                      <a:pt x="24" y="208"/>
                      <a:pt x="24" y="208"/>
                    </a:cubicBezTo>
                    <a:cubicBezTo>
                      <a:pt x="24" y="207"/>
                      <a:pt x="25" y="207"/>
                      <a:pt x="25" y="206"/>
                    </a:cubicBezTo>
                    <a:cubicBezTo>
                      <a:pt x="25" y="206"/>
                      <a:pt x="26" y="206"/>
                      <a:pt x="26" y="206"/>
                    </a:cubicBezTo>
                    <a:cubicBezTo>
                      <a:pt x="26" y="206"/>
                      <a:pt x="27" y="206"/>
                      <a:pt x="27" y="206"/>
                    </a:cubicBezTo>
                    <a:cubicBezTo>
                      <a:pt x="27" y="205"/>
                      <a:pt x="28" y="205"/>
                      <a:pt x="28" y="205"/>
                    </a:cubicBezTo>
                    <a:cubicBezTo>
                      <a:pt x="27" y="205"/>
                      <a:pt x="27" y="205"/>
                      <a:pt x="28" y="204"/>
                    </a:cubicBezTo>
                    <a:cubicBezTo>
                      <a:pt x="28" y="204"/>
                      <a:pt x="28" y="204"/>
                      <a:pt x="28" y="204"/>
                    </a:cubicBezTo>
                    <a:cubicBezTo>
                      <a:pt x="28" y="204"/>
                      <a:pt x="28" y="203"/>
                      <a:pt x="28" y="203"/>
                    </a:cubicBezTo>
                    <a:cubicBezTo>
                      <a:pt x="28" y="202"/>
                      <a:pt x="29" y="202"/>
                      <a:pt x="29" y="202"/>
                    </a:cubicBezTo>
                    <a:cubicBezTo>
                      <a:pt x="30" y="201"/>
                      <a:pt x="30" y="201"/>
                      <a:pt x="30" y="201"/>
                    </a:cubicBezTo>
                    <a:cubicBezTo>
                      <a:pt x="30" y="201"/>
                      <a:pt x="30" y="200"/>
                      <a:pt x="30" y="200"/>
                    </a:cubicBezTo>
                    <a:cubicBezTo>
                      <a:pt x="30" y="200"/>
                      <a:pt x="30" y="199"/>
                      <a:pt x="29" y="199"/>
                    </a:cubicBezTo>
                    <a:cubicBezTo>
                      <a:pt x="29" y="199"/>
                      <a:pt x="29" y="199"/>
                      <a:pt x="29" y="198"/>
                    </a:cubicBezTo>
                    <a:cubicBezTo>
                      <a:pt x="29" y="198"/>
                      <a:pt x="29" y="197"/>
                      <a:pt x="29" y="197"/>
                    </a:cubicBezTo>
                    <a:cubicBezTo>
                      <a:pt x="29" y="197"/>
                      <a:pt x="29" y="197"/>
                      <a:pt x="30" y="196"/>
                    </a:cubicBezTo>
                    <a:cubicBezTo>
                      <a:pt x="30" y="196"/>
                      <a:pt x="30" y="195"/>
                      <a:pt x="31" y="194"/>
                    </a:cubicBezTo>
                    <a:cubicBezTo>
                      <a:pt x="31" y="193"/>
                      <a:pt x="32" y="193"/>
                      <a:pt x="3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33" y="192"/>
                      <a:pt x="33" y="192"/>
                      <a:pt x="33" y="192"/>
                    </a:cubicBezTo>
                    <a:cubicBezTo>
                      <a:pt x="33" y="192"/>
                      <a:pt x="33" y="192"/>
                      <a:pt x="33" y="192"/>
                    </a:cubicBezTo>
                    <a:cubicBezTo>
                      <a:pt x="33" y="192"/>
                      <a:pt x="33" y="192"/>
                      <a:pt x="33" y="191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0"/>
                      <a:pt x="34" y="190"/>
                    </a:cubicBezTo>
                    <a:cubicBezTo>
                      <a:pt x="35" y="190"/>
                      <a:pt x="36" y="190"/>
                      <a:pt x="36" y="190"/>
                    </a:cubicBezTo>
                    <a:cubicBezTo>
                      <a:pt x="36" y="190"/>
                      <a:pt x="37" y="189"/>
                      <a:pt x="37" y="189"/>
                    </a:cubicBezTo>
                    <a:cubicBezTo>
                      <a:pt x="37" y="189"/>
                      <a:pt x="37" y="189"/>
                      <a:pt x="37" y="189"/>
                    </a:cubicBezTo>
                    <a:cubicBezTo>
                      <a:pt x="37" y="189"/>
                      <a:pt x="37" y="189"/>
                      <a:pt x="38" y="188"/>
                    </a:cubicBezTo>
                    <a:cubicBezTo>
                      <a:pt x="38" y="188"/>
                      <a:pt x="39" y="188"/>
                      <a:pt x="39" y="188"/>
                    </a:cubicBezTo>
                    <a:cubicBezTo>
                      <a:pt x="40" y="188"/>
                      <a:pt x="40" y="187"/>
                      <a:pt x="40" y="187"/>
                    </a:cubicBezTo>
                    <a:cubicBezTo>
                      <a:pt x="40" y="187"/>
                      <a:pt x="40" y="186"/>
                      <a:pt x="40" y="186"/>
                    </a:cubicBezTo>
                    <a:cubicBezTo>
                      <a:pt x="40" y="186"/>
                      <a:pt x="40" y="186"/>
                      <a:pt x="40" y="186"/>
                    </a:cubicBezTo>
                    <a:cubicBezTo>
                      <a:pt x="40" y="185"/>
                      <a:pt x="40" y="185"/>
                      <a:pt x="41" y="185"/>
                    </a:cubicBezTo>
                    <a:cubicBezTo>
                      <a:pt x="41" y="185"/>
                      <a:pt x="41" y="185"/>
                      <a:pt x="41" y="185"/>
                    </a:cubicBezTo>
                    <a:cubicBezTo>
                      <a:pt x="41" y="185"/>
                      <a:pt x="41" y="185"/>
                      <a:pt x="41" y="185"/>
                    </a:cubicBezTo>
                    <a:cubicBezTo>
                      <a:pt x="41" y="184"/>
                      <a:pt x="40" y="184"/>
                      <a:pt x="40" y="184"/>
                    </a:cubicBezTo>
                    <a:cubicBezTo>
                      <a:pt x="40" y="184"/>
                      <a:pt x="40" y="184"/>
                      <a:pt x="40" y="184"/>
                    </a:cubicBezTo>
                    <a:cubicBezTo>
                      <a:pt x="39" y="184"/>
                      <a:pt x="39" y="184"/>
                      <a:pt x="39" y="184"/>
                    </a:cubicBezTo>
                    <a:cubicBezTo>
                      <a:pt x="40" y="184"/>
                      <a:pt x="40" y="184"/>
                      <a:pt x="40" y="184"/>
                    </a:cubicBezTo>
                    <a:cubicBezTo>
                      <a:pt x="40" y="183"/>
                      <a:pt x="40" y="183"/>
                      <a:pt x="40" y="183"/>
                    </a:cubicBezTo>
                    <a:cubicBezTo>
                      <a:pt x="40" y="183"/>
                      <a:pt x="40" y="183"/>
                      <a:pt x="40" y="182"/>
                    </a:cubicBezTo>
                    <a:cubicBezTo>
                      <a:pt x="40" y="182"/>
                      <a:pt x="40" y="182"/>
                      <a:pt x="40" y="182"/>
                    </a:cubicBezTo>
                    <a:cubicBezTo>
                      <a:pt x="40" y="182"/>
                      <a:pt x="40" y="181"/>
                      <a:pt x="40" y="181"/>
                    </a:cubicBezTo>
                    <a:cubicBezTo>
                      <a:pt x="40" y="181"/>
                      <a:pt x="41" y="181"/>
                      <a:pt x="41" y="181"/>
                    </a:cubicBezTo>
                    <a:cubicBezTo>
                      <a:pt x="41" y="181"/>
                      <a:pt x="41" y="180"/>
                      <a:pt x="42" y="180"/>
                    </a:cubicBezTo>
                    <a:cubicBezTo>
                      <a:pt x="42" y="180"/>
                      <a:pt x="42" y="180"/>
                      <a:pt x="42" y="180"/>
                    </a:cubicBezTo>
                    <a:cubicBezTo>
                      <a:pt x="42" y="180"/>
                      <a:pt x="42" y="180"/>
                      <a:pt x="43" y="179"/>
                    </a:cubicBezTo>
                    <a:cubicBezTo>
                      <a:pt x="43" y="179"/>
                      <a:pt x="43" y="179"/>
                      <a:pt x="43" y="179"/>
                    </a:cubicBezTo>
                    <a:cubicBezTo>
                      <a:pt x="43" y="179"/>
                      <a:pt x="43" y="179"/>
                      <a:pt x="43" y="179"/>
                    </a:cubicBezTo>
                    <a:cubicBezTo>
                      <a:pt x="43" y="179"/>
                      <a:pt x="44" y="179"/>
                      <a:pt x="44" y="180"/>
                    </a:cubicBezTo>
                    <a:cubicBezTo>
                      <a:pt x="44" y="180"/>
                      <a:pt x="44" y="180"/>
                      <a:pt x="45" y="180"/>
                    </a:cubicBezTo>
                    <a:cubicBezTo>
                      <a:pt x="45" y="180"/>
                      <a:pt x="45" y="180"/>
                      <a:pt x="45" y="180"/>
                    </a:cubicBezTo>
                    <a:cubicBezTo>
                      <a:pt x="45" y="180"/>
                      <a:pt x="46" y="180"/>
                      <a:pt x="46" y="180"/>
                    </a:cubicBezTo>
                    <a:cubicBezTo>
                      <a:pt x="46" y="180"/>
                      <a:pt x="46" y="180"/>
                      <a:pt x="46" y="180"/>
                    </a:cubicBezTo>
                    <a:cubicBezTo>
                      <a:pt x="46" y="180"/>
                      <a:pt x="46" y="180"/>
                      <a:pt x="46" y="180"/>
                    </a:cubicBezTo>
                    <a:cubicBezTo>
                      <a:pt x="46" y="180"/>
                      <a:pt x="47" y="180"/>
                      <a:pt x="47" y="180"/>
                    </a:cubicBezTo>
                    <a:cubicBezTo>
                      <a:pt x="47" y="180"/>
                      <a:pt x="47" y="180"/>
                      <a:pt x="47" y="181"/>
                    </a:cubicBezTo>
                    <a:cubicBezTo>
                      <a:pt x="47" y="181"/>
                      <a:pt x="48" y="181"/>
                      <a:pt x="48" y="181"/>
                    </a:cubicBezTo>
                    <a:cubicBezTo>
                      <a:pt x="48" y="181"/>
                      <a:pt x="48" y="181"/>
                      <a:pt x="48" y="181"/>
                    </a:cubicBezTo>
                    <a:cubicBezTo>
                      <a:pt x="49" y="181"/>
                      <a:pt x="49" y="181"/>
                      <a:pt x="49" y="181"/>
                    </a:cubicBezTo>
                    <a:cubicBezTo>
                      <a:pt x="49" y="181"/>
                      <a:pt x="49" y="181"/>
                      <a:pt x="49" y="181"/>
                    </a:cubicBezTo>
                    <a:cubicBezTo>
                      <a:pt x="49" y="181"/>
                      <a:pt x="50" y="181"/>
                      <a:pt x="50" y="181"/>
                    </a:cubicBezTo>
                    <a:cubicBezTo>
                      <a:pt x="50" y="181"/>
                      <a:pt x="50" y="181"/>
                      <a:pt x="50" y="181"/>
                    </a:cubicBezTo>
                    <a:cubicBezTo>
                      <a:pt x="50" y="181"/>
                      <a:pt x="51" y="181"/>
                      <a:pt x="51" y="181"/>
                    </a:cubicBezTo>
                    <a:cubicBezTo>
                      <a:pt x="51" y="181"/>
                      <a:pt x="51" y="181"/>
                      <a:pt x="51" y="181"/>
                    </a:cubicBezTo>
                    <a:cubicBezTo>
                      <a:pt x="52" y="181"/>
                      <a:pt x="52" y="181"/>
                      <a:pt x="51" y="181"/>
                    </a:cubicBezTo>
                    <a:cubicBezTo>
                      <a:pt x="51" y="181"/>
                      <a:pt x="51" y="180"/>
                      <a:pt x="51" y="180"/>
                    </a:cubicBezTo>
                    <a:cubicBezTo>
                      <a:pt x="51" y="180"/>
                      <a:pt x="52" y="180"/>
                      <a:pt x="52" y="180"/>
                    </a:cubicBezTo>
                    <a:cubicBezTo>
                      <a:pt x="53" y="179"/>
                      <a:pt x="53" y="179"/>
                      <a:pt x="53" y="179"/>
                    </a:cubicBezTo>
                    <a:cubicBezTo>
                      <a:pt x="53" y="179"/>
                      <a:pt x="53" y="179"/>
                      <a:pt x="53" y="179"/>
                    </a:cubicBezTo>
                    <a:cubicBezTo>
                      <a:pt x="54" y="179"/>
                      <a:pt x="54" y="179"/>
                      <a:pt x="54" y="179"/>
                    </a:cubicBezTo>
                    <a:cubicBezTo>
                      <a:pt x="54" y="179"/>
                      <a:pt x="54" y="178"/>
                      <a:pt x="54" y="178"/>
                    </a:cubicBezTo>
                    <a:cubicBezTo>
                      <a:pt x="54" y="178"/>
                      <a:pt x="55" y="178"/>
                      <a:pt x="55" y="178"/>
                    </a:cubicBezTo>
                    <a:cubicBezTo>
                      <a:pt x="55" y="178"/>
                      <a:pt x="55" y="178"/>
                      <a:pt x="55" y="178"/>
                    </a:cubicBezTo>
                    <a:cubicBezTo>
                      <a:pt x="55" y="178"/>
                      <a:pt x="55" y="178"/>
                      <a:pt x="55" y="178"/>
                    </a:cubicBezTo>
                    <a:cubicBezTo>
                      <a:pt x="55" y="178"/>
                      <a:pt x="56" y="178"/>
                      <a:pt x="56" y="178"/>
                    </a:cubicBezTo>
                    <a:cubicBezTo>
                      <a:pt x="56" y="178"/>
                      <a:pt x="56" y="178"/>
                      <a:pt x="56" y="177"/>
                    </a:cubicBezTo>
                    <a:cubicBezTo>
                      <a:pt x="56" y="177"/>
                      <a:pt x="56" y="177"/>
                      <a:pt x="57" y="177"/>
                    </a:cubicBezTo>
                    <a:cubicBezTo>
                      <a:pt x="57" y="177"/>
                      <a:pt x="57" y="177"/>
                      <a:pt x="57" y="177"/>
                    </a:cubicBezTo>
                    <a:cubicBezTo>
                      <a:pt x="57" y="176"/>
                      <a:pt x="57" y="176"/>
                      <a:pt x="57" y="176"/>
                    </a:cubicBezTo>
                    <a:cubicBezTo>
                      <a:pt x="57" y="176"/>
                      <a:pt x="57" y="176"/>
                      <a:pt x="57" y="176"/>
                    </a:cubicBezTo>
                    <a:cubicBezTo>
                      <a:pt x="58" y="176"/>
                      <a:pt x="58" y="176"/>
                      <a:pt x="58" y="176"/>
                    </a:cubicBezTo>
                    <a:cubicBezTo>
                      <a:pt x="58" y="176"/>
                      <a:pt x="59" y="176"/>
                      <a:pt x="59" y="176"/>
                    </a:cubicBezTo>
                    <a:cubicBezTo>
                      <a:pt x="59" y="176"/>
                      <a:pt x="60" y="176"/>
                      <a:pt x="60" y="176"/>
                    </a:cubicBezTo>
                    <a:cubicBezTo>
                      <a:pt x="60" y="176"/>
                      <a:pt x="61" y="176"/>
                      <a:pt x="61" y="176"/>
                    </a:cubicBezTo>
                    <a:cubicBezTo>
                      <a:pt x="61" y="177"/>
                      <a:pt x="61" y="177"/>
                      <a:pt x="62" y="177"/>
                    </a:cubicBezTo>
                    <a:cubicBezTo>
                      <a:pt x="62" y="177"/>
                      <a:pt x="62" y="177"/>
                      <a:pt x="62" y="177"/>
                    </a:cubicBezTo>
                    <a:cubicBezTo>
                      <a:pt x="63" y="178"/>
                      <a:pt x="63" y="178"/>
                      <a:pt x="63" y="178"/>
                    </a:cubicBezTo>
                    <a:cubicBezTo>
                      <a:pt x="63" y="178"/>
                      <a:pt x="63" y="179"/>
                      <a:pt x="63" y="179"/>
                    </a:cubicBezTo>
                    <a:cubicBezTo>
                      <a:pt x="63" y="179"/>
                      <a:pt x="63" y="180"/>
                      <a:pt x="63" y="180"/>
                    </a:cubicBezTo>
                    <a:cubicBezTo>
                      <a:pt x="63" y="180"/>
                      <a:pt x="64" y="180"/>
                      <a:pt x="64" y="181"/>
                    </a:cubicBezTo>
                    <a:cubicBezTo>
                      <a:pt x="64" y="181"/>
                      <a:pt x="64" y="181"/>
                      <a:pt x="64" y="182"/>
                    </a:cubicBezTo>
                    <a:cubicBezTo>
                      <a:pt x="64" y="182"/>
                      <a:pt x="64" y="182"/>
                      <a:pt x="64" y="182"/>
                    </a:cubicBezTo>
                    <a:cubicBezTo>
                      <a:pt x="64" y="182"/>
                      <a:pt x="64" y="182"/>
                      <a:pt x="64" y="182"/>
                    </a:cubicBezTo>
                    <a:cubicBezTo>
                      <a:pt x="64" y="182"/>
                      <a:pt x="64" y="182"/>
                      <a:pt x="65" y="182"/>
                    </a:cubicBezTo>
                    <a:cubicBezTo>
                      <a:pt x="65" y="182"/>
                      <a:pt x="65" y="182"/>
                      <a:pt x="65" y="183"/>
                    </a:cubicBezTo>
                    <a:cubicBezTo>
                      <a:pt x="65" y="183"/>
                      <a:pt x="65" y="183"/>
                      <a:pt x="65" y="183"/>
                    </a:cubicBezTo>
                    <a:cubicBezTo>
                      <a:pt x="65" y="183"/>
                      <a:pt x="65" y="183"/>
                      <a:pt x="66" y="184"/>
                    </a:cubicBezTo>
                    <a:cubicBezTo>
                      <a:pt x="66" y="184"/>
                      <a:pt x="66" y="184"/>
                      <a:pt x="66" y="184"/>
                    </a:cubicBezTo>
                    <a:cubicBezTo>
                      <a:pt x="66" y="184"/>
                      <a:pt x="66" y="184"/>
                      <a:pt x="66" y="184"/>
                    </a:cubicBezTo>
                    <a:cubicBezTo>
                      <a:pt x="66" y="184"/>
                      <a:pt x="66" y="185"/>
                      <a:pt x="66" y="185"/>
                    </a:cubicBezTo>
                    <a:cubicBezTo>
                      <a:pt x="66" y="184"/>
                      <a:pt x="66" y="184"/>
                      <a:pt x="66" y="184"/>
                    </a:cubicBezTo>
                    <a:cubicBezTo>
                      <a:pt x="66" y="184"/>
                      <a:pt x="66" y="184"/>
                      <a:pt x="66" y="184"/>
                    </a:cubicBezTo>
                    <a:cubicBezTo>
                      <a:pt x="67" y="184"/>
                      <a:pt x="67" y="185"/>
                      <a:pt x="67" y="185"/>
                    </a:cubicBezTo>
                    <a:cubicBezTo>
                      <a:pt x="67" y="185"/>
                      <a:pt x="68" y="185"/>
                      <a:pt x="68" y="186"/>
                    </a:cubicBezTo>
                    <a:cubicBezTo>
                      <a:pt x="68" y="186"/>
                      <a:pt x="68" y="186"/>
                      <a:pt x="68" y="186"/>
                    </a:cubicBezTo>
                    <a:cubicBezTo>
                      <a:pt x="68" y="186"/>
                      <a:pt x="68" y="186"/>
                      <a:pt x="69" y="186"/>
                    </a:cubicBezTo>
                    <a:cubicBezTo>
                      <a:pt x="69" y="186"/>
                      <a:pt x="69" y="187"/>
                      <a:pt x="69" y="187"/>
                    </a:cubicBezTo>
                    <a:cubicBezTo>
                      <a:pt x="69" y="187"/>
                      <a:pt x="69" y="187"/>
                      <a:pt x="70" y="188"/>
                    </a:cubicBezTo>
                    <a:cubicBezTo>
                      <a:pt x="70" y="188"/>
                      <a:pt x="70" y="188"/>
                      <a:pt x="70" y="188"/>
                    </a:cubicBezTo>
                    <a:cubicBezTo>
                      <a:pt x="70" y="189"/>
                      <a:pt x="71" y="189"/>
                      <a:pt x="71" y="189"/>
                    </a:cubicBezTo>
                    <a:cubicBezTo>
                      <a:pt x="71" y="189"/>
                      <a:pt x="71" y="189"/>
                      <a:pt x="71" y="189"/>
                    </a:cubicBezTo>
                    <a:cubicBezTo>
                      <a:pt x="71" y="189"/>
                      <a:pt x="72" y="189"/>
                      <a:pt x="72" y="189"/>
                    </a:cubicBezTo>
                    <a:cubicBezTo>
                      <a:pt x="72" y="190"/>
                      <a:pt x="72" y="190"/>
                      <a:pt x="72" y="189"/>
                    </a:cubicBezTo>
                    <a:cubicBezTo>
                      <a:pt x="72" y="189"/>
                      <a:pt x="73" y="189"/>
                      <a:pt x="73" y="190"/>
                    </a:cubicBezTo>
                    <a:cubicBezTo>
                      <a:pt x="73" y="190"/>
                      <a:pt x="74" y="190"/>
                      <a:pt x="74" y="190"/>
                    </a:cubicBezTo>
                    <a:cubicBezTo>
                      <a:pt x="74" y="190"/>
                      <a:pt x="74" y="190"/>
                      <a:pt x="74" y="190"/>
                    </a:cubicBezTo>
                    <a:cubicBezTo>
                      <a:pt x="74" y="190"/>
                      <a:pt x="74" y="190"/>
                      <a:pt x="75" y="191"/>
                    </a:cubicBezTo>
                    <a:cubicBezTo>
                      <a:pt x="75" y="191"/>
                      <a:pt x="75" y="191"/>
                      <a:pt x="75" y="191"/>
                    </a:cubicBezTo>
                    <a:cubicBezTo>
                      <a:pt x="75" y="192"/>
                      <a:pt x="75" y="192"/>
                      <a:pt x="76" y="192"/>
                    </a:cubicBezTo>
                    <a:cubicBezTo>
                      <a:pt x="76" y="192"/>
                      <a:pt x="76" y="192"/>
                      <a:pt x="76" y="192"/>
                    </a:cubicBezTo>
                    <a:cubicBezTo>
                      <a:pt x="76" y="192"/>
                      <a:pt x="76" y="192"/>
                      <a:pt x="76" y="192"/>
                    </a:cubicBezTo>
                    <a:cubicBezTo>
                      <a:pt x="76" y="192"/>
                      <a:pt x="76" y="192"/>
                      <a:pt x="76" y="192"/>
                    </a:cubicBezTo>
                    <a:cubicBezTo>
                      <a:pt x="76" y="192"/>
                      <a:pt x="77" y="192"/>
                      <a:pt x="77" y="192"/>
                    </a:cubicBezTo>
                    <a:cubicBezTo>
                      <a:pt x="77" y="192"/>
                      <a:pt x="77" y="192"/>
                      <a:pt x="77" y="192"/>
                    </a:cubicBezTo>
                    <a:cubicBezTo>
                      <a:pt x="77" y="192"/>
                      <a:pt x="78" y="192"/>
                      <a:pt x="78" y="193"/>
                    </a:cubicBezTo>
                    <a:cubicBezTo>
                      <a:pt x="78" y="193"/>
                      <a:pt x="78" y="193"/>
                      <a:pt x="78" y="194"/>
                    </a:cubicBezTo>
                    <a:cubicBezTo>
                      <a:pt x="78" y="194"/>
                      <a:pt x="78" y="194"/>
                      <a:pt x="78" y="194"/>
                    </a:cubicBezTo>
                    <a:cubicBezTo>
                      <a:pt x="78" y="194"/>
                      <a:pt x="78" y="194"/>
                      <a:pt x="78" y="194"/>
                    </a:cubicBezTo>
                    <a:cubicBezTo>
                      <a:pt x="78" y="194"/>
                      <a:pt x="79" y="194"/>
                      <a:pt x="79" y="195"/>
                    </a:cubicBezTo>
                    <a:cubicBezTo>
                      <a:pt x="79" y="195"/>
                      <a:pt x="79" y="195"/>
                      <a:pt x="79" y="195"/>
                    </a:cubicBezTo>
                    <a:cubicBezTo>
                      <a:pt x="79" y="195"/>
                      <a:pt x="80" y="195"/>
                      <a:pt x="80" y="195"/>
                    </a:cubicBezTo>
                    <a:cubicBezTo>
                      <a:pt x="80" y="195"/>
                      <a:pt x="80" y="195"/>
                      <a:pt x="80" y="195"/>
                    </a:cubicBezTo>
                    <a:cubicBezTo>
                      <a:pt x="81" y="195"/>
                      <a:pt x="81" y="196"/>
                      <a:pt x="81" y="196"/>
                    </a:cubicBezTo>
                    <a:cubicBezTo>
                      <a:pt x="81" y="196"/>
                      <a:pt x="81" y="196"/>
                      <a:pt x="81" y="196"/>
                    </a:cubicBezTo>
                    <a:cubicBezTo>
                      <a:pt x="81" y="197"/>
                      <a:pt x="81" y="197"/>
                      <a:pt x="81" y="197"/>
                    </a:cubicBezTo>
                    <a:cubicBezTo>
                      <a:pt x="81" y="197"/>
                      <a:pt x="81" y="198"/>
                      <a:pt x="81" y="198"/>
                    </a:cubicBezTo>
                    <a:cubicBezTo>
                      <a:pt x="82" y="198"/>
                      <a:pt x="82" y="198"/>
                      <a:pt x="82" y="199"/>
                    </a:cubicBezTo>
                    <a:cubicBezTo>
                      <a:pt x="82" y="199"/>
                      <a:pt x="82" y="199"/>
                      <a:pt x="82" y="199"/>
                    </a:cubicBezTo>
                    <a:cubicBezTo>
                      <a:pt x="82" y="199"/>
                      <a:pt x="82" y="200"/>
                      <a:pt x="82" y="200"/>
                    </a:cubicBezTo>
                    <a:cubicBezTo>
                      <a:pt x="82" y="200"/>
                      <a:pt x="82" y="200"/>
                      <a:pt x="82" y="200"/>
                    </a:cubicBezTo>
                    <a:cubicBezTo>
                      <a:pt x="82" y="200"/>
                      <a:pt x="82" y="201"/>
                      <a:pt x="82" y="201"/>
                    </a:cubicBezTo>
                    <a:cubicBezTo>
                      <a:pt x="82" y="201"/>
                      <a:pt x="81" y="201"/>
                      <a:pt x="81" y="201"/>
                    </a:cubicBezTo>
                    <a:cubicBezTo>
                      <a:pt x="81" y="201"/>
                      <a:pt x="81" y="201"/>
                      <a:pt x="81" y="201"/>
                    </a:cubicBezTo>
                    <a:cubicBezTo>
                      <a:pt x="81" y="202"/>
                      <a:pt x="81" y="202"/>
                      <a:pt x="81" y="202"/>
                    </a:cubicBezTo>
                    <a:cubicBezTo>
                      <a:pt x="81" y="202"/>
                      <a:pt x="81" y="203"/>
                      <a:pt x="81" y="203"/>
                    </a:cubicBezTo>
                    <a:cubicBezTo>
                      <a:pt x="81" y="203"/>
                      <a:pt x="80" y="203"/>
                      <a:pt x="80" y="204"/>
                    </a:cubicBezTo>
                    <a:cubicBezTo>
                      <a:pt x="80" y="204"/>
                      <a:pt x="81" y="204"/>
                      <a:pt x="81" y="204"/>
                    </a:cubicBezTo>
                    <a:cubicBezTo>
                      <a:pt x="82" y="204"/>
                      <a:pt x="82" y="204"/>
                      <a:pt x="82" y="204"/>
                    </a:cubicBezTo>
                    <a:cubicBezTo>
                      <a:pt x="83" y="204"/>
                      <a:pt x="83" y="204"/>
                      <a:pt x="83" y="204"/>
                    </a:cubicBezTo>
                    <a:cubicBezTo>
                      <a:pt x="82" y="204"/>
                      <a:pt x="82" y="203"/>
                      <a:pt x="82" y="203"/>
                    </a:cubicBezTo>
                    <a:cubicBezTo>
                      <a:pt x="82" y="203"/>
                      <a:pt x="82" y="203"/>
                      <a:pt x="83" y="203"/>
                    </a:cubicBezTo>
                    <a:cubicBezTo>
                      <a:pt x="83" y="203"/>
                      <a:pt x="83" y="202"/>
                      <a:pt x="83" y="202"/>
                    </a:cubicBezTo>
                    <a:cubicBezTo>
                      <a:pt x="83" y="202"/>
                      <a:pt x="83" y="201"/>
                      <a:pt x="83" y="201"/>
                    </a:cubicBezTo>
                    <a:cubicBezTo>
                      <a:pt x="83" y="201"/>
                      <a:pt x="83" y="200"/>
                      <a:pt x="84" y="200"/>
                    </a:cubicBezTo>
                    <a:cubicBezTo>
                      <a:pt x="84" y="200"/>
                      <a:pt x="84" y="200"/>
                      <a:pt x="84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85" y="200"/>
                      <a:pt x="85" y="199"/>
                      <a:pt x="85" y="199"/>
                    </a:cubicBezTo>
                    <a:cubicBezTo>
                      <a:pt x="85" y="199"/>
                      <a:pt x="85" y="199"/>
                      <a:pt x="85" y="199"/>
                    </a:cubicBezTo>
                    <a:cubicBezTo>
                      <a:pt x="85" y="199"/>
                      <a:pt x="85" y="199"/>
                      <a:pt x="85" y="199"/>
                    </a:cubicBezTo>
                    <a:cubicBezTo>
                      <a:pt x="85" y="199"/>
                      <a:pt x="85" y="198"/>
                      <a:pt x="85" y="198"/>
                    </a:cubicBezTo>
                    <a:cubicBezTo>
                      <a:pt x="85" y="198"/>
                      <a:pt x="85" y="198"/>
                      <a:pt x="85" y="198"/>
                    </a:cubicBezTo>
                    <a:cubicBezTo>
                      <a:pt x="85" y="197"/>
                      <a:pt x="85" y="197"/>
                      <a:pt x="84" y="197"/>
                    </a:cubicBezTo>
                    <a:cubicBezTo>
                      <a:pt x="84" y="197"/>
                      <a:pt x="84" y="197"/>
                      <a:pt x="84" y="197"/>
                    </a:cubicBezTo>
                    <a:cubicBezTo>
                      <a:pt x="83" y="197"/>
                      <a:pt x="83" y="197"/>
                      <a:pt x="83" y="196"/>
                    </a:cubicBezTo>
                    <a:cubicBezTo>
                      <a:pt x="83" y="196"/>
                      <a:pt x="83" y="196"/>
                      <a:pt x="83" y="196"/>
                    </a:cubicBezTo>
                    <a:cubicBezTo>
                      <a:pt x="83" y="196"/>
                      <a:pt x="83" y="195"/>
                      <a:pt x="83" y="195"/>
                    </a:cubicBezTo>
                    <a:cubicBezTo>
                      <a:pt x="83" y="195"/>
                      <a:pt x="84" y="195"/>
                      <a:pt x="84" y="195"/>
                    </a:cubicBezTo>
                    <a:cubicBezTo>
                      <a:pt x="84" y="194"/>
                      <a:pt x="84" y="194"/>
                      <a:pt x="84" y="194"/>
                    </a:cubicBezTo>
                    <a:cubicBezTo>
                      <a:pt x="84" y="194"/>
                      <a:pt x="84" y="194"/>
                      <a:pt x="84" y="193"/>
                    </a:cubicBezTo>
                    <a:cubicBezTo>
                      <a:pt x="84" y="193"/>
                      <a:pt x="84" y="193"/>
                      <a:pt x="85" y="193"/>
                    </a:cubicBezTo>
                    <a:cubicBezTo>
                      <a:pt x="85" y="193"/>
                      <a:pt x="85" y="193"/>
                      <a:pt x="85" y="193"/>
                    </a:cubicBezTo>
                    <a:cubicBezTo>
                      <a:pt x="85" y="193"/>
                      <a:pt x="85" y="193"/>
                      <a:pt x="85" y="193"/>
                    </a:cubicBezTo>
                    <a:cubicBezTo>
                      <a:pt x="85" y="193"/>
                      <a:pt x="85" y="193"/>
                      <a:pt x="86" y="194"/>
                    </a:cubicBezTo>
                    <a:cubicBezTo>
                      <a:pt x="86" y="194"/>
                      <a:pt x="86" y="194"/>
                      <a:pt x="87" y="194"/>
                    </a:cubicBezTo>
                    <a:cubicBezTo>
                      <a:pt x="87" y="194"/>
                      <a:pt x="87" y="194"/>
                      <a:pt x="87" y="194"/>
                    </a:cubicBezTo>
                    <a:cubicBezTo>
                      <a:pt x="88" y="194"/>
                      <a:pt x="88" y="194"/>
                      <a:pt x="88" y="194"/>
                    </a:cubicBezTo>
                    <a:cubicBezTo>
                      <a:pt x="88" y="194"/>
                      <a:pt x="88" y="194"/>
                      <a:pt x="88" y="194"/>
                    </a:cubicBezTo>
                    <a:cubicBezTo>
                      <a:pt x="88" y="194"/>
                      <a:pt x="88" y="195"/>
                      <a:pt x="88" y="195"/>
                    </a:cubicBezTo>
                    <a:cubicBezTo>
                      <a:pt x="88" y="196"/>
                      <a:pt x="88" y="196"/>
                      <a:pt x="89" y="196"/>
                    </a:cubicBezTo>
                    <a:cubicBezTo>
                      <a:pt x="89" y="196"/>
                      <a:pt x="89" y="196"/>
                      <a:pt x="89" y="195"/>
                    </a:cubicBezTo>
                    <a:cubicBezTo>
                      <a:pt x="89" y="195"/>
                      <a:pt x="89" y="194"/>
                      <a:pt x="89" y="194"/>
                    </a:cubicBezTo>
                    <a:cubicBezTo>
                      <a:pt x="89" y="194"/>
                      <a:pt x="89" y="194"/>
                      <a:pt x="89" y="194"/>
                    </a:cubicBezTo>
                    <a:cubicBezTo>
                      <a:pt x="89" y="193"/>
                      <a:pt x="89" y="193"/>
                      <a:pt x="89" y="193"/>
                    </a:cubicBezTo>
                    <a:cubicBezTo>
                      <a:pt x="88" y="193"/>
                      <a:pt x="88" y="193"/>
                      <a:pt x="88" y="193"/>
                    </a:cubicBezTo>
                    <a:cubicBezTo>
                      <a:pt x="88" y="193"/>
                      <a:pt x="88" y="192"/>
                      <a:pt x="88" y="192"/>
                    </a:cubicBezTo>
                    <a:cubicBezTo>
                      <a:pt x="87" y="192"/>
                      <a:pt x="87" y="192"/>
                      <a:pt x="87" y="192"/>
                    </a:cubicBezTo>
                    <a:cubicBezTo>
                      <a:pt x="87" y="192"/>
                      <a:pt x="87" y="192"/>
                      <a:pt x="87" y="192"/>
                    </a:cubicBezTo>
                    <a:cubicBezTo>
                      <a:pt x="87" y="192"/>
                      <a:pt x="86" y="191"/>
                      <a:pt x="85" y="190"/>
                    </a:cubicBezTo>
                    <a:cubicBezTo>
                      <a:pt x="84" y="190"/>
                      <a:pt x="84" y="190"/>
                      <a:pt x="84" y="190"/>
                    </a:cubicBezTo>
                    <a:cubicBezTo>
                      <a:pt x="84" y="190"/>
                      <a:pt x="84" y="190"/>
                      <a:pt x="84" y="190"/>
                    </a:cubicBezTo>
                    <a:cubicBezTo>
                      <a:pt x="84" y="190"/>
                      <a:pt x="82" y="189"/>
                      <a:pt x="81" y="189"/>
                    </a:cubicBezTo>
                    <a:cubicBezTo>
                      <a:pt x="81" y="188"/>
                      <a:pt x="81" y="188"/>
                      <a:pt x="81" y="188"/>
                    </a:cubicBezTo>
                    <a:cubicBezTo>
                      <a:pt x="81" y="188"/>
                      <a:pt x="81" y="188"/>
                      <a:pt x="81" y="188"/>
                    </a:cubicBezTo>
                    <a:cubicBezTo>
                      <a:pt x="81" y="188"/>
                      <a:pt x="82" y="187"/>
                      <a:pt x="82" y="187"/>
                    </a:cubicBezTo>
                    <a:cubicBezTo>
                      <a:pt x="82" y="187"/>
                      <a:pt x="82" y="187"/>
                      <a:pt x="82" y="187"/>
                    </a:cubicBezTo>
                    <a:cubicBezTo>
                      <a:pt x="82" y="187"/>
                      <a:pt x="82" y="187"/>
                      <a:pt x="82" y="187"/>
                    </a:cubicBezTo>
                    <a:cubicBezTo>
                      <a:pt x="82" y="187"/>
                      <a:pt x="81" y="187"/>
                      <a:pt x="81" y="187"/>
                    </a:cubicBezTo>
                    <a:cubicBezTo>
                      <a:pt x="81" y="187"/>
                      <a:pt x="81" y="187"/>
                      <a:pt x="81" y="187"/>
                    </a:cubicBezTo>
                    <a:cubicBezTo>
                      <a:pt x="81" y="187"/>
                      <a:pt x="80" y="187"/>
                      <a:pt x="80" y="187"/>
                    </a:cubicBezTo>
                    <a:cubicBezTo>
                      <a:pt x="80" y="187"/>
                      <a:pt x="80" y="187"/>
                      <a:pt x="80" y="187"/>
                    </a:cubicBezTo>
                    <a:cubicBezTo>
                      <a:pt x="80" y="187"/>
                      <a:pt x="79" y="187"/>
                      <a:pt x="79" y="187"/>
                    </a:cubicBezTo>
                    <a:cubicBezTo>
                      <a:pt x="78" y="186"/>
                      <a:pt x="78" y="186"/>
                      <a:pt x="78" y="186"/>
                    </a:cubicBezTo>
                    <a:cubicBezTo>
                      <a:pt x="78" y="186"/>
                      <a:pt x="78" y="186"/>
                      <a:pt x="78" y="186"/>
                    </a:cubicBezTo>
                    <a:cubicBezTo>
                      <a:pt x="78" y="186"/>
                      <a:pt x="78" y="186"/>
                      <a:pt x="78" y="186"/>
                    </a:cubicBezTo>
                    <a:cubicBezTo>
                      <a:pt x="77" y="186"/>
                      <a:pt x="77" y="185"/>
                      <a:pt x="77" y="185"/>
                    </a:cubicBezTo>
                    <a:cubicBezTo>
                      <a:pt x="76" y="185"/>
                      <a:pt x="76" y="185"/>
                      <a:pt x="76" y="185"/>
                    </a:cubicBezTo>
                    <a:cubicBezTo>
                      <a:pt x="76" y="184"/>
                      <a:pt x="76" y="184"/>
                      <a:pt x="76" y="184"/>
                    </a:cubicBezTo>
                    <a:cubicBezTo>
                      <a:pt x="76" y="184"/>
                      <a:pt x="75" y="184"/>
                      <a:pt x="75" y="184"/>
                    </a:cubicBezTo>
                    <a:cubicBezTo>
                      <a:pt x="75" y="183"/>
                      <a:pt x="75" y="183"/>
                      <a:pt x="75" y="182"/>
                    </a:cubicBezTo>
                    <a:cubicBezTo>
                      <a:pt x="74" y="181"/>
                      <a:pt x="74" y="180"/>
                      <a:pt x="74" y="180"/>
                    </a:cubicBezTo>
                    <a:cubicBezTo>
                      <a:pt x="74" y="180"/>
                      <a:pt x="74" y="179"/>
                      <a:pt x="74" y="179"/>
                    </a:cubicBezTo>
                    <a:cubicBezTo>
                      <a:pt x="74" y="179"/>
                      <a:pt x="73" y="179"/>
                      <a:pt x="73" y="179"/>
                    </a:cubicBezTo>
                    <a:cubicBezTo>
                      <a:pt x="73" y="179"/>
                      <a:pt x="72" y="179"/>
                      <a:pt x="72" y="178"/>
                    </a:cubicBezTo>
                    <a:cubicBezTo>
                      <a:pt x="72" y="178"/>
                      <a:pt x="71" y="177"/>
                      <a:pt x="71" y="177"/>
                    </a:cubicBezTo>
                    <a:cubicBezTo>
                      <a:pt x="70" y="177"/>
                      <a:pt x="70" y="176"/>
                      <a:pt x="70" y="176"/>
                    </a:cubicBezTo>
                    <a:cubicBezTo>
                      <a:pt x="70" y="176"/>
                      <a:pt x="70" y="175"/>
                      <a:pt x="70" y="175"/>
                    </a:cubicBezTo>
                    <a:cubicBezTo>
                      <a:pt x="70" y="175"/>
                      <a:pt x="70" y="175"/>
                      <a:pt x="70" y="175"/>
                    </a:cubicBezTo>
                    <a:cubicBezTo>
                      <a:pt x="69" y="174"/>
                      <a:pt x="69" y="174"/>
                      <a:pt x="69" y="174"/>
                    </a:cubicBezTo>
                    <a:cubicBezTo>
                      <a:pt x="69" y="174"/>
                      <a:pt x="70" y="173"/>
                      <a:pt x="70" y="173"/>
                    </a:cubicBezTo>
                    <a:cubicBezTo>
                      <a:pt x="70" y="173"/>
                      <a:pt x="70" y="173"/>
                      <a:pt x="70" y="173"/>
                    </a:cubicBezTo>
                    <a:cubicBezTo>
                      <a:pt x="70" y="173"/>
                      <a:pt x="70" y="173"/>
                      <a:pt x="70" y="173"/>
                    </a:cubicBezTo>
                    <a:cubicBezTo>
                      <a:pt x="70" y="173"/>
                      <a:pt x="70" y="173"/>
                      <a:pt x="70" y="173"/>
                    </a:cubicBezTo>
                    <a:cubicBezTo>
                      <a:pt x="70" y="173"/>
                      <a:pt x="70" y="172"/>
                      <a:pt x="70" y="172"/>
                    </a:cubicBezTo>
                    <a:cubicBezTo>
                      <a:pt x="70" y="172"/>
                      <a:pt x="70" y="172"/>
                      <a:pt x="70" y="172"/>
                    </a:cubicBezTo>
                    <a:cubicBezTo>
                      <a:pt x="70" y="172"/>
                      <a:pt x="69" y="172"/>
                      <a:pt x="69" y="171"/>
                    </a:cubicBezTo>
                    <a:cubicBezTo>
                      <a:pt x="69" y="171"/>
                      <a:pt x="69" y="171"/>
                      <a:pt x="69" y="171"/>
                    </a:cubicBezTo>
                    <a:cubicBezTo>
                      <a:pt x="69" y="171"/>
                      <a:pt x="69" y="171"/>
                      <a:pt x="69" y="170"/>
                    </a:cubicBezTo>
                    <a:cubicBezTo>
                      <a:pt x="69" y="170"/>
                      <a:pt x="69" y="170"/>
                      <a:pt x="70" y="170"/>
                    </a:cubicBezTo>
                    <a:cubicBezTo>
                      <a:pt x="70" y="170"/>
                      <a:pt x="70" y="170"/>
                      <a:pt x="70" y="171"/>
                    </a:cubicBezTo>
                    <a:cubicBezTo>
                      <a:pt x="70" y="171"/>
                      <a:pt x="70" y="171"/>
                      <a:pt x="70" y="171"/>
                    </a:cubicBezTo>
                    <a:cubicBezTo>
                      <a:pt x="70" y="171"/>
                      <a:pt x="71" y="171"/>
                      <a:pt x="71" y="170"/>
                    </a:cubicBezTo>
                    <a:cubicBezTo>
                      <a:pt x="71" y="170"/>
                      <a:pt x="72" y="170"/>
                      <a:pt x="72" y="170"/>
                    </a:cubicBezTo>
                    <a:cubicBezTo>
                      <a:pt x="72" y="170"/>
                      <a:pt x="72" y="170"/>
                      <a:pt x="72" y="170"/>
                    </a:cubicBezTo>
                    <a:cubicBezTo>
                      <a:pt x="72" y="170"/>
                      <a:pt x="72" y="170"/>
                      <a:pt x="72" y="170"/>
                    </a:cubicBezTo>
                    <a:cubicBezTo>
                      <a:pt x="72" y="169"/>
                      <a:pt x="72" y="169"/>
                      <a:pt x="72" y="169"/>
                    </a:cubicBezTo>
                    <a:cubicBezTo>
                      <a:pt x="72" y="169"/>
                      <a:pt x="73" y="169"/>
                      <a:pt x="73" y="169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73" y="170"/>
                      <a:pt x="73" y="169"/>
                      <a:pt x="73" y="169"/>
                    </a:cubicBezTo>
                    <a:cubicBezTo>
                      <a:pt x="73" y="169"/>
                      <a:pt x="73" y="169"/>
                      <a:pt x="73" y="169"/>
                    </a:cubicBezTo>
                    <a:cubicBezTo>
                      <a:pt x="73" y="169"/>
                      <a:pt x="73" y="169"/>
                      <a:pt x="73" y="169"/>
                    </a:cubicBezTo>
                    <a:cubicBezTo>
                      <a:pt x="74" y="169"/>
                      <a:pt x="74" y="169"/>
                      <a:pt x="74" y="170"/>
                    </a:cubicBezTo>
                    <a:cubicBezTo>
                      <a:pt x="74" y="170"/>
                      <a:pt x="74" y="170"/>
                      <a:pt x="74" y="170"/>
                    </a:cubicBezTo>
                    <a:cubicBezTo>
                      <a:pt x="74" y="170"/>
                      <a:pt x="74" y="170"/>
                      <a:pt x="74" y="170"/>
                    </a:cubicBezTo>
                    <a:cubicBezTo>
                      <a:pt x="74" y="170"/>
                      <a:pt x="74" y="170"/>
                      <a:pt x="74" y="170"/>
                    </a:cubicBezTo>
                    <a:cubicBezTo>
                      <a:pt x="73" y="170"/>
                      <a:pt x="73" y="171"/>
                      <a:pt x="73" y="171"/>
                    </a:cubicBezTo>
                    <a:cubicBezTo>
                      <a:pt x="73" y="171"/>
                      <a:pt x="73" y="171"/>
                      <a:pt x="74" y="171"/>
                    </a:cubicBezTo>
                    <a:cubicBezTo>
                      <a:pt x="74" y="171"/>
                      <a:pt x="74" y="172"/>
                      <a:pt x="74" y="172"/>
                    </a:cubicBezTo>
                    <a:cubicBezTo>
                      <a:pt x="74" y="172"/>
                      <a:pt x="74" y="172"/>
                      <a:pt x="74" y="172"/>
                    </a:cubicBezTo>
                    <a:cubicBezTo>
                      <a:pt x="74" y="172"/>
                      <a:pt x="74" y="173"/>
                      <a:pt x="74" y="173"/>
                    </a:cubicBezTo>
                    <a:cubicBezTo>
                      <a:pt x="75" y="173"/>
                      <a:pt x="75" y="174"/>
                      <a:pt x="75" y="174"/>
                    </a:cubicBezTo>
                    <a:cubicBezTo>
                      <a:pt x="75" y="174"/>
                      <a:pt x="75" y="173"/>
                      <a:pt x="75" y="173"/>
                    </a:cubicBezTo>
                    <a:cubicBezTo>
                      <a:pt x="75" y="173"/>
                      <a:pt x="75" y="173"/>
                      <a:pt x="75" y="173"/>
                    </a:cubicBezTo>
                    <a:cubicBezTo>
                      <a:pt x="75" y="173"/>
                      <a:pt x="75" y="173"/>
                      <a:pt x="75" y="173"/>
                    </a:cubicBezTo>
                    <a:cubicBezTo>
                      <a:pt x="76" y="173"/>
                      <a:pt x="76" y="172"/>
                      <a:pt x="76" y="172"/>
                    </a:cubicBezTo>
                    <a:cubicBezTo>
                      <a:pt x="76" y="172"/>
                      <a:pt x="76" y="172"/>
                      <a:pt x="76" y="172"/>
                    </a:cubicBezTo>
                    <a:cubicBezTo>
                      <a:pt x="76" y="172"/>
                      <a:pt x="76" y="172"/>
                      <a:pt x="76" y="171"/>
                    </a:cubicBezTo>
                    <a:cubicBezTo>
                      <a:pt x="76" y="171"/>
                      <a:pt x="76" y="171"/>
                      <a:pt x="77" y="172"/>
                    </a:cubicBezTo>
                    <a:cubicBezTo>
                      <a:pt x="77" y="172"/>
                      <a:pt x="77" y="172"/>
                      <a:pt x="77" y="172"/>
                    </a:cubicBezTo>
                    <a:cubicBezTo>
                      <a:pt x="78" y="172"/>
                      <a:pt x="78" y="173"/>
                      <a:pt x="78" y="173"/>
                    </a:cubicBezTo>
                    <a:cubicBezTo>
                      <a:pt x="78" y="174"/>
                      <a:pt x="78" y="174"/>
                      <a:pt x="78" y="174"/>
                    </a:cubicBezTo>
                    <a:cubicBezTo>
                      <a:pt x="78" y="175"/>
                      <a:pt x="79" y="175"/>
                      <a:pt x="79" y="175"/>
                    </a:cubicBezTo>
                    <a:cubicBezTo>
                      <a:pt x="79" y="176"/>
                      <a:pt x="79" y="176"/>
                      <a:pt x="79" y="176"/>
                    </a:cubicBezTo>
                    <a:cubicBezTo>
                      <a:pt x="79" y="176"/>
                      <a:pt x="79" y="176"/>
                      <a:pt x="79" y="176"/>
                    </a:cubicBezTo>
                    <a:cubicBezTo>
                      <a:pt x="79" y="176"/>
                      <a:pt x="79" y="177"/>
                      <a:pt x="79" y="177"/>
                    </a:cubicBezTo>
                    <a:cubicBezTo>
                      <a:pt x="79" y="177"/>
                      <a:pt x="79" y="177"/>
                      <a:pt x="79" y="177"/>
                    </a:cubicBezTo>
                    <a:cubicBezTo>
                      <a:pt x="80" y="177"/>
                      <a:pt x="80" y="178"/>
                      <a:pt x="80" y="178"/>
                    </a:cubicBezTo>
                    <a:cubicBezTo>
                      <a:pt x="81" y="178"/>
                      <a:pt x="81" y="179"/>
                      <a:pt x="81" y="179"/>
                    </a:cubicBezTo>
                    <a:cubicBezTo>
                      <a:pt x="81" y="179"/>
                      <a:pt x="81" y="180"/>
                      <a:pt x="82" y="180"/>
                    </a:cubicBezTo>
                    <a:cubicBezTo>
                      <a:pt x="82" y="179"/>
                      <a:pt x="82" y="179"/>
                      <a:pt x="82" y="179"/>
                    </a:cubicBezTo>
                    <a:cubicBezTo>
                      <a:pt x="83" y="179"/>
                      <a:pt x="83" y="179"/>
                      <a:pt x="83" y="179"/>
                    </a:cubicBezTo>
                    <a:cubicBezTo>
                      <a:pt x="83" y="180"/>
                      <a:pt x="83" y="180"/>
                      <a:pt x="83" y="180"/>
                    </a:cubicBezTo>
                    <a:cubicBezTo>
                      <a:pt x="84" y="180"/>
                      <a:pt x="84" y="180"/>
                      <a:pt x="85" y="181"/>
                    </a:cubicBezTo>
                    <a:cubicBezTo>
                      <a:pt x="85" y="181"/>
                      <a:pt x="86" y="181"/>
                      <a:pt x="86" y="182"/>
                    </a:cubicBezTo>
                    <a:cubicBezTo>
                      <a:pt x="86" y="182"/>
                      <a:pt x="87" y="182"/>
                      <a:pt x="87" y="182"/>
                    </a:cubicBezTo>
                    <a:cubicBezTo>
                      <a:pt x="86" y="181"/>
                      <a:pt x="86" y="181"/>
                      <a:pt x="86" y="181"/>
                    </a:cubicBezTo>
                    <a:cubicBezTo>
                      <a:pt x="87" y="182"/>
                      <a:pt x="87" y="182"/>
                      <a:pt x="87" y="182"/>
                    </a:cubicBezTo>
                    <a:cubicBezTo>
                      <a:pt x="87" y="183"/>
                      <a:pt x="88" y="183"/>
                      <a:pt x="88" y="183"/>
                    </a:cubicBezTo>
                    <a:cubicBezTo>
                      <a:pt x="88" y="183"/>
                      <a:pt x="89" y="184"/>
                      <a:pt x="89" y="184"/>
                    </a:cubicBezTo>
                    <a:cubicBezTo>
                      <a:pt x="89" y="184"/>
                      <a:pt x="89" y="184"/>
                      <a:pt x="89" y="184"/>
                    </a:cubicBezTo>
                    <a:cubicBezTo>
                      <a:pt x="89" y="184"/>
                      <a:pt x="90" y="184"/>
                      <a:pt x="90" y="185"/>
                    </a:cubicBezTo>
                    <a:cubicBezTo>
                      <a:pt x="90" y="185"/>
                      <a:pt x="90" y="185"/>
                      <a:pt x="91" y="185"/>
                    </a:cubicBezTo>
                    <a:cubicBezTo>
                      <a:pt x="91" y="185"/>
                      <a:pt x="91" y="185"/>
                      <a:pt x="91" y="186"/>
                    </a:cubicBezTo>
                    <a:cubicBezTo>
                      <a:pt x="91" y="186"/>
                      <a:pt x="91" y="186"/>
                      <a:pt x="92" y="187"/>
                    </a:cubicBezTo>
                    <a:cubicBezTo>
                      <a:pt x="92" y="187"/>
                      <a:pt x="92" y="187"/>
                      <a:pt x="92" y="187"/>
                    </a:cubicBezTo>
                    <a:cubicBezTo>
                      <a:pt x="92" y="187"/>
                      <a:pt x="92" y="187"/>
                      <a:pt x="92" y="187"/>
                    </a:cubicBezTo>
                    <a:cubicBezTo>
                      <a:pt x="92" y="187"/>
                      <a:pt x="92" y="187"/>
                      <a:pt x="93" y="187"/>
                    </a:cubicBezTo>
                    <a:cubicBezTo>
                      <a:pt x="93" y="187"/>
                      <a:pt x="93" y="187"/>
                      <a:pt x="93" y="187"/>
                    </a:cubicBezTo>
                    <a:cubicBezTo>
                      <a:pt x="93" y="188"/>
                      <a:pt x="93" y="188"/>
                      <a:pt x="93" y="188"/>
                    </a:cubicBezTo>
                    <a:cubicBezTo>
                      <a:pt x="93" y="188"/>
                      <a:pt x="93" y="188"/>
                      <a:pt x="93" y="188"/>
                    </a:cubicBezTo>
                    <a:cubicBezTo>
                      <a:pt x="93" y="188"/>
                      <a:pt x="92" y="188"/>
                      <a:pt x="92" y="188"/>
                    </a:cubicBezTo>
                    <a:cubicBezTo>
                      <a:pt x="92" y="189"/>
                      <a:pt x="92" y="189"/>
                      <a:pt x="92" y="189"/>
                    </a:cubicBezTo>
                    <a:cubicBezTo>
                      <a:pt x="92" y="190"/>
                      <a:pt x="92" y="190"/>
                      <a:pt x="93" y="190"/>
                    </a:cubicBezTo>
                    <a:cubicBezTo>
                      <a:pt x="93" y="191"/>
                      <a:pt x="93" y="191"/>
                      <a:pt x="92" y="191"/>
                    </a:cubicBezTo>
                    <a:cubicBezTo>
                      <a:pt x="92" y="192"/>
                      <a:pt x="92" y="192"/>
                      <a:pt x="92" y="192"/>
                    </a:cubicBezTo>
                    <a:cubicBezTo>
                      <a:pt x="92" y="193"/>
                      <a:pt x="92" y="193"/>
                      <a:pt x="93" y="194"/>
                    </a:cubicBezTo>
                    <a:cubicBezTo>
                      <a:pt x="93" y="194"/>
                      <a:pt x="93" y="194"/>
                      <a:pt x="93" y="194"/>
                    </a:cubicBezTo>
                    <a:cubicBezTo>
                      <a:pt x="93" y="194"/>
                      <a:pt x="93" y="194"/>
                      <a:pt x="93" y="194"/>
                    </a:cubicBezTo>
                    <a:cubicBezTo>
                      <a:pt x="93" y="194"/>
                      <a:pt x="94" y="195"/>
                      <a:pt x="94" y="196"/>
                    </a:cubicBezTo>
                    <a:cubicBezTo>
                      <a:pt x="94" y="196"/>
                      <a:pt x="94" y="196"/>
                      <a:pt x="95" y="196"/>
                    </a:cubicBezTo>
                    <a:cubicBezTo>
                      <a:pt x="95" y="195"/>
                      <a:pt x="95" y="195"/>
                      <a:pt x="95" y="195"/>
                    </a:cubicBezTo>
                    <a:cubicBezTo>
                      <a:pt x="96" y="195"/>
                      <a:pt x="96" y="195"/>
                      <a:pt x="96" y="195"/>
                    </a:cubicBezTo>
                    <a:cubicBezTo>
                      <a:pt x="95" y="195"/>
                      <a:pt x="95" y="195"/>
                      <a:pt x="95" y="195"/>
                    </a:cubicBezTo>
                    <a:cubicBezTo>
                      <a:pt x="95" y="196"/>
                      <a:pt x="95" y="196"/>
                      <a:pt x="95" y="196"/>
                    </a:cubicBezTo>
                    <a:cubicBezTo>
                      <a:pt x="95" y="197"/>
                      <a:pt x="95" y="197"/>
                      <a:pt x="95" y="198"/>
                    </a:cubicBezTo>
                    <a:cubicBezTo>
                      <a:pt x="96" y="198"/>
                      <a:pt x="96" y="199"/>
                      <a:pt x="96" y="199"/>
                    </a:cubicBezTo>
                    <a:cubicBezTo>
                      <a:pt x="97" y="200"/>
                      <a:pt x="97" y="201"/>
                      <a:pt x="97" y="201"/>
                    </a:cubicBezTo>
                    <a:cubicBezTo>
                      <a:pt x="97" y="201"/>
                      <a:pt x="97" y="201"/>
                      <a:pt x="98" y="202"/>
                    </a:cubicBezTo>
                    <a:cubicBezTo>
                      <a:pt x="98" y="202"/>
                      <a:pt x="98" y="202"/>
                      <a:pt x="98" y="202"/>
                    </a:cubicBezTo>
                    <a:cubicBezTo>
                      <a:pt x="98" y="202"/>
                      <a:pt x="99" y="202"/>
                      <a:pt x="99" y="202"/>
                    </a:cubicBezTo>
                    <a:cubicBezTo>
                      <a:pt x="99" y="202"/>
                      <a:pt x="99" y="202"/>
                      <a:pt x="99" y="202"/>
                    </a:cubicBezTo>
                    <a:cubicBezTo>
                      <a:pt x="99" y="202"/>
                      <a:pt x="100" y="202"/>
                      <a:pt x="101" y="202"/>
                    </a:cubicBezTo>
                    <a:cubicBezTo>
                      <a:pt x="101" y="202"/>
                      <a:pt x="101" y="202"/>
                      <a:pt x="101" y="202"/>
                    </a:cubicBezTo>
                    <a:cubicBezTo>
                      <a:pt x="101" y="202"/>
                      <a:pt x="101" y="202"/>
                      <a:pt x="101" y="202"/>
                    </a:cubicBezTo>
                    <a:cubicBezTo>
                      <a:pt x="102" y="202"/>
                      <a:pt x="102" y="202"/>
                      <a:pt x="103" y="202"/>
                    </a:cubicBezTo>
                    <a:cubicBezTo>
                      <a:pt x="103" y="202"/>
                      <a:pt x="103" y="203"/>
                      <a:pt x="104" y="203"/>
                    </a:cubicBezTo>
                    <a:cubicBezTo>
                      <a:pt x="104" y="203"/>
                      <a:pt x="104" y="203"/>
                      <a:pt x="104" y="203"/>
                    </a:cubicBezTo>
                    <a:cubicBezTo>
                      <a:pt x="104" y="203"/>
                      <a:pt x="103" y="203"/>
                      <a:pt x="103" y="204"/>
                    </a:cubicBezTo>
                    <a:cubicBezTo>
                      <a:pt x="103" y="204"/>
                      <a:pt x="102" y="204"/>
                      <a:pt x="101" y="203"/>
                    </a:cubicBezTo>
                    <a:cubicBezTo>
                      <a:pt x="101" y="203"/>
                      <a:pt x="101" y="203"/>
                      <a:pt x="101" y="203"/>
                    </a:cubicBezTo>
                    <a:cubicBezTo>
                      <a:pt x="101" y="203"/>
                      <a:pt x="101" y="203"/>
                      <a:pt x="101" y="203"/>
                    </a:cubicBezTo>
                    <a:cubicBezTo>
                      <a:pt x="100" y="203"/>
                      <a:pt x="100" y="203"/>
                      <a:pt x="100" y="203"/>
                    </a:cubicBezTo>
                    <a:cubicBezTo>
                      <a:pt x="100" y="203"/>
                      <a:pt x="99" y="203"/>
                      <a:pt x="99" y="203"/>
                    </a:cubicBezTo>
                    <a:cubicBezTo>
                      <a:pt x="99" y="203"/>
                      <a:pt x="99" y="203"/>
                      <a:pt x="98" y="203"/>
                    </a:cubicBezTo>
                    <a:cubicBezTo>
                      <a:pt x="98" y="203"/>
                      <a:pt x="98" y="204"/>
                      <a:pt x="98" y="204"/>
                    </a:cubicBezTo>
                    <a:cubicBezTo>
                      <a:pt x="98" y="204"/>
                      <a:pt x="98" y="204"/>
                      <a:pt x="98" y="204"/>
                    </a:cubicBezTo>
                    <a:cubicBezTo>
                      <a:pt x="98" y="204"/>
                      <a:pt x="98" y="204"/>
                      <a:pt x="98" y="204"/>
                    </a:cubicBezTo>
                    <a:cubicBezTo>
                      <a:pt x="98" y="204"/>
                      <a:pt x="98" y="205"/>
                      <a:pt x="98" y="205"/>
                    </a:cubicBezTo>
                    <a:cubicBezTo>
                      <a:pt x="98" y="205"/>
                      <a:pt x="99" y="205"/>
                      <a:pt x="99" y="205"/>
                    </a:cubicBezTo>
                    <a:cubicBezTo>
                      <a:pt x="99" y="205"/>
                      <a:pt x="99" y="205"/>
                      <a:pt x="99" y="205"/>
                    </a:cubicBezTo>
                    <a:cubicBezTo>
                      <a:pt x="99" y="205"/>
                      <a:pt x="99" y="205"/>
                      <a:pt x="99" y="205"/>
                    </a:cubicBezTo>
                    <a:cubicBezTo>
                      <a:pt x="99" y="206"/>
                      <a:pt x="99" y="206"/>
                      <a:pt x="99" y="207"/>
                    </a:cubicBezTo>
                    <a:cubicBezTo>
                      <a:pt x="99" y="207"/>
                      <a:pt x="99" y="208"/>
                      <a:pt x="99" y="208"/>
                    </a:cubicBezTo>
                    <a:cubicBezTo>
                      <a:pt x="100" y="209"/>
                      <a:pt x="100" y="209"/>
                      <a:pt x="100" y="209"/>
                    </a:cubicBezTo>
                    <a:cubicBezTo>
                      <a:pt x="100" y="209"/>
                      <a:pt x="100" y="209"/>
                      <a:pt x="100" y="209"/>
                    </a:cubicBezTo>
                    <a:cubicBezTo>
                      <a:pt x="100" y="209"/>
                      <a:pt x="100" y="208"/>
                      <a:pt x="100" y="208"/>
                    </a:cubicBezTo>
                    <a:cubicBezTo>
                      <a:pt x="100" y="208"/>
                      <a:pt x="101" y="208"/>
                      <a:pt x="101" y="208"/>
                    </a:cubicBezTo>
                    <a:cubicBezTo>
                      <a:pt x="101" y="208"/>
                      <a:pt x="101" y="208"/>
                      <a:pt x="101" y="208"/>
                    </a:cubicBezTo>
                    <a:cubicBezTo>
                      <a:pt x="101" y="208"/>
                      <a:pt x="101" y="209"/>
                      <a:pt x="101" y="209"/>
                    </a:cubicBezTo>
                    <a:cubicBezTo>
                      <a:pt x="101" y="209"/>
                      <a:pt x="101" y="209"/>
                      <a:pt x="101" y="210"/>
                    </a:cubicBezTo>
                    <a:cubicBezTo>
                      <a:pt x="101" y="210"/>
                      <a:pt x="102" y="210"/>
                      <a:pt x="102" y="211"/>
                    </a:cubicBezTo>
                    <a:cubicBezTo>
                      <a:pt x="102" y="211"/>
                      <a:pt x="102" y="211"/>
                      <a:pt x="102" y="210"/>
                    </a:cubicBezTo>
                    <a:cubicBezTo>
                      <a:pt x="102" y="210"/>
                      <a:pt x="102" y="210"/>
                      <a:pt x="102" y="210"/>
                    </a:cubicBezTo>
                    <a:cubicBezTo>
                      <a:pt x="102" y="209"/>
                      <a:pt x="102" y="209"/>
                      <a:pt x="103" y="209"/>
                    </a:cubicBezTo>
                    <a:cubicBezTo>
                      <a:pt x="103" y="209"/>
                      <a:pt x="103" y="209"/>
                      <a:pt x="103" y="210"/>
                    </a:cubicBezTo>
                    <a:cubicBezTo>
                      <a:pt x="104" y="210"/>
                      <a:pt x="104" y="210"/>
                      <a:pt x="104" y="210"/>
                    </a:cubicBezTo>
                    <a:cubicBezTo>
                      <a:pt x="104" y="210"/>
                      <a:pt x="104" y="210"/>
                      <a:pt x="104" y="210"/>
                    </a:cubicBezTo>
                    <a:cubicBezTo>
                      <a:pt x="104" y="210"/>
                      <a:pt x="104" y="210"/>
                      <a:pt x="104" y="209"/>
                    </a:cubicBezTo>
                    <a:cubicBezTo>
                      <a:pt x="104" y="209"/>
                      <a:pt x="104" y="209"/>
                      <a:pt x="104" y="209"/>
                    </a:cubicBezTo>
                    <a:cubicBezTo>
                      <a:pt x="104" y="209"/>
                      <a:pt x="104" y="208"/>
                      <a:pt x="103" y="208"/>
                    </a:cubicBezTo>
                    <a:cubicBezTo>
                      <a:pt x="103" y="207"/>
                      <a:pt x="103" y="207"/>
                      <a:pt x="103" y="206"/>
                    </a:cubicBezTo>
                    <a:cubicBezTo>
                      <a:pt x="103" y="206"/>
                      <a:pt x="103" y="206"/>
                      <a:pt x="103" y="206"/>
                    </a:cubicBezTo>
                    <a:cubicBezTo>
                      <a:pt x="104" y="206"/>
                      <a:pt x="104" y="206"/>
                      <a:pt x="104" y="206"/>
                    </a:cubicBezTo>
                    <a:cubicBezTo>
                      <a:pt x="104" y="207"/>
                      <a:pt x="105" y="206"/>
                      <a:pt x="105" y="206"/>
                    </a:cubicBezTo>
                    <a:cubicBezTo>
                      <a:pt x="105" y="206"/>
                      <a:pt x="105" y="206"/>
                      <a:pt x="105" y="206"/>
                    </a:cubicBezTo>
                    <a:cubicBezTo>
                      <a:pt x="105" y="206"/>
                      <a:pt x="104" y="205"/>
                      <a:pt x="104" y="205"/>
                    </a:cubicBezTo>
                    <a:cubicBezTo>
                      <a:pt x="104" y="205"/>
                      <a:pt x="104" y="205"/>
                      <a:pt x="104" y="205"/>
                    </a:cubicBezTo>
                    <a:cubicBezTo>
                      <a:pt x="104" y="204"/>
                      <a:pt x="104" y="204"/>
                      <a:pt x="104" y="204"/>
                    </a:cubicBezTo>
                    <a:cubicBezTo>
                      <a:pt x="104" y="204"/>
                      <a:pt x="105" y="204"/>
                      <a:pt x="105" y="204"/>
                    </a:cubicBezTo>
                    <a:cubicBezTo>
                      <a:pt x="105" y="204"/>
                      <a:pt x="106" y="204"/>
                      <a:pt x="106" y="205"/>
                    </a:cubicBezTo>
                    <a:cubicBezTo>
                      <a:pt x="106" y="205"/>
                      <a:pt x="106" y="205"/>
                      <a:pt x="106" y="205"/>
                    </a:cubicBezTo>
                    <a:cubicBezTo>
                      <a:pt x="106" y="205"/>
                      <a:pt x="106" y="205"/>
                      <a:pt x="106" y="205"/>
                    </a:cubicBezTo>
                    <a:cubicBezTo>
                      <a:pt x="107" y="205"/>
                      <a:pt x="107" y="205"/>
                      <a:pt x="107" y="204"/>
                    </a:cubicBezTo>
                    <a:cubicBezTo>
                      <a:pt x="107" y="204"/>
                      <a:pt x="107" y="204"/>
                      <a:pt x="107" y="204"/>
                    </a:cubicBezTo>
                    <a:cubicBezTo>
                      <a:pt x="107" y="204"/>
                      <a:pt x="107" y="204"/>
                      <a:pt x="107" y="204"/>
                    </a:cubicBezTo>
                    <a:cubicBezTo>
                      <a:pt x="107" y="203"/>
                      <a:pt x="107" y="203"/>
                      <a:pt x="107" y="203"/>
                    </a:cubicBezTo>
                    <a:cubicBezTo>
                      <a:pt x="106" y="203"/>
                      <a:pt x="106" y="202"/>
                      <a:pt x="106" y="202"/>
                    </a:cubicBezTo>
                    <a:cubicBezTo>
                      <a:pt x="106" y="202"/>
                      <a:pt x="106" y="202"/>
                      <a:pt x="105" y="202"/>
                    </a:cubicBezTo>
                    <a:cubicBezTo>
                      <a:pt x="105" y="202"/>
                      <a:pt x="105" y="201"/>
                      <a:pt x="105" y="201"/>
                    </a:cubicBezTo>
                    <a:cubicBezTo>
                      <a:pt x="104" y="201"/>
                      <a:pt x="104" y="201"/>
                      <a:pt x="103" y="201"/>
                    </a:cubicBezTo>
                    <a:cubicBezTo>
                      <a:pt x="103" y="201"/>
                      <a:pt x="103" y="201"/>
                      <a:pt x="103" y="201"/>
                    </a:cubicBezTo>
                    <a:cubicBezTo>
                      <a:pt x="103" y="201"/>
                      <a:pt x="103" y="201"/>
                      <a:pt x="103" y="201"/>
                    </a:cubicBezTo>
                    <a:cubicBezTo>
                      <a:pt x="103" y="200"/>
                      <a:pt x="103" y="200"/>
                      <a:pt x="103" y="200"/>
                    </a:cubicBezTo>
                    <a:cubicBezTo>
                      <a:pt x="104" y="200"/>
                      <a:pt x="104" y="199"/>
                      <a:pt x="104" y="199"/>
                    </a:cubicBezTo>
                    <a:cubicBezTo>
                      <a:pt x="104" y="199"/>
                      <a:pt x="105" y="199"/>
                      <a:pt x="105" y="199"/>
                    </a:cubicBezTo>
                    <a:cubicBezTo>
                      <a:pt x="105" y="198"/>
                      <a:pt x="105" y="198"/>
                      <a:pt x="104" y="198"/>
                    </a:cubicBezTo>
                    <a:cubicBezTo>
                      <a:pt x="104" y="198"/>
                      <a:pt x="104" y="197"/>
                      <a:pt x="104" y="197"/>
                    </a:cubicBezTo>
                    <a:cubicBezTo>
                      <a:pt x="104" y="197"/>
                      <a:pt x="103" y="196"/>
                      <a:pt x="103" y="196"/>
                    </a:cubicBezTo>
                    <a:cubicBezTo>
                      <a:pt x="103" y="195"/>
                      <a:pt x="102" y="194"/>
                      <a:pt x="103" y="194"/>
                    </a:cubicBezTo>
                    <a:cubicBezTo>
                      <a:pt x="103" y="194"/>
                      <a:pt x="103" y="194"/>
                      <a:pt x="103" y="193"/>
                    </a:cubicBezTo>
                    <a:cubicBezTo>
                      <a:pt x="103" y="193"/>
                      <a:pt x="103" y="193"/>
                      <a:pt x="103" y="193"/>
                    </a:cubicBezTo>
                    <a:cubicBezTo>
                      <a:pt x="102" y="193"/>
                      <a:pt x="102" y="193"/>
                      <a:pt x="102" y="193"/>
                    </a:cubicBezTo>
                    <a:cubicBezTo>
                      <a:pt x="103" y="193"/>
                      <a:pt x="103" y="193"/>
                      <a:pt x="103" y="193"/>
                    </a:cubicBezTo>
                    <a:cubicBezTo>
                      <a:pt x="103" y="193"/>
                      <a:pt x="104" y="194"/>
                      <a:pt x="104" y="194"/>
                    </a:cubicBezTo>
                    <a:cubicBezTo>
                      <a:pt x="104" y="194"/>
                      <a:pt x="105" y="195"/>
                      <a:pt x="105" y="195"/>
                    </a:cubicBezTo>
                    <a:cubicBezTo>
                      <a:pt x="105" y="195"/>
                      <a:pt x="105" y="195"/>
                      <a:pt x="105" y="195"/>
                    </a:cubicBezTo>
                    <a:cubicBezTo>
                      <a:pt x="106" y="195"/>
                      <a:pt x="106" y="195"/>
                      <a:pt x="106" y="195"/>
                    </a:cubicBezTo>
                    <a:cubicBezTo>
                      <a:pt x="106" y="194"/>
                      <a:pt x="106" y="194"/>
                      <a:pt x="106" y="195"/>
                    </a:cubicBezTo>
                    <a:cubicBezTo>
                      <a:pt x="106" y="195"/>
                      <a:pt x="107" y="195"/>
                      <a:pt x="107" y="195"/>
                    </a:cubicBezTo>
                    <a:cubicBezTo>
                      <a:pt x="107" y="195"/>
                      <a:pt x="107" y="195"/>
                      <a:pt x="107" y="194"/>
                    </a:cubicBezTo>
                    <a:cubicBezTo>
                      <a:pt x="106" y="194"/>
                      <a:pt x="107" y="194"/>
                      <a:pt x="107" y="194"/>
                    </a:cubicBezTo>
                    <a:cubicBezTo>
                      <a:pt x="108" y="194"/>
                      <a:pt x="108" y="194"/>
                      <a:pt x="108" y="194"/>
                    </a:cubicBezTo>
                    <a:cubicBezTo>
                      <a:pt x="108" y="194"/>
                      <a:pt x="108" y="194"/>
                      <a:pt x="108" y="194"/>
                    </a:cubicBezTo>
                    <a:cubicBezTo>
                      <a:pt x="108" y="194"/>
                      <a:pt x="108" y="194"/>
                      <a:pt x="108" y="193"/>
                    </a:cubicBezTo>
                    <a:cubicBezTo>
                      <a:pt x="107" y="193"/>
                      <a:pt x="107" y="193"/>
                      <a:pt x="106" y="193"/>
                    </a:cubicBezTo>
                    <a:cubicBezTo>
                      <a:pt x="106" y="192"/>
                      <a:pt x="106" y="192"/>
                      <a:pt x="106" y="192"/>
                    </a:cubicBezTo>
                    <a:cubicBezTo>
                      <a:pt x="106" y="192"/>
                      <a:pt x="106" y="192"/>
                      <a:pt x="106" y="191"/>
                    </a:cubicBezTo>
                    <a:cubicBezTo>
                      <a:pt x="107" y="191"/>
                      <a:pt x="107" y="192"/>
                      <a:pt x="107" y="192"/>
                    </a:cubicBezTo>
                    <a:cubicBezTo>
                      <a:pt x="107" y="192"/>
                      <a:pt x="107" y="192"/>
                      <a:pt x="107" y="192"/>
                    </a:cubicBezTo>
                    <a:cubicBezTo>
                      <a:pt x="108" y="192"/>
                      <a:pt x="108" y="191"/>
                      <a:pt x="108" y="191"/>
                    </a:cubicBezTo>
                    <a:cubicBezTo>
                      <a:pt x="108" y="191"/>
                      <a:pt x="109" y="191"/>
                      <a:pt x="109" y="191"/>
                    </a:cubicBezTo>
                    <a:cubicBezTo>
                      <a:pt x="109" y="191"/>
                      <a:pt x="110" y="191"/>
                      <a:pt x="110" y="191"/>
                    </a:cubicBezTo>
                    <a:cubicBezTo>
                      <a:pt x="110" y="191"/>
                      <a:pt x="110" y="191"/>
                      <a:pt x="111" y="191"/>
                    </a:cubicBezTo>
                    <a:cubicBezTo>
                      <a:pt x="111" y="191"/>
                      <a:pt x="112" y="191"/>
                      <a:pt x="112" y="191"/>
                    </a:cubicBezTo>
                    <a:cubicBezTo>
                      <a:pt x="113" y="191"/>
                      <a:pt x="113" y="191"/>
                      <a:pt x="113" y="191"/>
                    </a:cubicBezTo>
                    <a:cubicBezTo>
                      <a:pt x="113" y="191"/>
                      <a:pt x="113" y="191"/>
                      <a:pt x="113" y="192"/>
                    </a:cubicBezTo>
                    <a:cubicBezTo>
                      <a:pt x="113" y="192"/>
                      <a:pt x="113" y="192"/>
                      <a:pt x="113" y="192"/>
                    </a:cubicBezTo>
                    <a:cubicBezTo>
                      <a:pt x="114" y="192"/>
                      <a:pt x="114" y="192"/>
                      <a:pt x="114" y="192"/>
                    </a:cubicBezTo>
                    <a:cubicBezTo>
                      <a:pt x="114" y="191"/>
                      <a:pt x="114" y="191"/>
                      <a:pt x="114" y="191"/>
                    </a:cubicBezTo>
                    <a:cubicBezTo>
                      <a:pt x="114" y="192"/>
                      <a:pt x="114" y="192"/>
                      <a:pt x="114" y="192"/>
                    </a:cubicBezTo>
                    <a:cubicBezTo>
                      <a:pt x="114" y="192"/>
                      <a:pt x="115" y="192"/>
                      <a:pt x="115" y="192"/>
                    </a:cubicBezTo>
                    <a:cubicBezTo>
                      <a:pt x="115" y="192"/>
                      <a:pt x="115" y="192"/>
                      <a:pt x="115" y="193"/>
                    </a:cubicBezTo>
                    <a:cubicBezTo>
                      <a:pt x="114" y="193"/>
                      <a:pt x="114" y="193"/>
                      <a:pt x="114" y="193"/>
                    </a:cubicBezTo>
                    <a:cubicBezTo>
                      <a:pt x="114" y="193"/>
                      <a:pt x="115" y="193"/>
                      <a:pt x="115" y="193"/>
                    </a:cubicBezTo>
                    <a:cubicBezTo>
                      <a:pt x="115" y="193"/>
                      <a:pt x="116" y="193"/>
                      <a:pt x="117" y="193"/>
                    </a:cubicBezTo>
                    <a:cubicBezTo>
                      <a:pt x="117" y="193"/>
                      <a:pt x="117" y="193"/>
                      <a:pt x="117" y="193"/>
                    </a:cubicBezTo>
                    <a:cubicBezTo>
                      <a:pt x="117" y="193"/>
                      <a:pt x="117" y="193"/>
                      <a:pt x="117" y="193"/>
                    </a:cubicBezTo>
                    <a:cubicBezTo>
                      <a:pt x="117" y="192"/>
                      <a:pt x="118" y="192"/>
                      <a:pt x="118" y="191"/>
                    </a:cubicBezTo>
                    <a:cubicBezTo>
                      <a:pt x="118" y="191"/>
                      <a:pt x="119" y="191"/>
                      <a:pt x="119" y="191"/>
                    </a:cubicBezTo>
                    <a:cubicBezTo>
                      <a:pt x="119" y="191"/>
                      <a:pt x="119" y="191"/>
                      <a:pt x="120" y="191"/>
                    </a:cubicBezTo>
                    <a:cubicBezTo>
                      <a:pt x="120" y="191"/>
                      <a:pt x="120" y="191"/>
                      <a:pt x="120" y="191"/>
                    </a:cubicBezTo>
                    <a:cubicBezTo>
                      <a:pt x="120" y="191"/>
                      <a:pt x="120" y="190"/>
                      <a:pt x="120" y="190"/>
                    </a:cubicBezTo>
                    <a:cubicBezTo>
                      <a:pt x="120" y="190"/>
                      <a:pt x="120" y="190"/>
                      <a:pt x="120" y="190"/>
                    </a:cubicBezTo>
                    <a:cubicBezTo>
                      <a:pt x="121" y="190"/>
                      <a:pt x="121" y="190"/>
                      <a:pt x="121" y="190"/>
                    </a:cubicBezTo>
                    <a:cubicBezTo>
                      <a:pt x="121" y="191"/>
                      <a:pt x="122" y="191"/>
                      <a:pt x="122" y="191"/>
                    </a:cubicBezTo>
                    <a:cubicBezTo>
                      <a:pt x="122" y="191"/>
                      <a:pt x="122" y="191"/>
                      <a:pt x="122" y="191"/>
                    </a:cubicBezTo>
                    <a:cubicBezTo>
                      <a:pt x="122" y="190"/>
                      <a:pt x="123" y="190"/>
                      <a:pt x="123" y="190"/>
                    </a:cubicBezTo>
                    <a:cubicBezTo>
                      <a:pt x="123" y="190"/>
                      <a:pt x="122" y="189"/>
                      <a:pt x="122" y="189"/>
                    </a:cubicBezTo>
                    <a:cubicBezTo>
                      <a:pt x="122" y="189"/>
                      <a:pt x="122" y="189"/>
                      <a:pt x="122" y="189"/>
                    </a:cubicBezTo>
                    <a:cubicBezTo>
                      <a:pt x="122" y="189"/>
                      <a:pt x="121" y="189"/>
                      <a:pt x="121" y="189"/>
                    </a:cubicBezTo>
                    <a:cubicBezTo>
                      <a:pt x="121" y="188"/>
                      <a:pt x="121" y="188"/>
                      <a:pt x="121" y="188"/>
                    </a:cubicBezTo>
                    <a:cubicBezTo>
                      <a:pt x="120" y="188"/>
                      <a:pt x="120" y="188"/>
                      <a:pt x="120" y="187"/>
                    </a:cubicBezTo>
                    <a:cubicBezTo>
                      <a:pt x="120" y="187"/>
                      <a:pt x="120" y="187"/>
                      <a:pt x="120" y="186"/>
                    </a:cubicBezTo>
                    <a:cubicBezTo>
                      <a:pt x="120" y="186"/>
                      <a:pt x="120" y="186"/>
                      <a:pt x="120" y="186"/>
                    </a:cubicBezTo>
                    <a:cubicBezTo>
                      <a:pt x="120" y="186"/>
                      <a:pt x="120" y="186"/>
                      <a:pt x="119" y="186"/>
                    </a:cubicBezTo>
                    <a:cubicBezTo>
                      <a:pt x="119" y="186"/>
                      <a:pt x="119" y="186"/>
                      <a:pt x="119" y="186"/>
                    </a:cubicBezTo>
                    <a:cubicBezTo>
                      <a:pt x="119" y="186"/>
                      <a:pt x="119" y="185"/>
                      <a:pt x="119" y="185"/>
                    </a:cubicBezTo>
                    <a:cubicBezTo>
                      <a:pt x="119" y="185"/>
                      <a:pt x="119" y="185"/>
                      <a:pt x="119" y="185"/>
                    </a:cubicBezTo>
                    <a:cubicBezTo>
                      <a:pt x="118" y="185"/>
                      <a:pt x="118" y="185"/>
                      <a:pt x="118" y="185"/>
                    </a:cubicBezTo>
                    <a:cubicBezTo>
                      <a:pt x="118" y="184"/>
                      <a:pt x="118" y="184"/>
                      <a:pt x="118" y="184"/>
                    </a:cubicBezTo>
                    <a:cubicBezTo>
                      <a:pt x="118" y="184"/>
                      <a:pt x="118" y="184"/>
                      <a:pt x="118" y="184"/>
                    </a:cubicBezTo>
                    <a:cubicBezTo>
                      <a:pt x="118" y="183"/>
                      <a:pt x="118" y="183"/>
                      <a:pt x="119" y="183"/>
                    </a:cubicBezTo>
                    <a:cubicBezTo>
                      <a:pt x="119" y="183"/>
                      <a:pt x="119" y="183"/>
                      <a:pt x="119" y="182"/>
                    </a:cubicBezTo>
                    <a:cubicBezTo>
                      <a:pt x="119" y="181"/>
                      <a:pt x="119" y="181"/>
                      <a:pt x="119" y="181"/>
                    </a:cubicBezTo>
                    <a:cubicBezTo>
                      <a:pt x="119" y="181"/>
                      <a:pt x="119" y="181"/>
                      <a:pt x="119" y="181"/>
                    </a:cubicBezTo>
                    <a:cubicBezTo>
                      <a:pt x="119" y="181"/>
                      <a:pt x="120" y="181"/>
                      <a:pt x="120" y="181"/>
                    </a:cubicBezTo>
                    <a:cubicBezTo>
                      <a:pt x="120" y="180"/>
                      <a:pt x="120" y="180"/>
                      <a:pt x="121" y="180"/>
                    </a:cubicBezTo>
                    <a:cubicBezTo>
                      <a:pt x="121" y="180"/>
                      <a:pt x="121" y="180"/>
                      <a:pt x="122" y="180"/>
                    </a:cubicBezTo>
                    <a:cubicBezTo>
                      <a:pt x="122" y="180"/>
                      <a:pt x="122" y="179"/>
                      <a:pt x="122" y="178"/>
                    </a:cubicBezTo>
                    <a:cubicBezTo>
                      <a:pt x="122" y="178"/>
                      <a:pt x="122" y="178"/>
                      <a:pt x="122" y="178"/>
                    </a:cubicBezTo>
                    <a:cubicBezTo>
                      <a:pt x="122" y="178"/>
                      <a:pt x="122" y="178"/>
                      <a:pt x="122" y="178"/>
                    </a:cubicBezTo>
                    <a:cubicBezTo>
                      <a:pt x="122" y="177"/>
                      <a:pt x="122" y="176"/>
                      <a:pt x="122" y="175"/>
                    </a:cubicBezTo>
                    <a:cubicBezTo>
                      <a:pt x="122" y="175"/>
                      <a:pt x="122" y="175"/>
                      <a:pt x="122" y="175"/>
                    </a:cubicBezTo>
                    <a:cubicBezTo>
                      <a:pt x="122" y="174"/>
                      <a:pt x="122" y="174"/>
                      <a:pt x="122" y="174"/>
                    </a:cubicBezTo>
                    <a:cubicBezTo>
                      <a:pt x="123" y="174"/>
                      <a:pt x="124" y="174"/>
                      <a:pt x="124" y="173"/>
                    </a:cubicBezTo>
                    <a:cubicBezTo>
                      <a:pt x="125" y="173"/>
                      <a:pt x="125" y="173"/>
                      <a:pt x="125" y="172"/>
                    </a:cubicBezTo>
                    <a:cubicBezTo>
                      <a:pt x="125" y="172"/>
                      <a:pt x="125" y="171"/>
                      <a:pt x="125" y="170"/>
                    </a:cubicBezTo>
                    <a:cubicBezTo>
                      <a:pt x="124" y="171"/>
                      <a:pt x="124" y="171"/>
                      <a:pt x="124" y="171"/>
                    </a:cubicBezTo>
                    <a:cubicBezTo>
                      <a:pt x="125" y="170"/>
                      <a:pt x="125" y="170"/>
                      <a:pt x="125" y="170"/>
                    </a:cubicBezTo>
                    <a:cubicBezTo>
                      <a:pt x="125" y="170"/>
                      <a:pt x="125" y="170"/>
                      <a:pt x="125" y="170"/>
                    </a:cubicBezTo>
                    <a:cubicBezTo>
                      <a:pt x="126" y="169"/>
                      <a:pt x="126" y="169"/>
                      <a:pt x="126" y="169"/>
                    </a:cubicBezTo>
                    <a:cubicBezTo>
                      <a:pt x="126" y="169"/>
                      <a:pt x="127" y="169"/>
                      <a:pt x="127" y="168"/>
                    </a:cubicBezTo>
                    <a:cubicBezTo>
                      <a:pt x="128" y="168"/>
                      <a:pt x="128" y="167"/>
                      <a:pt x="128" y="167"/>
                    </a:cubicBezTo>
                    <a:cubicBezTo>
                      <a:pt x="129" y="166"/>
                      <a:pt x="129" y="166"/>
                      <a:pt x="129" y="166"/>
                    </a:cubicBezTo>
                    <a:cubicBezTo>
                      <a:pt x="129" y="166"/>
                      <a:pt x="130" y="165"/>
                      <a:pt x="130" y="165"/>
                    </a:cubicBezTo>
                    <a:cubicBezTo>
                      <a:pt x="131" y="165"/>
                      <a:pt x="131" y="164"/>
                      <a:pt x="131" y="164"/>
                    </a:cubicBezTo>
                    <a:cubicBezTo>
                      <a:pt x="132" y="164"/>
                      <a:pt x="132" y="163"/>
                      <a:pt x="132" y="163"/>
                    </a:cubicBezTo>
                    <a:cubicBezTo>
                      <a:pt x="132" y="163"/>
                      <a:pt x="132" y="163"/>
                      <a:pt x="132" y="164"/>
                    </a:cubicBezTo>
                    <a:cubicBezTo>
                      <a:pt x="133" y="164"/>
                      <a:pt x="133" y="165"/>
                      <a:pt x="134" y="165"/>
                    </a:cubicBezTo>
                    <a:cubicBezTo>
                      <a:pt x="134" y="165"/>
                      <a:pt x="134" y="166"/>
                      <a:pt x="134" y="166"/>
                    </a:cubicBezTo>
                    <a:cubicBezTo>
                      <a:pt x="133" y="166"/>
                      <a:pt x="133" y="166"/>
                      <a:pt x="133" y="166"/>
                    </a:cubicBezTo>
                    <a:cubicBezTo>
                      <a:pt x="133" y="166"/>
                      <a:pt x="132" y="165"/>
                      <a:pt x="132" y="165"/>
                    </a:cubicBezTo>
                    <a:cubicBezTo>
                      <a:pt x="131" y="165"/>
                      <a:pt x="131" y="165"/>
                      <a:pt x="131" y="165"/>
                    </a:cubicBezTo>
                    <a:cubicBezTo>
                      <a:pt x="131" y="166"/>
                      <a:pt x="132" y="166"/>
                      <a:pt x="132" y="166"/>
                    </a:cubicBezTo>
                    <a:cubicBezTo>
                      <a:pt x="132" y="167"/>
                      <a:pt x="132" y="167"/>
                      <a:pt x="133" y="167"/>
                    </a:cubicBezTo>
                    <a:cubicBezTo>
                      <a:pt x="133" y="167"/>
                      <a:pt x="134" y="168"/>
                      <a:pt x="134" y="168"/>
                    </a:cubicBezTo>
                    <a:cubicBezTo>
                      <a:pt x="135" y="168"/>
                      <a:pt x="135" y="168"/>
                      <a:pt x="135" y="168"/>
                    </a:cubicBezTo>
                    <a:cubicBezTo>
                      <a:pt x="136" y="168"/>
                      <a:pt x="136" y="168"/>
                      <a:pt x="136" y="168"/>
                    </a:cubicBezTo>
                    <a:cubicBezTo>
                      <a:pt x="137" y="168"/>
                      <a:pt x="137" y="168"/>
                      <a:pt x="137" y="168"/>
                    </a:cubicBezTo>
                    <a:cubicBezTo>
                      <a:pt x="138" y="168"/>
                      <a:pt x="138" y="168"/>
                      <a:pt x="138" y="168"/>
                    </a:cubicBezTo>
                    <a:cubicBezTo>
                      <a:pt x="138" y="168"/>
                      <a:pt x="138" y="168"/>
                      <a:pt x="138" y="168"/>
                    </a:cubicBezTo>
                    <a:cubicBezTo>
                      <a:pt x="138" y="168"/>
                      <a:pt x="138" y="169"/>
                      <a:pt x="137" y="169"/>
                    </a:cubicBezTo>
                    <a:cubicBezTo>
                      <a:pt x="137" y="169"/>
                      <a:pt x="137" y="169"/>
                      <a:pt x="136" y="170"/>
                    </a:cubicBezTo>
                    <a:cubicBezTo>
                      <a:pt x="136" y="170"/>
                      <a:pt x="135" y="170"/>
                      <a:pt x="135" y="170"/>
                    </a:cubicBezTo>
                    <a:cubicBezTo>
                      <a:pt x="135" y="170"/>
                      <a:pt x="134" y="171"/>
                      <a:pt x="134" y="171"/>
                    </a:cubicBezTo>
                    <a:cubicBezTo>
                      <a:pt x="135" y="171"/>
                      <a:pt x="135" y="171"/>
                      <a:pt x="135" y="171"/>
                    </a:cubicBezTo>
                    <a:cubicBezTo>
                      <a:pt x="135" y="171"/>
                      <a:pt x="136" y="171"/>
                      <a:pt x="136" y="172"/>
                    </a:cubicBezTo>
                    <a:cubicBezTo>
                      <a:pt x="136" y="172"/>
                      <a:pt x="137" y="172"/>
                      <a:pt x="137" y="172"/>
                    </a:cubicBezTo>
                    <a:cubicBezTo>
                      <a:pt x="137" y="172"/>
                      <a:pt x="137" y="173"/>
                      <a:pt x="137" y="173"/>
                    </a:cubicBezTo>
                    <a:cubicBezTo>
                      <a:pt x="137" y="173"/>
                      <a:pt x="137" y="174"/>
                      <a:pt x="137" y="174"/>
                    </a:cubicBezTo>
                    <a:cubicBezTo>
                      <a:pt x="137" y="174"/>
                      <a:pt x="137" y="175"/>
                      <a:pt x="137" y="175"/>
                    </a:cubicBezTo>
                    <a:cubicBezTo>
                      <a:pt x="138" y="175"/>
                      <a:pt x="138" y="175"/>
                      <a:pt x="139" y="175"/>
                    </a:cubicBezTo>
                    <a:cubicBezTo>
                      <a:pt x="139" y="175"/>
                      <a:pt x="140" y="175"/>
                      <a:pt x="140" y="175"/>
                    </a:cubicBezTo>
                    <a:cubicBezTo>
                      <a:pt x="140" y="174"/>
                      <a:pt x="140" y="174"/>
                      <a:pt x="141" y="174"/>
                    </a:cubicBezTo>
                    <a:cubicBezTo>
                      <a:pt x="141" y="174"/>
                      <a:pt x="142" y="174"/>
                      <a:pt x="142" y="174"/>
                    </a:cubicBezTo>
                    <a:cubicBezTo>
                      <a:pt x="142" y="174"/>
                      <a:pt x="143" y="174"/>
                      <a:pt x="143" y="174"/>
                    </a:cubicBezTo>
                    <a:cubicBezTo>
                      <a:pt x="143" y="173"/>
                      <a:pt x="143" y="173"/>
                      <a:pt x="144" y="173"/>
                    </a:cubicBezTo>
                    <a:cubicBezTo>
                      <a:pt x="144" y="173"/>
                      <a:pt x="144" y="173"/>
                      <a:pt x="144" y="173"/>
                    </a:cubicBezTo>
                    <a:cubicBezTo>
                      <a:pt x="144" y="172"/>
                      <a:pt x="144" y="172"/>
                      <a:pt x="144" y="172"/>
                    </a:cubicBezTo>
                    <a:cubicBezTo>
                      <a:pt x="144" y="173"/>
                      <a:pt x="145" y="173"/>
                      <a:pt x="145" y="173"/>
                    </a:cubicBezTo>
                    <a:cubicBezTo>
                      <a:pt x="145" y="173"/>
                      <a:pt x="146" y="173"/>
                      <a:pt x="146" y="172"/>
                    </a:cubicBezTo>
                    <a:cubicBezTo>
                      <a:pt x="146" y="172"/>
                      <a:pt x="147" y="172"/>
                      <a:pt x="147" y="172"/>
                    </a:cubicBezTo>
                    <a:cubicBezTo>
                      <a:pt x="147" y="172"/>
                      <a:pt x="147" y="172"/>
                      <a:pt x="147" y="171"/>
                    </a:cubicBezTo>
                    <a:cubicBezTo>
                      <a:pt x="147" y="171"/>
                      <a:pt x="147" y="171"/>
                      <a:pt x="147" y="171"/>
                    </a:cubicBezTo>
                    <a:cubicBezTo>
                      <a:pt x="146" y="171"/>
                      <a:pt x="146" y="171"/>
                      <a:pt x="146" y="171"/>
                    </a:cubicBezTo>
                    <a:cubicBezTo>
                      <a:pt x="145" y="171"/>
                      <a:pt x="145" y="171"/>
                      <a:pt x="145" y="171"/>
                    </a:cubicBezTo>
                    <a:cubicBezTo>
                      <a:pt x="145" y="171"/>
                      <a:pt x="145" y="171"/>
                      <a:pt x="144" y="171"/>
                    </a:cubicBezTo>
                    <a:cubicBezTo>
                      <a:pt x="144" y="171"/>
                      <a:pt x="144" y="171"/>
                      <a:pt x="144" y="171"/>
                    </a:cubicBezTo>
                    <a:cubicBezTo>
                      <a:pt x="144" y="172"/>
                      <a:pt x="143" y="171"/>
                      <a:pt x="143" y="170"/>
                    </a:cubicBezTo>
                    <a:cubicBezTo>
                      <a:pt x="143" y="170"/>
                      <a:pt x="142" y="168"/>
                      <a:pt x="141" y="167"/>
                    </a:cubicBezTo>
                    <a:cubicBezTo>
                      <a:pt x="141" y="167"/>
                      <a:pt x="141" y="167"/>
                      <a:pt x="141" y="167"/>
                    </a:cubicBezTo>
                    <a:cubicBezTo>
                      <a:pt x="142" y="167"/>
                      <a:pt x="142" y="167"/>
                      <a:pt x="142" y="166"/>
                    </a:cubicBezTo>
                    <a:cubicBezTo>
                      <a:pt x="142" y="166"/>
                      <a:pt x="143" y="166"/>
                      <a:pt x="143" y="166"/>
                    </a:cubicBezTo>
                    <a:cubicBezTo>
                      <a:pt x="143" y="165"/>
                      <a:pt x="143" y="166"/>
                      <a:pt x="143" y="166"/>
                    </a:cubicBezTo>
                    <a:cubicBezTo>
                      <a:pt x="143" y="167"/>
                      <a:pt x="143" y="167"/>
                      <a:pt x="144" y="167"/>
                    </a:cubicBezTo>
                    <a:cubicBezTo>
                      <a:pt x="144" y="166"/>
                      <a:pt x="145" y="166"/>
                      <a:pt x="145" y="166"/>
                    </a:cubicBezTo>
                    <a:cubicBezTo>
                      <a:pt x="145" y="165"/>
                      <a:pt x="146" y="165"/>
                      <a:pt x="146" y="165"/>
                    </a:cubicBezTo>
                    <a:cubicBezTo>
                      <a:pt x="146" y="165"/>
                      <a:pt x="146" y="165"/>
                      <a:pt x="146" y="165"/>
                    </a:cubicBezTo>
                    <a:cubicBezTo>
                      <a:pt x="147" y="165"/>
                      <a:pt x="147" y="165"/>
                      <a:pt x="147" y="165"/>
                    </a:cubicBezTo>
                    <a:cubicBezTo>
                      <a:pt x="147" y="165"/>
                      <a:pt x="147" y="165"/>
                      <a:pt x="147" y="165"/>
                    </a:cubicBezTo>
                    <a:cubicBezTo>
                      <a:pt x="147" y="165"/>
                      <a:pt x="148" y="165"/>
                      <a:pt x="148" y="165"/>
                    </a:cubicBezTo>
                    <a:cubicBezTo>
                      <a:pt x="148" y="165"/>
                      <a:pt x="148" y="165"/>
                      <a:pt x="148" y="165"/>
                    </a:cubicBezTo>
                    <a:cubicBezTo>
                      <a:pt x="149" y="164"/>
                      <a:pt x="149" y="164"/>
                      <a:pt x="149" y="164"/>
                    </a:cubicBezTo>
                    <a:cubicBezTo>
                      <a:pt x="149" y="164"/>
                      <a:pt x="149" y="164"/>
                      <a:pt x="150" y="164"/>
                    </a:cubicBezTo>
                    <a:cubicBezTo>
                      <a:pt x="150" y="164"/>
                      <a:pt x="150" y="164"/>
                      <a:pt x="150" y="164"/>
                    </a:cubicBezTo>
                    <a:cubicBezTo>
                      <a:pt x="150" y="163"/>
                      <a:pt x="150" y="163"/>
                      <a:pt x="150" y="163"/>
                    </a:cubicBezTo>
                    <a:cubicBezTo>
                      <a:pt x="150" y="163"/>
                      <a:pt x="151" y="163"/>
                      <a:pt x="151" y="163"/>
                    </a:cubicBezTo>
                    <a:cubicBezTo>
                      <a:pt x="152" y="163"/>
                      <a:pt x="152" y="164"/>
                      <a:pt x="152" y="163"/>
                    </a:cubicBezTo>
                    <a:cubicBezTo>
                      <a:pt x="152" y="162"/>
                      <a:pt x="152" y="162"/>
                      <a:pt x="152" y="162"/>
                    </a:cubicBezTo>
                    <a:cubicBezTo>
                      <a:pt x="152" y="163"/>
                      <a:pt x="152" y="163"/>
                      <a:pt x="152" y="163"/>
                    </a:cubicBezTo>
                    <a:cubicBezTo>
                      <a:pt x="153" y="163"/>
                      <a:pt x="153" y="163"/>
                      <a:pt x="153" y="163"/>
                    </a:cubicBezTo>
                    <a:cubicBezTo>
                      <a:pt x="154" y="162"/>
                      <a:pt x="154" y="162"/>
                      <a:pt x="156" y="162"/>
                    </a:cubicBezTo>
                    <a:cubicBezTo>
                      <a:pt x="157" y="162"/>
                      <a:pt x="157" y="162"/>
                      <a:pt x="157" y="162"/>
                    </a:cubicBezTo>
                    <a:cubicBezTo>
                      <a:pt x="156" y="163"/>
                      <a:pt x="155" y="163"/>
                      <a:pt x="155" y="164"/>
                    </a:cubicBezTo>
                    <a:cubicBezTo>
                      <a:pt x="155" y="164"/>
                      <a:pt x="154" y="164"/>
                      <a:pt x="154" y="165"/>
                    </a:cubicBezTo>
                    <a:cubicBezTo>
                      <a:pt x="154" y="165"/>
                      <a:pt x="154" y="165"/>
                      <a:pt x="153" y="165"/>
                    </a:cubicBezTo>
                    <a:cubicBezTo>
                      <a:pt x="153" y="165"/>
                      <a:pt x="153" y="165"/>
                      <a:pt x="152" y="166"/>
                    </a:cubicBezTo>
                    <a:cubicBezTo>
                      <a:pt x="152" y="166"/>
                      <a:pt x="151" y="166"/>
                      <a:pt x="152" y="166"/>
                    </a:cubicBezTo>
                    <a:cubicBezTo>
                      <a:pt x="152" y="166"/>
                      <a:pt x="153" y="167"/>
                      <a:pt x="153" y="167"/>
                    </a:cubicBezTo>
                    <a:cubicBezTo>
                      <a:pt x="153" y="167"/>
                      <a:pt x="153" y="168"/>
                      <a:pt x="153" y="168"/>
                    </a:cubicBezTo>
                    <a:cubicBezTo>
                      <a:pt x="152" y="168"/>
                      <a:pt x="152" y="168"/>
                      <a:pt x="152" y="168"/>
                    </a:cubicBezTo>
                    <a:cubicBezTo>
                      <a:pt x="152" y="169"/>
                      <a:pt x="152" y="169"/>
                      <a:pt x="152" y="169"/>
                    </a:cubicBezTo>
                    <a:cubicBezTo>
                      <a:pt x="153" y="169"/>
                      <a:pt x="152" y="169"/>
                      <a:pt x="152" y="169"/>
                    </a:cubicBezTo>
                    <a:cubicBezTo>
                      <a:pt x="151" y="169"/>
                      <a:pt x="151" y="169"/>
                      <a:pt x="151" y="170"/>
                    </a:cubicBezTo>
                    <a:cubicBezTo>
                      <a:pt x="151" y="170"/>
                      <a:pt x="151" y="170"/>
                      <a:pt x="151" y="170"/>
                    </a:cubicBezTo>
                    <a:cubicBezTo>
                      <a:pt x="151" y="171"/>
                      <a:pt x="151" y="171"/>
                      <a:pt x="151" y="171"/>
                    </a:cubicBezTo>
                    <a:cubicBezTo>
                      <a:pt x="151" y="171"/>
                      <a:pt x="150" y="171"/>
                      <a:pt x="150" y="171"/>
                    </a:cubicBezTo>
                    <a:cubicBezTo>
                      <a:pt x="149" y="171"/>
                      <a:pt x="149" y="171"/>
                      <a:pt x="149" y="171"/>
                    </a:cubicBezTo>
                    <a:cubicBezTo>
                      <a:pt x="148" y="171"/>
                      <a:pt x="148" y="171"/>
                      <a:pt x="148" y="172"/>
                    </a:cubicBezTo>
                    <a:cubicBezTo>
                      <a:pt x="148" y="172"/>
                      <a:pt x="148" y="172"/>
                      <a:pt x="148" y="172"/>
                    </a:cubicBezTo>
                    <a:cubicBezTo>
                      <a:pt x="148" y="173"/>
                      <a:pt x="149" y="173"/>
                      <a:pt x="149" y="174"/>
                    </a:cubicBezTo>
                    <a:cubicBezTo>
                      <a:pt x="149" y="174"/>
                      <a:pt x="150" y="174"/>
                      <a:pt x="150" y="174"/>
                    </a:cubicBezTo>
                    <a:cubicBezTo>
                      <a:pt x="151" y="174"/>
                      <a:pt x="151" y="174"/>
                      <a:pt x="151" y="175"/>
                    </a:cubicBezTo>
                    <a:cubicBezTo>
                      <a:pt x="151" y="175"/>
                      <a:pt x="152" y="175"/>
                      <a:pt x="153" y="175"/>
                    </a:cubicBezTo>
                    <a:cubicBezTo>
                      <a:pt x="153" y="175"/>
                      <a:pt x="153" y="175"/>
                      <a:pt x="153" y="175"/>
                    </a:cubicBezTo>
                    <a:cubicBezTo>
                      <a:pt x="154" y="175"/>
                      <a:pt x="154" y="175"/>
                      <a:pt x="154" y="175"/>
                    </a:cubicBezTo>
                    <a:cubicBezTo>
                      <a:pt x="155" y="176"/>
                      <a:pt x="156" y="178"/>
                      <a:pt x="157" y="179"/>
                    </a:cubicBezTo>
                    <a:cubicBezTo>
                      <a:pt x="157" y="179"/>
                      <a:pt x="157" y="179"/>
                      <a:pt x="157" y="179"/>
                    </a:cubicBezTo>
                    <a:cubicBezTo>
                      <a:pt x="157" y="179"/>
                      <a:pt x="157" y="179"/>
                      <a:pt x="158" y="180"/>
                    </a:cubicBezTo>
                    <a:cubicBezTo>
                      <a:pt x="158" y="180"/>
                      <a:pt x="158" y="180"/>
                      <a:pt x="158" y="180"/>
                    </a:cubicBezTo>
                    <a:cubicBezTo>
                      <a:pt x="158" y="180"/>
                      <a:pt x="158" y="180"/>
                      <a:pt x="158" y="180"/>
                    </a:cubicBezTo>
                    <a:cubicBezTo>
                      <a:pt x="158" y="180"/>
                      <a:pt x="158" y="180"/>
                      <a:pt x="159" y="180"/>
                    </a:cubicBezTo>
                    <a:cubicBezTo>
                      <a:pt x="159" y="180"/>
                      <a:pt x="159" y="181"/>
                      <a:pt x="159" y="181"/>
                    </a:cubicBezTo>
                    <a:cubicBezTo>
                      <a:pt x="159" y="181"/>
                      <a:pt x="160" y="182"/>
                      <a:pt x="160" y="181"/>
                    </a:cubicBezTo>
                    <a:cubicBezTo>
                      <a:pt x="161" y="181"/>
                      <a:pt x="161" y="181"/>
                      <a:pt x="161" y="182"/>
                    </a:cubicBezTo>
                    <a:cubicBezTo>
                      <a:pt x="161" y="182"/>
                      <a:pt x="161" y="182"/>
                      <a:pt x="162" y="183"/>
                    </a:cubicBezTo>
                    <a:cubicBezTo>
                      <a:pt x="163" y="183"/>
                      <a:pt x="163" y="183"/>
                      <a:pt x="163" y="183"/>
                    </a:cubicBezTo>
                    <a:cubicBezTo>
                      <a:pt x="163" y="184"/>
                      <a:pt x="163" y="185"/>
                      <a:pt x="164" y="186"/>
                    </a:cubicBezTo>
                    <a:cubicBezTo>
                      <a:pt x="164" y="187"/>
                      <a:pt x="164" y="187"/>
                      <a:pt x="164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cubicBezTo>
                      <a:pt x="164" y="189"/>
                      <a:pt x="163" y="189"/>
                      <a:pt x="162" y="189"/>
                    </a:cubicBezTo>
                    <a:cubicBezTo>
                      <a:pt x="161" y="190"/>
                      <a:pt x="160" y="190"/>
                      <a:pt x="159" y="191"/>
                    </a:cubicBezTo>
                    <a:cubicBezTo>
                      <a:pt x="158" y="191"/>
                      <a:pt x="158" y="191"/>
                      <a:pt x="157" y="190"/>
                    </a:cubicBezTo>
                    <a:cubicBezTo>
                      <a:pt x="157" y="190"/>
                      <a:pt x="156" y="191"/>
                      <a:pt x="153" y="191"/>
                    </a:cubicBezTo>
                    <a:cubicBezTo>
                      <a:pt x="150" y="191"/>
                      <a:pt x="151" y="191"/>
                      <a:pt x="151" y="190"/>
                    </a:cubicBezTo>
                    <a:cubicBezTo>
                      <a:pt x="151" y="190"/>
                      <a:pt x="151" y="190"/>
                      <a:pt x="151" y="190"/>
                    </a:cubicBezTo>
                    <a:cubicBezTo>
                      <a:pt x="150" y="190"/>
                      <a:pt x="149" y="189"/>
                      <a:pt x="148" y="189"/>
                    </a:cubicBezTo>
                    <a:cubicBezTo>
                      <a:pt x="148" y="189"/>
                      <a:pt x="147" y="189"/>
                      <a:pt x="147" y="189"/>
                    </a:cubicBezTo>
                    <a:cubicBezTo>
                      <a:pt x="147" y="188"/>
                      <a:pt x="146" y="188"/>
                      <a:pt x="146" y="188"/>
                    </a:cubicBezTo>
                    <a:cubicBezTo>
                      <a:pt x="146" y="188"/>
                      <a:pt x="145" y="188"/>
                      <a:pt x="145" y="188"/>
                    </a:cubicBezTo>
                    <a:cubicBezTo>
                      <a:pt x="144" y="187"/>
                      <a:pt x="143" y="187"/>
                      <a:pt x="143" y="187"/>
                    </a:cubicBezTo>
                    <a:cubicBezTo>
                      <a:pt x="143" y="187"/>
                      <a:pt x="143" y="187"/>
                      <a:pt x="143" y="187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42" y="187"/>
                      <a:pt x="141" y="186"/>
                      <a:pt x="140" y="186"/>
                    </a:cubicBezTo>
                    <a:cubicBezTo>
                      <a:pt x="139" y="186"/>
                      <a:pt x="139" y="186"/>
                      <a:pt x="139" y="186"/>
                    </a:cubicBezTo>
                    <a:cubicBezTo>
                      <a:pt x="137" y="187"/>
                      <a:pt x="134" y="188"/>
                      <a:pt x="132" y="189"/>
                    </a:cubicBezTo>
                    <a:cubicBezTo>
                      <a:pt x="132" y="189"/>
                      <a:pt x="132" y="189"/>
                      <a:pt x="132" y="189"/>
                    </a:cubicBezTo>
                    <a:cubicBezTo>
                      <a:pt x="131" y="189"/>
                      <a:pt x="131" y="189"/>
                      <a:pt x="130" y="190"/>
                    </a:cubicBezTo>
                    <a:cubicBezTo>
                      <a:pt x="129" y="192"/>
                      <a:pt x="129" y="192"/>
                      <a:pt x="129" y="192"/>
                    </a:cubicBezTo>
                    <a:cubicBezTo>
                      <a:pt x="129" y="191"/>
                      <a:pt x="128" y="190"/>
                      <a:pt x="127" y="190"/>
                    </a:cubicBezTo>
                    <a:cubicBezTo>
                      <a:pt x="127" y="190"/>
                      <a:pt x="127" y="190"/>
                      <a:pt x="127" y="190"/>
                    </a:cubicBezTo>
                    <a:cubicBezTo>
                      <a:pt x="127" y="190"/>
                      <a:pt x="127" y="190"/>
                      <a:pt x="127" y="190"/>
                    </a:cubicBezTo>
                    <a:cubicBezTo>
                      <a:pt x="126" y="190"/>
                      <a:pt x="125" y="190"/>
                      <a:pt x="125" y="190"/>
                    </a:cubicBezTo>
                    <a:cubicBezTo>
                      <a:pt x="124" y="190"/>
                      <a:pt x="124" y="190"/>
                      <a:pt x="124" y="190"/>
                    </a:cubicBezTo>
                    <a:cubicBezTo>
                      <a:pt x="123" y="191"/>
                      <a:pt x="123" y="191"/>
                      <a:pt x="124" y="192"/>
                    </a:cubicBezTo>
                    <a:cubicBezTo>
                      <a:pt x="124" y="192"/>
                      <a:pt x="124" y="192"/>
                      <a:pt x="124" y="192"/>
                    </a:cubicBezTo>
                    <a:cubicBezTo>
                      <a:pt x="124" y="192"/>
                      <a:pt x="124" y="194"/>
                      <a:pt x="123" y="194"/>
                    </a:cubicBezTo>
                    <a:cubicBezTo>
                      <a:pt x="122" y="194"/>
                      <a:pt x="121" y="194"/>
                      <a:pt x="120" y="194"/>
                    </a:cubicBezTo>
                    <a:cubicBezTo>
                      <a:pt x="120" y="194"/>
                      <a:pt x="118" y="193"/>
                      <a:pt x="118" y="193"/>
                    </a:cubicBezTo>
                    <a:cubicBezTo>
                      <a:pt x="118" y="193"/>
                      <a:pt x="118" y="193"/>
                      <a:pt x="118" y="193"/>
                    </a:cubicBezTo>
                    <a:cubicBezTo>
                      <a:pt x="117" y="193"/>
                      <a:pt x="116" y="194"/>
                      <a:pt x="115" y="194"/>
                    </a:cubicBezTo>
                    <a:cubicBezTo>
                      <a:pt x="115" y="194"/>
                      <a:pt x="114" y="195"/>
                      <a:pt x="114" y="195"/>
                    </a:cubicBezTo>
                    <a:cubicBezTo>
                      <a:pt x="114" y="196"/>
                      <a:pt x="114" y="197"/>
                      <a:pt x="114" y="197"/>
                    </a:cubicBezTo>
                    <a:cubicBezTo>
                      <a:pt x="114" y="197"/>
                      <a:pt x="115" y="198"/>
                      <a:pt x="115" y="198"/>
                    </a:cubicBezTo>
                    <a:cubicBezTo>
                      <a:pt x="115" y="198"/>
                      <a:pt x="115" y="198"/>
                      <a:pt x="115" y="198"/>
                    </a:cubicBezTo>
                    <a:cubicBezTo>
                      <a:pt x="115" y="198"/>
                      <a:pt x="116" y="199"/>
                      <a:pt x="116" y="199"/>
                    </a:cubicBezTo>
                    <a:cubicBezTo>
                      <a:pt x="117" y="199"/>
                      <a:pt x="117" y="199"/>
                      <a:pt x="117" y="199"/>
                    </a:cubicBezTo>
                    <a:cubicBezTo>
                      <a:pt x="117" y="200"/>
                      <a:pt x="117" y="200"/>
                      <a:pt x="117" y="201"/>
                    </a:cubicBezTo>
                    <a:cubicBezTo>
                      <a:pt x="117" y="201"/>
                      <a:pt x="116" y="202"/>
                      <a:pt x="116" y="202"/>
                    </a:cubicBezTo>
                    <a:cubicBezTo>
                      <a:pt x="116" y="202"/>
                      <a:pt x="116" y="203"/>
                      <a:pt x="117" y="203"/>
                    </a:cubicBezTo>
                    <a:cubicBezTo>
                      <a:pt x="117" y="203"/>
                      <a:pt x="117" y="203"/>
                      <a:pt x="117" y="203"/>
                    </a:cubicBezTo>
                    <a:cubicBezTo>
                      <a:pt x="118" y="203"/>
                      <a:pt x="117" y="204"/>
                      <a:pt x="117" y="204"/>
                    </a:cubicBezTo>
                    <a:cubicBezTo>
                      <a:pt x="116" y="204"/>
                      <a:pt x="116" y="204"/>
                      <a:pt x="116" y="204"/>
                    </a:cubicBezTo>
                    <a:cubicBezTo>
                      <a:pt x="116" y="205"/>
                      <a:pt x="117" y="205"/>
                      <a:pt x="117" y="205"/>
                    </a:cubicBezTo>
                    <a:cubicBezTo>
                      <a:pt x="118" y="207"/>
                      <a:pt x="118" y="207"/>
                      <a:pt x="118" y="207"/>
                    </a:cubicBezTo>
                    <a:cubicBezTo>
                      <a:pt x="118" y="208"/>
                      <a:pt x="118" y="208"/>
                      <a:pt x="118" y="208"/>
                    </a:cubicBezTo>
                    <a:cubicBezTo>
                      <a:pt x="118" y="208"/>
                      <a:pt x="119" y="208"/>
                      <a:pt x="119" y="208"/>
                    </a:cubicBezTo>
                    <a:cubicBezTo>
                      <a:pt x="120" y="209"/>
                      <a:pt x="120" y="209"/>
                      <a:pt x="120" y="209"/>
                    </a:cubicBezTo>
                    <a:cubicBezTo>
                      <a:pt x="121" y="209"/>
                      <a:pt x="121" y="209"/>
                      <a:pt x="121" y="209"/>
                    </a:cubicBezTo>
                    <a:cubicBezTo>
                      <a:pt x="121" y="209"/>
                      <a:pt x="122" y="209"/>
                      <a:pt x="122" y="209"/>
                    </a:cubicBezTo>
                    <a:cubicBezTo>
                      <a:pt x="123" y="209"/>
                      <a:pt x="123" y="209"/>
                      <a:pt x="123" y="209"/>
                    </a:cubicBezTo>
                    <a:cubicBezTo>
                      <a:pt x="123" y="209"/>
                      <a:pt x="123" y="209"/>
                      <a:pt x="123" y="209"/>
                    </a:cubicBezTo>
                    <a:cubicBezTo>
                      <a:pt x="123" y="210"/>
                      <a:pt x="123" y="211"/>
                      <a:pt x="124" y="211"/>
                    </a:cubicBezTo>
                    <a:cubicBezTo>
                      <a:pt x="124" y="211"/>
                      <a:pt x="125" y="211"/>
                      <a:pt x="126" y="211"/>
                    </a:cubicBezTo>
                    <a:cubicBezTo>
                      <a:pt x="126" y="211"/>
                      <a:pt x="126" y="211"/>
                      <a:pt x="126" y="211"/>
                    </a:cubicBezTo>
                    <a:cubicBezTo>
                      <a:pt x="127" y="211"/>
                      <a:pt x="128" y="211"/>
                      <a:pt x="128" y="211"/>
                    </a:cubicBezTo>
                    <a:cubicBezTo>
                      <a:pt x="128" y="211"/>
                      <a:pt x="128" y="209"/>
                      <a:pt x="128" y="209"/>
                    </a:cubicBezTo>
                    <a:cubicBezTo>
                      <a:pt x="128" y="209"/>
                      <a:pt x="128" y="209"/>
                      <a:pt x="128" y="209"/>
                    </a:cubicBezTo>
                    <a:cubicBezTo>
                      <a:pt x="128" y="208"/>
                      <a:pt x="129" y="208"/>
                      <a:pt x="130" y="209"/>
                    </a:cubicBezTo>
                    <a:cubicBezTo>
                      <a:pt x="130" y="209"/>
                      <a:pt x="130" y="209"/>
                      <a:pt x="130" y="209"/>
                    </a:cubicBezTo>
                    <a:cubicBezTo>
                      <a:pt x="131" y="209"/>
                      <a:pt x="132" y="209"/>
                      <a:pt x="132" y="209"/>
                    </a:cubicBezTo>
                    <a:cubicBezTo>
                      <a:pt x="133" y="209"/>
                      <a:pt x="132" y="210"/>
                      <a:pt x="134" y="212"/>
                    </a:cubicBezTo>
                    <a:cubicBezTo>
                      <a:pt x="135" y="213"/>
                      <a:pt x="135" y="212"/>
                      <a:pt x="136" y="212"/>
                    </a:cubicBezTo>
                    <a:cubicBezTo>
                      <a:pt x="136" y="212"/>
                      <a:pt x="138" y="211"/>
                      <a:pt x="139" y="211"/>
                    </a:cubicBezTo>
                    <a:cubicBezTo>
                      <a:pt x="139" y="211"/>
                      <a:pt x="140" y="210"/>
                      <a:pt x="140" y="209"/>
                    </a:cubicBezTo>
                    <a:cubicBezTo>
                      <a:pt x="141" y="208"/>
                      <a:pt x="141" y="209"/>
                      <a:pt x="142" y="209"/>
                    </a:cubicBezTo>
                    <a:cubicBezTo>
                      <a:pt x="143" y="209"/>
                      <a:pt x="143" y="210"/>
                      <a:pt x="144" y="210"/>
                    </a:cubicBezTo>
                    <a:cubicBezTo>
                      <a:pt x="145" y="209"/>
                      <a:pt x="145" y="209"/>
                      <a:pt x="145" y="209"/>
                    </a:cubicBezTo>
                    <a:cubicBezTo>
                      <a:pt x="145" y="208"/>
                      <a:pt x="145" y="209"/>
                      <a:pt x="146" y="209"/>
                    </a:cubicBezTo>
                    <a:cubicBezTo>
                      <a:pt x="146" y="209"/>
                      <a:pt x="146" y="210"/>
                      <a:pt x="145" y="211"/>
                    </a:cubicBezTo>
                    <a:cubicBezTo>
                      <a:pt x="145" y="211"/>
                      <a:pt x="145" y="211"/>
                      <a:pt x="145" y="211"/>
                    </a:cubicBezTo>
                    <a:cubicBezTo>
                      <a:pt x="145" y="212"/>
                      <a:pt x="146" y="212"/>
                      <a:pt x="145" y="213"/>
                    </a:cubicBezTo>
                    <a:cubicBezTo>
                      <a:pt x="146" y="212"/>
                      <a:pt x="146" y="212"/>
                      <a:pt x="146" y="212"/>
                    </a:cubicBezTo>
                    <a:cubicBezTo>
                      <a:pt x="147" y="211"/>
                      <a:pt x="147" y="211"/>
                      <a:pt x="147" y="211"/>
                    </a:cubicBezTo>
                    <a:cubicBezTo>
                      <a:pt x="148" y="210"/>
                      <a:pt x="148" y="210"/>
                      <a:pt x="148" y="210"/>
                    </a:cubicBezTo>
                    <a:cubicBezTo>
                      <a:pt x="148" y="210"/>
                      <a:pt x="148" y="210"/>
                      <a:pt x="148" y="210"/>
                    </a:cubicBezTo>
                    <a:cubicBezTo>
                      <a:pt x="148" y="210"/>
                      <a:pt x="148" y="210"/>
                      <a:pt x="148" y="210"/>
                    </a:cubicBezTo>
                    <a:cubicBezTo>
                      <a:pt x="147" y="211"/>
                      <a:pt x="147" y="211"/>
                      <a:pt x="147" y="211"/>
                    </a:cubicBezTo>
                    <a:cubicBezTo>
                      <a:pt x="146" y="212"/>
                      <a:pt x="146" y="212"/>
                      <a:pt x="146" y="212"/>
                    </a:cubicBezTo>
                    <a:cubicBezTo>
                      <a:pt x="145" y="213"/>
                      <a:pt x="145" y="213"/>
                      <a:pt x="145" y="213"/>
                    </a:cubicBezTo>
                    <a:cubicBezTo>
                      <a:pt x="145" y="213"/>
                      <a:pt x="145" y="213"/>
                      <a:pt x="145" y="214"/>
                    </a:cubicBezTo>
                    <a:cubicBezTo>
                      <a:pt x="145" y="214"/>
                      <a:pt x="145" y="215"/>
                      <a:pt x="145" y="216"/>
                    </a:cubicBezTo>
                    <a:cubicBezTo>
                      <a:pt x="145" y="216"/>
                      <a:pt x="146" y="217"/>
                      <a:pt x="145" y="217"/>
                    </a:cubicBezTo>
                    <a:cubicBezTo>
                      <a:pt x="145" y="217"/>
                      <a:pt x="145" y="218"/>
                      <a:pt x="145" y="218"/>
                    </a:cubicBezTo>
                    <a:cubicBezTo>
                      <a:pt x="146" y="218"/>
                      <a:pt x="146" y="218"/>
                      <a:pt x="146" y="218"/>
                    </a:cubicBezTo>
                    <a:cubicBezTo>
                      <a:pt x="145" y="218"/>
                      <a:pt x="145" y="218"/>
                      <a:pt x="145" y="218"/>
                    </a:cubicBezTo>
                    <a:cubicBezTo>
                      <a:pt x="144" y="219"/>
                      <a:pt x="143" y="223"/>
                      <a:pt x="143" y="223"/>
                    </a:cubicBezTo>
                    <a:cubicBezTo>
                      <a:pt x="143" y="223"/>
                      <a:pt x="143" y="224"/>
                      <a:pt x="143" y="225"/>
                    </a:cubicBezTo>
                    <a:cubicBezTo>
                      <a:pt x="144" y="224"/>
                      <a:pt x="144" y="224"/>
                      <a:pt x="144" y="224"/>
                    </a:cubicBezTo>
                    <a:cubicBezTo>
                      <a:pt x="143" y="225"/>
                      <a:pt x="143" y="225"/>
                      <a:pt x="143" y="225"/>
                    </a:cubicBezTo>
                    <a:cubicBezTo>
                      <a:pt x="142" y="226"/>
                      <a:pt x="142" y="228"/>
                      <a:pt x="141" y="228"/>
                    </a:cubicBezTo>
                    <a:cubicBezTo>
                      <a:pt x="141" y="230"/>
                      <a:pt x="141" y="230"/>
                      <a:pt x="141" y="230"/>
                    </a:cubicBezTo>
                    <a:cubicBezTo>
                      <a:pt x="141" y="231"/>
                      <a:pt x="140" y="231"/>
                      <a:pt x="140" y="232"/>
                    </a:cubicBezTo>
                    <a:cubicBezTo>
                      <a:pt x="142" y="239"/>
                      <a:pt x="142" y="239"/>
                      <a:pt x="142" y="239"/>
                    </a:cubicBezTo>
                    <a:cubicBezTo>
                      <a:pt x="142" y="239"/>
                      <a:pt x="142" y="239"/>
                      <a:pt x="142" y="239"/>
                    </a:cubicBezTo>
                    <a:cubicBezTo>
                      <a:pt x="142" y="239"/>
                      <a:pt x="142" y="240"/>
                      <a:pt x="142" y="240"/>
                    </a:cubicBezTo>
                    <a:cubicBezTo>
                      <a:pt x="146" y="241"/>
                      <a:pt x="146" y="241"/>
                      <a:pt x="146" y="241"/>
                    </a:cubicBezTo>
                    <a:cubicBezTo>
                      <a:pt x="146" y="241"/>
                      <a:pt x="146" y="241"/>
                      <a:pt x="146" y="241"/>
                    </a:cubicBezTo>
                    <a:cubicBezTo>
                      <a:pt x="142" y="240"/>
                      <a:pt x="142" y="240"/>
                      <a:pt x="142" y="240"/>
                    </a:cubicBezTo>
                    <a:cubicBezTo>
                      <a:pt x="142" y="240"/>
                      <a:pt x="142" y="240"/>
                      <a:pt x="142" y="241"/>
                    </a:cubicBezTo>
                    <a:cubicBezTo>
                      <a:pt x="142" y="241"/>
                      <a:pt x="142" y="241"/>
                      <a:pt x="142" y="241"/>
                    </a:cubicBezTo>
                    <a:cubicBezTo>
                      <a:pt x="142" y="241"/>
                      <a:pt x="142" y="242"/>
                      <a:pt x="142" y="242"/>
                    </a:cubicBezTo>
                    <a:cubicBezTo>
                      <a:pt x="142" y="242"/>
                      <a:pt x="142" y="242"/>
                      <a:pt x="142" y="242"/>
                    </a:cubicBezTo>
                    <a:cubicBezTo>
                      <a:pt x="142" y="244"/>
                      <a:pt x="142" y="245"/>
                      <a:pt x="142" y="245"/>
                    </a:cubicBezTo>
                    <a:cubicBezTo>
                      <a:pt x="142" y="245"/>
                      <a:pt x="143" y="246"/>
                      <a:pt x="143" y="246"/>
                    </a:cubicBezTo>
                    <a:cubicBezTo>
                      <a:pt x="143" y="246"/>
                      <a:pt x="144" y="247"/>
                      <a:pt x="144" y="248"/>
                    </a:cubicBezTo>
                    <a:cubicBezTo>
                      <a:pt x="144" y="249"/>
                      <a:pt x="145" y="250"/>
                      <a:pt x="146" y="251"/>
                    </a:cubicBezTo>
                    <a:cubicBezTo>
                      <a:pt x="146" y="252"/>
                      <a:pt x="147" y="253"/>
                      <a:pt x="147" y="254"/>
                    </a:cubicBezTo>
                    <a:cubicBezTo>
                      <a:pt x="147" y="254"/>
                      <a:pt x="147" y="254"/>
                      <a:pt x="147" y="254"/>
                    </a:cubicBezTo>
                    <a:cubicBezTo>
                      <a:pt x="147" y="254"/>
                      <a:pt x="148" y="255"/>
                      <a:pt x="148" y="255"/>
                    </a:cubicBezTo>
                    <a:cubicBezTo>
                      <a:pt x="148" y="255"/>
                      <a:pt x="148" y="255"/>
                      <a:pt x="148" y="255"/>
                    </a:cubicBezTo>
                    <a:cubicBezTo>
                      <a:pt x="149" y="256"/>
                      <a:pt x="149" y="256"/>
                      <a:pt x="149" y="256"/>
                    </a:cubicBezTo>
                    <a:cubicBezTo>
                      <a:pt x="149" y="257"/>
                      <a:pt x="149" y="257"/>
                      <a:pt x="149" y="257"/>
                    </a:cubicBezTo>
                    <a:cubicBezTo>
                      <a:pt x="149" y="258"/>
                      <a:pt x="149" y="258"/>
                      <a:pt x="149" y="258"/>
                    </a:cubicBezTo>
                    <a:cubicBezTo>
                      <a:pt x="149" y="258"/>
                      <a:pt x="149" y="258"/>
                      <a:pt x="149" y="258"/>
                    </a:cubicBezTo>
                    <a:cubicBezTo>
                      <a:pt x="149" y="258"/>
                      <a:pt x="149" y="259"/>
                      <a:pt x="149" y="259"/>
                    </a:cubicBezTo>
                    <a:cubicBezTo>
                      <a:pt x="149" y="259"/>
                      <a:pt x="149" y="259"/>
                      <a:pt x="149" y="259"/>
                    </a:cubicBezTo>
                    <a:cubicBezTo>
                      <a:pt x="149" y="260"/>
                      <a:pt x="150" y="260"/>
                      <a:pt x="150" y="261"/>
                    </a:cubicBezTo>
                    <a:cubicBezTo>
                      <a:pt x="151" y="261"/>
                      <a:pt x="151" y="261"/>
                      <a:pt x="151" y="261"/>
                    </a:cubicBezTo>
                    <a:cubicBezTo>
                      <a:pt x="151" y="261"/>
                      <a:pt x="152" y="261"/>
                      <a:pt x="153" y="262"/>
                    </a:cubicBezTo>
                    <a:cubicBezTo>
                      <a:pt x="153" y="262"/>
                      <a:pt x="153" y="262"/>
                      <a:pt x="153" y="262"/>
                    </a:cubicBezTo>
                    <a:cubicBezTo>
                      <a:pt x="153" y="263"/>
                      <a:pt x="154" y="264"/>
                      <a:pt x="154" y="265"/>
                    </a:cubicBezTo>
                    <a:cubicBezTo>
                      <a:pt x="154" y="265"/>
                      <a:pt x="154" y="265"/>
                      <a:pt x="154" y="265"/>
                    </a:cubicBezTo>
                    <a:cubicBezTo>
                      <a:pt x="155" y="267"/>
                      <a:pt x="155" y="269"/>
                      <a:pt x="155" y="270"/>
                    </a:cubicBezTo>
                    <a:cubicBezTo>
                      <a:pt x="155" y="270"/>
                      <a:pt x="155" y="270"/>
                      <a:pt x="155" y="270"/>
                    </a:cubicBezTo>
                    <a:cubicBezTo>
                      <a:pt x="155" y="270"/>
                      <a:pt x="155" y="271"/>
                      <a:pt x="155" y="271"/>
                    </a:cubicBezTo>
                    <a:cubicBezTo>
                      <a:pt x="156" y="272"/>
                      <a:pt x="155" y="272"/>
                      <a:pt x="155" y="272"/>
                    </a:cubicBezTo>
                    <a:cubicBezTo>
                      <a:pt x="155" y="272"/>
                      <a:pt x="155" y="273"/>
                      <a:pt x="155" y="273"/>
                    </a:cubicBezTo>
                    <a:cubicBezTo>
                      <a:pt x="155" y="273"/>
                      <a:pt x="156" y="274"/>
                      <a:pt x="157" y="275"/>
                    </a:cubicBezTo>
                    <a:cubicBezTo>
                      <a:pt x="157" y="277"/>
                      <a:pt x="158" y="277"/>
                      <a:pt x="158" y="277"/>
                    </a:cubicBezTo>
                    <a:cubicBezTo>
                      <a:pt x="159" y="277"/>
                      <a:pt x="159" y="277"/>
                      <a:pt x="159" y="277"/>
                    </a:cubicBezTo>
                    <a:cubicBezTo>
                      <a:pt x="158" y="277"/>
                      <a:pt x="158" y="277"/>
                      <a:pt x="159" y="277"/>
                    </a:cubicBezTo>
                    <a:cubicBezTo>
                      <a:pt x="159" y="277"/>
                      <a:pt x="159" y="278"/>
                      <a:pt x="160" y="278"/>
                    </a:cubicBezTo>
                    <a:cubicBezTo>
                      <a:pt x="160" y="278"/>
                      <a:pt x="160" y="279"/>
                      <a:pt x="160" y="279"/>
                    </a:cubicBezTo>
                    <a:cubicBezTo>
                      <a:pt x="160" y="279"/>
                      <a:pt x="160" y="279"/>
                      <a:pt x="160" y="279"/>
                    </a:cubicBezTo>
                    <a:cubicBezTo>
                      <a:pt x="160" y="279"/>
                      <a:pt x="160" y="279"/>
                      <a:pt x="160" y="279"/>
                    </a:cubicBezTo>
                    <a:cubicBezTo>
                      <a:pt x="161" y="279"/>
                      <a:pt x="161" y="280"/>
                      <a:pt x="161" y="280"/>
                    </a:cubicBezTo>
                    <a:cubicBezTo>
                      <a:pt x="161" y="280"/>
                      <a:pt x="161" y="280"/>
                      <a:pt x="161" y="280"/>
                    </a:cubicBezTo>
                    <a:cubicBezTo>
                      <a:pt x="161" y="281"/>
                      <a:pt x="161" y="281"/>
                      <a:pt x="161" y="281"/>
                    </a:cubicBezTo>
                    <a:cubicBezTo>
                      <a:pt x="161" y="281"/>
                      <a:pt x="162" y="281"/>
                      <a:pt x="162" y="282"/>
                    </a:cubicBezTo>
                    <a:cubicBezTo>
                      <a:pt x="162" y="282"/>
                      <a:pt x="162" y="283"/>
                      <a:pt x="162" y="283"/>
                    </a:cubicBezTo>
                    <a:cubicBezTo>
                      <a:pt x="162" y="284"/>
                      <a:pt x="163" y="285"/>
                      <a:pt x="163" y="285"/>
                    </a:cubicBezTo>
                    <a:cubicBezTo>
                      <a:pt x="164" y="287"/>
                      <a:pt x="164" y="287"/>
                      <a:pt x="164" y="287"/>
                    </a:cubicBezTo>
                    <a:cubicBezTo>
                      <a:pt x="165" y="289"/>
                      <a:pt x="165" y="289"/>
                      <a:pt x="165" y="289"/>
                    </a:cubicBezTo>
                    <a:cubicBezTo>
                      <a:pt x="166" y="289"/>
                      <a:pt x="166" y="289"/>
                      <a:pt x="166" y="290"/>
                    </a:cubicBezTo>
                    <a:cubicBezTo>
                      <a:pt x="166" y="290"/>
                      <a:pt x="167" y="292"/>
                      <a:pt x="167" y="292"/>
                    </a:cubicBezTo>
                    <a:cubicBezTo>
                      <a:pt x="168" y="291"/>
                      <a:pt x="168" y="291"/>
                      <a:pt x="168" y="291"/>
                    </a:cubicBezTo>
                    <a:cubicBezTo>
                      <a:pt x="167" y="292"/>
                      <a:pt x="167" y="292"/>
                      <a:pt x="167" y="292"/>
                    </a:cubicBezTo>
                    <a:cubicBezTo>
                      <a:pt x="167" y="293"/>
                      <a:pt x="167" y="294"/>
                      <a:pt x="167" y="295"/>
                    </a:cubicBezTo>
                    <a:cubicBezTo>
                      <a:pt x="167" y="295"/>
                      <a:pt x="167" y="295"/>
                      <a:pt x="167" y="295"/>
                    </a:cubicBezTo>
                    <a:cubicBezTo>
                      <a:pt x="166" y="296"/>
                      <a:pt x="166" y="296"/>
                      <a:pt x="166" y="296"/>
                    </a:cubicBezTo>
                    <a:cubicBezTo>
                      <a:pt x="167" y="296"/>
                      <a:pt x="167" y="297"/>
                      <a:pt x="167" y="297"/>
                    </a:cubicBezTo>
                    <a:cubicBezTo>
                      <a:pt x="167" y="297"/>
                      <a:pt x="167" y="297"/>
                      <a:pt x="167" y="297"/>
                    </a:cubicBezTo>
                    <a:cubicBezTo>
                      <a:pt x="167" y="297"/>
                      <a:pt x="167" y="297"/>
                      <a:pt x="167" y="297"/>
                    </a:cubicBezTo>
                    <a:cubicBezTo>
                      <a:pt x="167" y="297"/>
                      <a:pt x="167" y="298"/>
                      <a:pt x="168" y="299"/>
                    </a:cubicBezTo>
                    <a:cubicBezTo>
                      <a:pt x="168" y="300"/>
                      <a:pt x="168" y="301"/>
                      <a:pt x="168" y="302"/>
                    </a:cubicBezTo>
                    <a:cubicBezTo>
                      <a:pt x="168" y="302"/>
                      <a:pt x="168" y="302"/>
                      <a:pt x="168" y="302"/>
                    </a:cubicBezTo>
                    <a:cubicBezTo>
                      <a:pt x="168" y="302"/>
                      <a:pt x="169" y="304"/>
                      <a:pt x="169" y="304"/>
                    </a:cubicBezTo>
                    <a:cubicBezTo>
                      <a:pt x="169" y="305"/>
                      <a:pt x="169" y="305"/>
                      <a:pt x="169" y="305"/>
                    </a:cubicBezTo>
                    <a:cubicBezTo>
                      <a:pt x="169" y="305"/>
                      <a:pt x="169" y="305"/>
                      <a:pt x="169" y="306"/>
                    </a:cubicBezTo>
                    <a:cubicBezTo>
                      <a:pt x="169" y="306"/>
                      <a:pt x="170" y="307"/>
                      <a:pt x="170" y="307"/>
                    </a:cubicBezTo>
                    <a:cubicBezTo>
                      <a:pt x="170" y="307"/>
                      <a:pt x="170" y="307"/>
                      <a:pt x="170" y="307"/>
                    </a:cubicBezTo>
                    <a:cubicBezTo>
                      <a:pt x="170" y="307"/>
                      <a:pt x="171" y="307"/>
                      <a:pt x="171" y="307"/>
                    </a:cubicBezTo>
                    <a:cubicBezTo>
                      <a:pt x="171" y="307"/>
                      <a:pt x="172" y="307"/>
                      <a:pt x="172" y="307"/>
                    </a:cubicBezTo>
                    <a:cubicBezTo>
                      <a:pt x="172" y="307"/>
                      <a:pt x="172" y="307"/>
                      <a:pt x="172" y="307"/>
                    </a:cubicBezTo>
                    <a:cubicBezTo>
                      <a:pt x="172" y="307"/>
                      <a:pt x="174" y="307"/>
                      <a:pt x="174" y="307"/>
                    </a:cubicBezTo>
                    <a:cubicBezTo>
                      <a:pt x="175" y="307"/>
                      <a:pt x="175" y="306"/>
                      <a:pt x="175" y="306"/>
                    </a:cubicBezTo>
                    <a:cubicBezTo>
                      <a:pt x="175" y="306"/>
                      <a:pt x="175" y="306"/>
                      <a:pt x="175" y="306"/>
                    </a:cubicBezTo>
                    <a:cubicBezTo>
                      <a:pt x="175" y="306"/>
                      <a:pt x="175" y="306"/>
                      <a:pt x="175" y="306"/>
                    </a:cubicBezTo>
                    <a:cubicBezTo>
                      <a:pt x="176" y="305"/>
                      <a:pt x="176" y="305"/>
                      <a:pt x="176" y="305"/>
                    </a:cubicBezTo>
                    <a:cubicBezTo>
                      <a:pt x="176" y="305"/>
                      <a:pt x="176" y="305"/>
                      <a:pt x="176" y="305"/>
                    </a:cubicBezTo>
                    <a:cubicBezTo>
                      <a:pt x="176" y="304"/>
                      <a:pt x="177" y="304"/>
                      <a:pt x="177" y="304"/>
                    </a:cubicBezTo>
                    <a:cubicBezTo>
                      <a:pt x="177" y="304"/>
                      <a:pt x="179" y="304"/>
                      <a:pt x="179" y="304"/>
                    </a:cubicBezTo>
                    <a:cubicBezTo>
                      <a:pt x="179" y="304"/>
                      <a:pt x="181" y="304"/>
                      <a:pt x="181" y="304"/>
                    </a:cubicBezTo>
                    <a:cubicBezTo>
                      <a:pt x="181" y="304"/>
                      <a:pt x="182" y="303"/>
                      <a:pt x="182" y="303"/>
                    </a:cubicBezTo>
                    <a:cubicBezTo>
                      <a:pt x="183" y="303"/>
                      <a:pt x="183" y="303"/>
                      <a:pt x="183" y="303"/>
                    </a:cubicBezTo>
                    <a:cubicBezTo>
                      <a:pt x="183" y="302"/>
                      <a:pt x="183" y="302"/>
                      <a:pt x="183" y="302"/>
                    </a:cubicBezTo>
                    <a:cubicBezTo>
                      <a:pt x="184" y="302"/>
                      <a:pt x="184" y="302"/>
                      <a:pt x="184" y="302"/>
                    </a:cubicBezTo>
                    <a:cubicBezTo>
                      <a:pt x="184" y="302"/>
                      <a:pt x="184" y="302"/>
                      <a:pt x="184" y="302"/>
                    </a:cubicBezTo>
                    <a:cubicBezTo>
                      <a:pt x="184" y="302"/>
                      <a:pt x="185" y="302"/>
                      <a:pt x="185" y="302"/>
                    </a:cubicBezTo>
                    <a:cubicBezTo>
                      <a:pt x="185" y="302"/>
                      <a:pt x="186" y="302"/>
                      <a:pt x="186" y="301"/>
                    </a:cubicBezTo>
                    <a:cubicBezTo>
                      <a:pt x="187" y="301"/>
                      <a:pt x="187" y="301"/>
                      <a:pt x="187" y="301"/>
                    </a:cubicBezTo>
                    <a:cubicBezTo>
                      <a:pt x="187" y="301"/>
                      <a:pt x="187" y="301"/>
                      <a:pt x="187" y="300"/>
                    </a:cubicBezTo>
                    <a:cubicBezTo>
                      <a:pt x="188" y="300"/>
                      <a:pt x="188" y="300"/>
                      <a:pt x="188" y="300"/>
                    </a:cubicBezTo>
                    <a:cubicBezTo>
                      <a:pt x="188" y="300"/>
                      <a:pt x="188" y="299"/>
                      <a:pt x="189" y="299"/>
                    </a:cubicBezTo>
                    <a:cubicBezTo>
                      <a:pt x="189" y="299"/>
                      <a:pt x="189" y="299"/>
                      <a:pt x="189" y="299"/>
                    </a:cubicBezTo>
                    <a:cubicBezTo>
                      <a:pt x="189" y="299"/>
                      <a:pt x="189" y="299"/>
                      <a:pt x="189" y="299"/>
                    </a:cubicBezTo>
                    <a:cubicBezTo>
                      <a:pt x="189" y="299"/>
                      <a:pt x="190" y="299"/>
                      <a:pt x="190" y="299"/>
                    </a:cubicBezTo>
                    <a:cubicBezTo>
                      <a:pt x="190" y="299"/>
                      <a:pt x="191" y="299"/>
                      <a:pt x="191" y="299"/>
                    </a:cubicBezTo>
                    <a:cubicBezTo>
                      <a:pt x="192" y="298"/>
                      <a:pt x="192" y="298"/>
                      <a:pt x="192" y="298"/>
                    </a:cubicBezTo>
                    <a:cubicBezTo>
                      <a:pt x="193" y="297"/>
                      <a:pt x="193" y="297"/>
                      <a:pt x="194" y="297"/>
                    </a:cubicBezTo>
                    <a:cubicBezTo>
                      <a:pt x="195" y="297"/>
                      <a:pt x="195" y="297"/>
                      <a:pt x="195" y="297"/>
                    </a:cubicBezTo>
                    <a:cubicBezTo>
                      <a:pt x="196" y="296"/>
                      <a:pt x="196" y="296"/>
                      <a:pt x="196" y="296"/>
                    </a:cubicBezTo>
                    <a:cubicBezTo>
                      <a:pt x="196" y="296"/>
                      <a:pt x="197" y="296"/>
                      <a:pt x="197" y="295"/>
                    </a:cubicBezTo>
                    <a:cubicBezTo>
                      <a:pt x="197" y="295"/>
                      <a:pt x="197" y="295"/>
                      <a:pt x="197" y="295"/>
                    </a:cubicBezTo>
                    <a:cubicBezTo>
                      <a:pt x="197" y="295"/>
                      <a:pt x="197" y="294"/>
                      <a:pt x="197" y="294"/>
                    </a:cubicBezTo>
                    <a:cubicBezTo>
                      <a:pt x="197" y="294"/>
                      <a:pt x="197" y="293"/>
                      <a:pt x="197" y="293"/>
                    </a:cubicBezTo>
                    <a:cubicBezTo>
                      <a:pt x="197" y="293"/>
                      <a:pt x="197" y="293"/>
                      <a:pt x="197" y="293"/>
                    </a:cubicBezTo>
                    <a:cubicBezTo>
                      <a:pt x="198" y="292"/>
                      <a:pt x="199" y="292"/>
                      <a:pt x="199" y="292"/>
                    </a:cubicBezTo>
                    <a:cubicBezTo>
                      <a:pt x="199" y="292"/>
                      <a:pt x="199" y="292"/>
                      <a:pt x="200" y="291"/>
                    </a:cubicBezTo>
                    <a:cubicBezTo>
                      <a:pt x="199" y="290"/>
                      <a:pt x="199" y="290"/>
                      <a:pt x="199" y="290"/>
                    </a:cubicBezTo>
                    <a:cubicBezTo>
                      <a:pt x="199" y="289"/>
                      <a:pt x="199" y="289"/>
                      <a:pt x="199" y="289"/>
                    </a:cubicBezTo>
                    <a:cubicBezTo>
                      <a:pt x="199" y="290"/>
                      <a:pt x="199" y="290"/>
                      <a:pt x="199" y="290"/>
                    </a:cubicBezTo>
                    <a:cubicBezTo>
                      <a:pt x="200" y="291"/>
                      <a:pt x="200" y="291"/>
                      <a:pt x="200" y="291"/>
                    </a:cubicBezTo>
                    <a:cubicBezTo>
                      <a:pt x="200" y="291"/>
                      <a:pt x="200" y="291"/>
                      <a:pt x="200" y="291"/>
                    </a:cubicBezTo>
                    <a:cubicBezTo>
                      <a:pt x="201" y="291"/>
                      <a:pt x="201" y="291"/>
                      <a:pt x="202" y="291"/>
                    </a:cubicBezTo>
                    <a:cubicBezTo>
                      <a:pt x="203" y="291"/>
                      <a:pt x="202" y="291"/>
                      <a:pt x="203" y="290"/>
                    </a:cubicBezTo>
                    <a:cubicBezTo>
                      <a:pt x="204" y="290"/>
                      <a:pt x="204" y="290"/>
                      <a:pt x="205" y="290"/>
                    </a:cubicBezTo>
                    <a:cubicBezTo>
                      <a:pt x="206" y="290"/>
                      <a:pt x="206" y="290"/>
                      <a:pt x="207" y="290"/>
                    </a:cubicBezTo>
                    <a:cubicBezTo>
                      <a:pt x="208" y="289"/>
                      <a:pt x="207" y="289"/>
                      <a:pt x="207" y="289"/>
                    </a:cubicBezTo>
                    <a:cubicBezTo>
                      <a:pt x="207" y="288"/>
                      <a:pt x="207" y="288"/>
                      <a:pt x="208" y="287"/>
                    </a:cubicBezTo>
                    <a:cubicBezTo>
                      <a:pt x="208" y="286"/>
                      <a:pt x="209" y="287"/>
                      <a:pt x="209" y="286"/>
                    </a:cubicBezTo>
                    <a:cubicBezTo>
                      <a:pt x="210" y="286"/>
                      <a:pt x="210" y="286"/>
                      <a:pt x="211" y="286"/>
                    </a:cubicBezTo>
                    <a:cubicBezTo>
                      <a:pt x="211" y="286"/>
                      <a:pt x="211" y="285"/>
                      <a:pt x="211" y="284"/>
                    </a:cubicBezTo>
                    <a:cubicBezTo>
                      <a:pt x="212" y="284"/>
                      <a:pt x="212" y="284"/>
                      <a:pt x="212" y="283"/>
                    </a:cubicBezTo>
                    <a:cubicBezTo>
                      <a:pt x="212" y="283"/>
                      <a:pt x="212" y="283"/>
                      <a:pt x="212" y="283"/>
                    </a:cubicBezTo>
                    <a:cubicBezTo>
                      <a:pt x="213" y="283"/>
                      <a:pt x="214" y="282"/>
                      <a:pt x="214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1"/>
                      <a:pt x="215" y="280"/>
                    </a:cubicBezTo>
                    <a:cubicBezTo>
                      <a:pt x="215" y="280"/>
                      <a:pt x="215" y="280"/>
                      <a:pt x="215" y="280"/>
                    </a:cubicBezTo>
                    <a:cubicBezTo>
                      <a:pt x="214" y="280"/>
                      <a:pt x="214" y="280"/>
                      <a:pt x="214" y="280"/>
                    </a:cubicBezTo>
                    <a:cubicBezTo>
                      <a:pt x="214" y="279"/>
                      <a:pt x="215" y="278"/>
                      <a:pt x="215" y="277"/>
                    </a:cubicBezTo>
                    <a:cubicBezTo>
                      <a:pt x="216" y="276"/>
                      <a:pt x="216" y="276"/>
                      <a:pt x="216" y="276"/>
                    </a:cubicBezTo>
                    <a:cubicBezTo>
                      <a:pt x="216" y="276"/>
                      <a:pt x="216" y="276"/>
                      <a:pt x="216" y="275"/>
                    </a:cubicBezTo>
                    <a:cubicBezTo>
                      <a:pt x="217" y="275"/>
                      <a:pt x="217" y="276"/>
                      <a:pt x="217" y="276"/>
                    </a:cubicBezTo>
                    <a:cubicBezTo>
                      <a:pt x="216" y="276"/>
                      <a:pt x="217" y="277"/>
                      <a:pt x="217" y="277"/>
                    </a:cubicBezTo>
                    <a:cubicBezTo>
                      <a:pt x="217" y="277"/>
                      <a:pt x="217" y="276"/>
                      <a:pt x="218" y="276"/>
                    </a:cubicBezTo>
                    <a:cubicBezTo>
                      <a:pt x="218" y="276"/>
                      <a:pt x="218" y="275"/>
                      <a:pt x="218" y="275"/>
                    </a:cubicBezTo>
                    <a:cubicBezTo>
                      <a:pt x="218" y="274"/>
                      <a:pt x="219" y="274"/>
                      <a:pt x="219" y="274"/>
                    </a:cubicBezTo>
                    <a:cubicBezTo>
                      <a:pt x="219" y="273"/>
                      <a:pt x="220" y="273"/>
                      <a:pt x="220" y="272"/>
                    </a:cubicBezTo>
                    <a:cubicBezTo>
                      <a:pt x="220" y="272"/>
                      <a:pt x="221" y="271"/>
                      <a:pt x="221" y="270"/>
                    </a:cubicBezTo>
                    <a:cubicBezTo>
                      <a:pt x="221" y="270"/>
                      <a:pt x="222" y="269"/>
                      <a:pt x="221" y="268"/>
                    </a:cubicBezTo>
                    <a:cubicBezTo>
                      <a:pt x="221" y="268"/>
                      <a:pt x="221" y="268"/>
                      <a:pt x="221" y="268"/>
                    </a:cubicBezTo>
                    <a:cubicBezTo>
                      <a:pt x="221" y="268"/>
                      <a:pt x="220" y="268"/>
                      <a:pt x="220" y="267"/>
                    </a:cubicBezTo>
                    <a:cubicBezTo>
                      <a:pt x="220" y="267"/>
                      <a:pt x="219" y="266"/>
                      <a:pt x="219" y="265"/>
                    </a:cubicBezTo>
                    <a:cubicBezTo>
                      <a:pt x="218" y="265"/>
                      <a:pt x="218" y="264"/>
                      <a:pt x="218" y="264"/>
                    </a:cubicBezTo>
                    <a:cubicBezTo>
                      <a:pt x="217" y="264"/>
                      <a:pt x="216" y="264"/>
                      <a:pt x="216" y="264"/>
                    </a:cubicBezTo>
                    <a:cubicBezTo>
                      <a:pt x="216" y="263"/>
                      <a:pt x="214" y="263"/>
                      <a:pt x="213" y="263"/>
                    </a:cubicBezTo>
                    <a:cubicBezTo>
                      <a:pt x="212" y="262"/>
                      <a:pt x="212" y="261"/>
                      <a:pt x="211" y="260"/>
                    </a:cubicBezTo>
                    <a:cubicBezTo>
                      <a:pt x="211" y="260"/>
                      <a:pt x="211" y="260"/>
                      <a:pt x="211" y="259"/>
                    </a:cubicBezTo>
                    <a:cubicBezTo>
                      <a:pt x="209" y="258"/>
                      <a:pt x="209" y="258"/>
                      <a:pt x="209" y="258"/>
                    </a:cubicBezTo>
                    <a:cubicBezTo>
                      <a:pt x="209" y="258"/>
                      <a:pt x="209" y="258"/>
                      <a:pt x="209" y="258"/>
                    </a:cubicBezTo>
                    <a:cubicBezTo>
                      <a:pt x="211" y="259"/>
                      <a:pt x="211" y="259"/>
                      <a:pt x="211" y="259"/>
                    </a:cubicBezTo>
                    <a:cubicBezTo>
                      <a:pt x="211" y="259"/>
                      <a:pt x="211" y="258"/>
                      <a:pt x="211" y="258"/>
                    </a:cubicBezTo>
                    <a:cubicBezTo>
                      <a:pt x="211" y="256"/>
                      <a:pt x="211" y="257"/>
                      <a:pt x="211" y="256"/>
                    </a:cubicBezTo>
                    <a:cubicBezTo>
                      <a:pt x="210" y="256"/>
                      <a:pt x="210" y="255"/>
                      <a:pt x="210" y="255"/>
                    </a:cubicBezTo>
                    <a:cubicBezTo>
                      <a:pt x="210" y="255"/>
                      <a:pt x="210" y="255"/>
                      <a:pt x="210" y="255"/>
                    </a:cubicBezTo>
                    <a:cubicBezTo>
                      <a:pt x="210" y="254"/>
                      <a:pt x="211" y="254"/>
                      <a:pt x="211" y="254"/>
                    </a:cubicBezTo>
                    <a:cubicBezTo>
                      <a:pt x="211" y="253"/>
                      <a:pt x="211" y="253"/>
                      <a:pt x="211" y="253"/>
                    </a:cubicBezTo>
                    <a:cubicBezTo>
                      <a:pt x="211" y="253"/>
                      <a:pt x="211" y="253"/>
                      <a:pt x="210" y="253"/>
                    </a:cubicBezTo>
                    <a:cubicBezTo>
                      <a:pt x="209" y="253"/>
                      <a:pt x="210" y="253"/>
                      <a:pt x="209" y="254"/>
                    </a:cubicBezTo>
                    <a:cubicBezTo>
                      <a:pt x="209" y="254"/>
                      <a:pt x="209" y="255"/>
                      <a:pt x="209" y="255"/>
                    </a:cubicBezTo>
                    <a:cubicBezTo>
                      <a:pt x="208" y="255"/>
                      <a:pt x="208" y="256"/>
                      <a:pt x="208" y="256"/>
                    </a:cubicBezTo>
                    <a:cubicBezTo>
                      <a:pt x="208" y="257"/>
                      <a:pt x="207" y="257"/>
                      <a:pt x="207" y="257"/>
                    </a:cubicBezTo>
                    <a:cubicBezTo>
                      <a:pt x="206" y="258"/>
                      <a:pt x="206" y="258"/>
                      <a:pt x="206" y="258"/>
                    </a:cubicBezTo>
                    <a:cubicBezTo>
                      <a:pt x="206" y="259"/>
                      <a:pt x="205" y="260"/>
                      <a:pt x="205" y="260"/>
                    </a:cubicBezTo>
                    <a:cubicBezTo>
                      <a:pt x="204" y="260"/>
                      <a:pt x="204" y="260"/>
                      <a:pt x="204" y="260"/>
                    </a:cubicBezTo>
                    <a:cubicBezTo>
                      <a:pt x="204" y="261"/>
                      <a:pt x="203" y="262"/>
                      <a:pt x="203" y="262"/>
                    </a:cubicBezTo>
                    <a:cubicBezTo>
                      <a:pt x="203" y="262"/>
                      <a:pt x="202" y="262"/>
                      <a:pt x="202" y="262"/>
                    </a:cubicBezTo>
                    <a:cubicBezTo>
                      <a:pt x="202" y="262"/>
                      <a:pt x="202" y="262"/>
                      <a:pt x="202" y="262"/>
                    </a:cubicBezTo>
                    <a:cubicBezTo>
                      <a:pt x="202" y="262"/>
                      <a:pt x="200" y="262"/>
                      <a:pt x="200" y="262"/>
                    </a:cubicBezTo>
                    <a:cubicBezTo>
                      <a:pt x="200" y="262"/>
                      <a:pt x="200" y="262"/>
                      <a:pt x="200" y="262"/>
                    </a:cubicBezTo>
                    <a:cubicBezTo>
                      <a:pt x="199" y="262"/>
                      <a:pt x="199" y="261"/>
                      <a:pt x="199" y="261"/>
                    </a:cubicBezTo>
                    <a:cubicBezTo>
                      <a:pt x="199" y="261"/>
                      <a:pt x="198" y="262"/>
                      <a:pt x="198" y="262"/>
                    </a:cubicBezTo>
                    <a:cubicBezTo>
                      <a:pt x="197" y="262"/>
                      <a:pt x="197" y="262"/>
                      <a:pt x="197" y="262"/>
                    </a:cubicBezTo>
                    <a:cubicBezTo>
                      <a:pt x="197" y="262"/>
                      <a:pt x="197" y="262"/>
                      <a:pt x="197" y="262"/>
                    </a:cubicBezTo>
                    <a:cubicBezTo>
                      <a:pt x="196" y="262"/>
                      <a:pt x="196" y="262"/>
                      <a:pt x="196" y="262"/>
                    </a:cubicBezTo>
                    <a:cubicBezTo>
                      <a:pt x="196" y="262"/>
                      <a:pt x="196" y="262"/>
                      <a:pt x="196" y="262"/>
                    </a:cubicBezTo>
                    <a:cubicBezTo>
                      <a:pt x="196" y="262"/>
                      <a:pt x="196" y="262"/>
                      <a:pt x="196" y="262"/>
                    </a:cubicBezTo>
                    <a:cubicBezTo>
                      <a:pt x="196" y="262"/>
                      <a:pt x="196" y="262"/>
                      <a:pt x="196" y="261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6" y="261"/>
                      <a:pt x="195" y="261"/>
                      <a:pt x="195" y="261"/>
                    </a:cubicBezTo>
                    <a:cubicBezTo>
                      <a:pt x="195" y="261"/>
                      <a:pt x="195" y="261"/>
                      <a:pt x="195" y="261"/>
                    </a:cubicBezTo>
                    <a:cubicBezTo>
                      <a:pt x="194" y="260"/>
                      <a:pt x="195" y="260"/>
                      <a:pt x="195" y="260"/>
                    </a:cubicBezTo>
                    <a:cubicBezTo>
                      <a:pt x="195" y="260"/>
                      <a:pt x="195" y="259"/>
                      <a:pt x="195" y="259"/>
                    </a:cubicBezTo>
                    <a:cubicBezTo>
                      <a:pt x="195" y="259"/>
                      <a:pt x="195" y="258"/>
                      <a:pt x="195" y="257"/>
                    </a:cubicBezTo>
                    <a:cubicBezTo>
                      <a:pt x="196" y="257"/>
                      <a:pt x="196" y="257"/>
                      <a:pt x="196" y="257"/>
                    </a:cubicBezTo>
                    <a:cubicBezTo>
                      <a:pt x="196" y="256"/>
                      <a:pt x="195" y="255"/>
                      <a:pt x="195" y="255"/>
                    </a:cubicBezTo>
                    <a:cubicBezTo>
                      <a:pt x="195" y="255"/>
                      <a:pt x="195" y="254"/>
                      <a:pt x="195" y="254"/>
                    </a:cubicBezTo>
                    <a:cubicBezTo>
                      <a:pt x="195" y="254"/>
                      <a:pt x="195" y="254"/>
                      <a:pt x="195" y="253"/>
                    </a:cubicBezTo>
                    <a:cubicBezTo>
                      <a:pt x="194" y="253"/>
                      <a:pt x="194" y="253"/>
                      <a:pt x="194" y="253"/>
                    </a:cubicBezTo>
                    <a:cubicBezTo>
                      <a:pt x="193" y="253"/>
                      <a:pt x="194" y="253"/>
                      <a:pt x="194" y="254"/>
                    </a:cubicBezTo>
                    <a:cubicBezTo>
                      <a:pt x="193" y="254"/>
                      <a:pt x="194" y="255"/>
                      <a:pt x="194" y="255"/>
                    </a:cubicBezTo>
                    <a:cubicBezTo>
                      <a:pt x="194" y="255"/>
                      <a:pt x="193" y="255"/>
                      <a:pt x="193" y="256"/>
                    </a:cubicBezTo>
                    <a:cubicBezTo>
                      <a:pt x="193" y="256"/>
                      <a:pt x="193" y="256"/>
                      <a:pt x="193" y="256"/>
                    </a:cubicBezTo>
                    <a:cubicBezTo>
                      <a:pt x="193" y="257"/>
                      <a:pt x="193" y="258"/>
                      <a:pt x="193" y="258"/>
                    </a:cubicBezTo>
                    <a:cubicBezTo>
                      <a:pt x="193" y="258"/>
                      <a:pt x="193" y="259"/>
                      <a:pt x="193" y="259"/>
                    </a:cubicBezTo>
                    <a:cubicBezTo>
                      <a:pt x="192" y="259"/>
                      <a:pt x="192" y="259"/>
                      <a:pt x="192" y="259"/>
                    </a:cubicBezTo>
                    <a:cubicBezTo>
                      <a:pt x="192" y="259"/>
                      <a:pt x="192" y="259"/>
                      <a:pt x="192" y="258"/>
                    </a:cubicBezTo>
                    <a:cubicBezTo>
                      <a:pt x="192" y="258"/>
                      <a:pt x="192" y="258"/>
                      <a:pt x="192" y="258"/>
                    </a:cubicBezTo>
                    <a:cubicBezTo>
                      <a:pt x="192" y="258"/>
                      <a:pt x="192" y="258"/>
                      <a:pt x="192" y="258"/>
                    </a:cubicBezTo>
                    <a:cubicBezTo>
                      <a:pt x="192" y="258"/>
                      <a:pt x="192" y="257"/>
                      <a:pt x="192" y="257"/>
                    </a:cubicBezTo>
                    <a:cubicBezTo>
                      <a:pt x="192" y="257"/>
                      <a:pt x="191" y="256"/>
                      <a:pt x="191" y="255"/>
                    </a:cubicBezTo>
                    <a:cubicBezTo>
                      <a:pt x="191" y="255"/>
                      <a:pt x="190" y="254"/>
                      <a:pt x="190" y="254"/>
                    </a:cubicBezTo>
                    <a:cubicBezTo>
                      <a:pt x="190" y="254"/>
                      <a:pt x="190" y="253"/>
                      <a:pt x="190" y="253"/>
                    </a:cubicBezTo>
                    <a:cubicBezTo>
                      <a:pt x="190" y="253"/>
                      <a:pt x="190" y="252"/>
                      <a:pt x="190" y="252"/>
                    </a:cubicBezTo>
                    <a:cubicBezTo>
                      <a:pt x="190" y="251"/>
                      <a:pt x="190" y="251"/>
                      <a:pt x="190" y="251"/>
                    </a:cubicBezTo>
                    <a:cubicBezTo>
                      <a:pt x="190" y="251"/>
                      <a:pt x="188" y="249"/>
                      <a:pt x="187" y="247"/>
                    </a:cubicBezTo>
                    <a:cubicBezTo>
                      <a:pt x="187" y="247"/>
                      <a:pt x="187" y="247"/>
                      <a:pt x="187" y="247"/>
                    </a:cubicBezTo>
                    <a:cubicBezTo>
                      <a:pt x="187" y="246"/>
                      <a:pt x="186" y="245"/>
                      <a:pt x="186" y="245"/>
                    </a:cubicBezTo>
                    <a:cubicBezTo>
                      <a:pt x="186" y="245"/>
                      <a:pt x="186" y="245"/>
                      <a:pt x="186" y="245"/>
                    </a:cubicBezTo>
                    <a:cubicBezTo>
                      <a:pt x="185" y="244"/>
                      <a:pt x="185" y="244"/>
                      <a:pt x="185" y="244"/>
                    </a:cubicBezTo>
                    <a:cubicBezTo>
                      <a:pt x="184" y="244"/>
                      <a:pt x="184" y="244"/>
                      <a:pt x="184" y="244"/>
                    </a:cubicBezTo>
                    <a:cubicBezTo>
                      <a:pt x="183" y="242"/>
                      <a:pt x="183" y="242"/>
                      <a:pt x="183" y="242"/>
                    </a:cubicBezTo>
                    <a:cubicBezTo>
                      <a:pt x="184" y="244"/>
                      <a:pt x="184" y="244"/>
                      <a:pt x="184" y="244"/>
                    </a:cubicBezTo>
                    <a:cubicBezTo>
                      <a:pt x="185" y="244"/>
                      <a:pt x="185" y="244"/>
                      <a:pt x="185" y="244"/>
                    </a:cubicBezTo>
                    <a:cubicBezTo>
                      <a:pt x="185" y="244"/>
                      <a:pt x="185" y="243"/>
                      <a:pt x="185" y="243"/>
                    </a:cubicBezTo>
                    <a:cubicBezTo>
                      <a:pt x="185" y="243"/>
                      <a:pt x="185" y="243"/>
                      <a:pt x="185" y="243"/>
                    </a:cubicBezTo>
                    <a:cubicBezTo>
                      <a:pt x="185" y="243"/>
                      <a:pt x="185" y="243"/>
                      <a:pt x="185" y="243"/>
                    </a:cubicBezTo>
                    <a:cubicBezTo>
                      <a:pt x="185" y="243"/>
                      <a:pt x="185" y="242"/>
                      <a:pt x="184" y="241"/>
                    </a:cubicBezTo>
                    <a:cubicBezTo>
                      <a:pt x="184" y="241"/>
                      <a:pt x="184" y="240"/>
                      <a:pt x="184" y="240"/>
                    </a:cubicBezTo>
                    <a:cubicBezTo>
                      <a:pt x="183" y="240"/>
                      <a:pt x="183" y="240"/>
                      <a:pt x="183" y="240"/>
                    </a:cubicBezTo>
                    <a:cubicBezTo>
                      <a:pt x="183" y="240"/>
                      <a:pt x="183" y="240"/>
                      <a:pt x="183" y="239"/>
                    </a:cubicBezTo>
                    <a:cubicBezTo>
                      <a:pt x="183" y="239"/>
                      <a:pt x="184" y="239"/>
                      <a:pt x="184" y="239"/>
                    </a:cubicBezTo>
                    <a:cubicBezTo>
                      <a:pt x="184" y="239"/>
                      <a:pt x="184" y="239"/>
                      <a:pt x="184" y="238"/>
                    </a:cubicBezTo>
                    <a:cubicBezTo>
                      <a:pt x="184" y="238"/>
                      <a:pt x="184" y="238"/>
                      <a:pt x="184" y="238"/>
                    </a:cubicBezTo>
                    <a:cubicBezTo>
                      <a:pt x="184" y="238"/>
                      <a:pt x="184" y="238"/>
                      <a:pt x="184" y="238"/>
                    </a:cubicBezTo>
                    <a:cubicBezTo>
                      <a:pt x="184" y="238"/>
                      <a:pt x="184" y="238"/>
                      <a:pt x="184" y="238"/>
                    </a:cubicBezTo>
                    <a:cubicBezTo>
                      <a:pt x="184" y="238"/>
                      <a:pt x="184" y="238"/>
                      <a:pt x="185" y="238"/>
                    </a:cubicBezTo>
                    <a:cubicBezTo>
                      <a:pt x="184" y="236"/>
                      <a:pt x="184" y="236"/>
                      <a:pt x="184" y="236"/>
                    </a:cubicBezTo>
                    <a:cubicBezTo>
                      <a:pt x="184" y="234"/>
                      <a:pt x="184" y="234"/>
                      <a:pt x="184" y="234"/>
                    </a:cubicBezTo>
                    <a:cubicBezTo>
                      <a:pt x="183" y="233"/>
                      <a:pt x="183" y="233"/>
                      <a:pt x="183" y="233"/>
                    </a:cubicBezTo>
                    <a:cubicBezTo>
                      <a:pt x="183" y="232"/>
                      <a:pt x="183" y="232"/>
                      <a:pt x="183" y="232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3" y="230"/>
                      <a:pt x="183" y="230"/>
                      <a:pt x="183" y="230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3" y="232"/>
                      <a:pt x="183" y="232"/>
                      <a:pt x="183" y="232"/>
                    </a:cubicBezTo>
                    <a:cubicBezTo>
                      <a:pt x="183" y="233"/>
                      <a:pt x="183" y="233"/>
                      <a:pt x="183" y="233"/>
                    </a:cubicBezTo>
                    <a:cubicBezTo>
                      <a:pt x="184" y="234"/>
                      <a:pt x="184" y="234"/>
                      <a:pt x="184" y="234"/>
                    </a:cubicBezTo>
                    <a:cubicBezTo>
                      <a:pt x="184" y="236"/>
                      <a:pt x="184" y="236"/>
                      <a:pt x="184" y="236"/>
                    </a:cubicBezTo>
                    <a:cubicBezTo>
                      <a:pt x="185" y="238"/>
                      <a:pt x="185" y="238"/>
                      <a:pt x="185" y="238"/>
                    </a:cubicBezTo>
                    <a:cubicBezTo>
                      <a:pt x="185" y="238"/>
                      <a:pt x="186" y="238"/>
                      <a:pt x="186" y="238"/>
                    </a:cubicBezTo>
                    <a:cubicBezTo>
                      <a:pt x="186" y="238"/>
                      <a:pt x="186" y="237"/>
                      <a:pt x="186" y="237"/>
                    </a:cubicBezTo>
                    <a:cubicBezTo>
                      <a:pt x="187" y="237"/>
                      <a:pt x="187" y="237"/>
                      <a:pt x="187" y="237"/>
                    </a:cubicBezTo>
                    <a:cubicBezTo>
                      <a:pt x="187" y="237"/>
                      <a:pt x="187" y="237"/>
                      <a:pt x="187" y="237"/>
                    </a:cubicBezTo>
                    <a:cubicBezTo>
                      <a:pt x="186" y="237"/>
                      <a:pt x="186" y="237"/>
                      <a:pt x="186" y="237"/>
                    </a:cubicBezTo>
                    <a:cubicBezTo>
                      <a:pt x="186" y="236"/>
                      <a:pt x="187" y="236"/>
                      <a:pt x="187" y="236"/>
                    </a:cubicBezTo>
                    <a:cubicBezTo>
                      <a:pt x="187" y="236"/>
                      <a:pt x="187" y="236"/>
                      <a:pt x="187" y="236"/>
                    </a:cubicBezTo>
                    <a:cubicBezTo>
                      <a:pt x="188" y="236"/>
                      <a:pt x="188" y="237"/>
                      <a:pt x="188" y="237"/>
                    </a:cubicBezTo>
                    <a:cubicBezTo>
                      <a:pt x="188" y="237"/>
                      <a:pt x="189" y="237"/>
                      <a:pt x="189" y="237"/>
                    </a:cubicBezTo>
                    <a:cubicBezTo>
                      <a:pt x="189" y="237"/>
                      <a:pt x="189" y="237"/>
                      <a:pt x="190" y="237"/>
                    </a:cubicBezTo>
                    <a:cubicBezTo>
                      <a:pt x="190" y="237"/>
                      <a:pt x="190" y="237"/>
                      <a:pt x="190" y="237"/>
                    </a:cubicBezTo>
                    <a:cubicBezTo>
                      <a:pt x="190" y="237"/>
                      <a:pt x="190" y="237"/>
                      <a:pt x="190" y="237"/>
                    </a:cubicBezTo>
                    <a:cubicBezTo>
                      <a:pt x="190" y="237"/>
                      <a:pt x="190" y="237"/>
                      <a:pt x="190" y="237"/>
                    </a:cubicBezTo>
                    <a:cubicBezTo>
                      <a:pt x="191" y="238"/>
                      <a:pt x="191" y="239"/>
                      <a:pt x="192" y="239"/>
                    </a:cubicBezTo>
                    <a:cubicBezTo>
                      <a:pt x="192" y="240"/>
                      <a:pt x="192" y="241"/>
                      <a:pt x="192" y="241"/>
                    </a:cubicBezTo>
                    <a:cubicBezTo>
                      <a:pt x="193" y="241"/>
                      <a:pt x="193" y="241"/>
                      <a:pt x="193" y="241"/>
                    </a:cubicBezTo>
                    <a:cubicBezTo>
                      <a:pt x="193" y="241"/>
                      <a:pt x="194" y="241"/>
                      <a:pt x="193" y="242"/>
                    </a:cubicBezTo>
                    <a:cubicBezTo>
                      <a:pt x="192" y="242"/>
                      <a:pt x="192" y="242"/>
                      <a:pt x="193" y="242"/>
                    </a:cubicBezTo>
                    <a:cubicBezTo>
                      <a:pt x="193" y="242"/>
                      <a:pt x="193" y="242"/>
                      <a:pt x="193" y="242"/>
                    </a:cubicBezTo>
                    <a:cubicBezTo>
                      <a:pt x="193" y="242"/>
                      <a:pt x="193" y="243"/>
                      <a:pt x="193" y="243"/>
                    </a:cubicBezTo>
                    <a:cubicBezTo>
                      <a:pt x="193" y="243"/>
                      <a:pt x="194" y="244"/>
                      <a:pt x="194" y="245"/>
                    </a:cubicBezTo>
                    <a:cubicBezTo>
                      <a:pt x="194" y="246"/>
                      <a:pt x="194" y="246"/>
                      <a:pt x="194" y="246"/>
                    </a:cubicBezTo>
                    <a:cubicBezTo>
                      <a:pt x="194" y="246"/>
                      <a:pt x="194" y="246"/>
                      <a:pt x="194" y="246"/>
                    </a:cubicBezTo>
                    <a:cubicBezTo>
                      <a:pt x="195" y="247"/>
                      <a:pt x="196" y="247"/>
                      <a:pt x="196" y="247"/>
                    </a:cubicBezTo>
                    <a:cubicBezTo>
                      <a:pt x="196" y="247"/>
                      <a:pt x="197" y="247"/>
                      <a:pt x="197" y="247"/>
                    </a:cubicBezTo>
                    <a:cubicBezTo>
                      <a:pt x="197" y="247"/>
                      <a:pt x="198" y="247"/>
                      <a:pt x="198" y="247"/>
                    </a:cubicBezTo>
                    <a:cubicBezTo>
                      <a:pt x="198" y="247"/>
                      <a:pt x="199" y="248"/>
                      <a:pt x="199" y="248"/>
                    </a:cubicBezTo>
                    <a:cubicBezTo>
                      <a:pt x="199" y="248"/>
                      <a:pt x="199" y="248"/>
                      <a:pt x="199" y="248"/>
                    </a:cubicBezTo>
                    <a:cubicBezTo>
                      <a:pt x="198" y="248"/>
                      <a:pt x="199" y="249"/>
                      <a:pt x="199" y="249"/>
                    </a:cubicBezTo>
                    <a:cubicBezTo>
                      <a:pt x="200" y="249"/>
                      <a:pt x="200" y="249"/>
                      <a:pt x="200" y="249"/>
                    </a:cubicBezTo>
                    <a:cubicBezTo>
                      <a:pt x="200" y="250"/>
                      <a:pt x="201" y="250"/>
                      <a:pt x="201" y="250"/>
                    </a:cubicBezTo>
                    <a:cubicBezTo>
                      <a:pt x="202" y="251"/>
                      <a:pt x="202" y="251"/>
                      <a:pt x="202" y="251"/>
                    </a:cubicBezTo>
                    <a:cubicBezTo>
                      <a:pt x="204" y="252"/>
                      <a:pt x="203" y="251"/>
                      <a:pt x="203" y="251"/>
                    </a:cubicBezTo>
                    <a:cubicBezTo>
                      <a:pt x="204" y="251"/>
                      <a:pt x="204" y="251"/>
                      <a:pt x="204" y="252"/>
                    </a:cubicBezTo>
                    <a:cubicBezTo>
                      <a:pt x="204" y="252"/>
                      <a:pt x="205" y="252"/>
                      <a:pt x="205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1"/>
                      <a:pt x="206" y="251"/>
                    </a:cubicBezTo>
                    <a:cubicBezTo>
                      <a:pt x="207" y="251"/>
                      <a:pt x="207" y="251"/>
                      <a:pt x="207" y="251"/>
                    </a:cubicBezTo>
                    <a:cubicBezTo>
                      <a:pt x="207" y="251"/>
                      <a:pt x="207" y="251"/>
                      <a:pt x="207" y="251"/>
                    </a:cubicBezTo>
                    <a:cubicBezTo>
                      <a:pt x="208" y="251"/>
                      <a:pt x="208" y="251"/>
                      <a:pt x="208" y="251"/>
                    </a:cubicBezTo>
                    <a:cubicBezTo>
                      <a:pt x="208" y="251"/>
                      <a:pt x="208" y="250"/>
                      <a:pt x="208" y="250"/>
                    </a:cubicBezTo>
                    <a:cubicBezTo>
                      <a:pt x="208" y="250"/>
                      <a:pt x="209" y="250"/>
                      <a:pt x="209" y="250"/>
                    </a:cubicBezTo>
                    <a:cubicBezTo>
                      <a:pt x="209" y="250"/>
                      <a:pt x="209" y="250"/>
                      <a:pt x="210" y="249"/>
                    </a:cubicBezTo>
                    <a:cubicBezTo>
                      <a:pt x="210" y="249"/>
                      <a:pt x="210" y="249"/>
                      <a:pt x="210" y="249"/>
                    </a:cubicBezTo>
                    <a:cubicBezTo>
                      <a:pt x="211" y="249"/>
                      <a:pt x="211" y="249"/>
                      <a:pt x="211" y="249"/>
                    </a:cubicBezTo>
                    <a:cubicBezTo>
                      <a:pt x="211" y="249"/>
                      <a:pt x="211" y="249"/>
                      <a:pt x="212" y="250"/>
                    </a:cubicBezTo>
                    <a:cubicBezTo>
                      <a:pt x="212" y="250"/>
                      <a:pt x="212" y="250"/>
                      <a:pt x="212" y="250"/>
                    </a:cubicBezTo>
                    <a:cubicBezTo>
                      <a:pt x="213" y="250"/>
                      <a:pt x="213" y="251"/>
                      <a:pt x="213" y="251"/>
                    </a:cubicBezTo>
                    <a:cubicBezTo>
                      <a:pt x="213" y="253"/>
                      <a:pt x="213" y="253"/>
                      <a:pt x="213" y="253"/>
                    </a:cubicBezTo>
                    <a:cubicBezTo>
                      <a:pt x="213" y="254"/>
                      <a:pt x="213" y="254"/>
                      <a:pt x="213" y="254"/>
                    </a:cubicBezTo>
                    <a:cubicBezTo>
                      <a:pt x="214" y="255"/>
                      <a:pt x="214" y="255"/>
                      <a:pt x="214" y="255"/>
                    </a:cubicBezTo>
                    <a:cubicBezTo>
                      <a:pt x="214" y="255"/>
                      <a:pt x="214" y="255"/>
                      <a:pt x="214" y="255"/>
                    </a:cubicBezTo>
                    <a:cubicBezTo>
                      <a:pt x="214" y="255"/>
                      <a:pt x="215" y="255"/>
                      <a:pt x="215" y="255"/>
                    </a:cubicBezTo>
                    <a:cubicBezTo>
                      <a:pt x="215" y="255"/>
                      <a:pt x="215" y="255"/>
                      <a:pt x="215" y="255"/>
                    </a:cubicBezTo>
                    <a:cubicBezTo>
                      <a:pt x="215" y="256"/>
                      <a:pt x="215" y="256"/>
                      <a:pt x="215" y="256"/>
                    </a:cubicBezTo>
                    <a:cubicBezTo>
                      <a:pt x="215" y="255"/>
                      <a:pt x="216" y="255"/>
                      <a:pt x="216" y="255"/>
                    </a:cubicBezTo>
                    <a:cubicBezTo>
                      <a:pt x="216" y="256"/>
                      <a:pt x="216" y="256"/>
                      <a:pt x="216" y="256"/>
                    </a:cubicBezTo>
                    <a:cubicBezTo>
                      <a:pt x="216" y="256"/>
                      <a:pt x="216" y="256"/>
                      <a:pt x="217" y="256"/>
                    </a:cubicBezTo>
                    <a:cubicBezTo>
                      <a:pt x="217" y="256"/>
                      <a:pt x="218" y="256"/>
                      <a:pt x="218" y="256"/>
                    </a:cubicBezTo>
                    <a:cubicBezTo>
                      <a:pt x="218" y="256"/>
                      <a:pt x="219" y="256"/>
                      <a:pt x="219" y="256"/>
                    </a:cubicBezTo>
                    <a:cubicBezTo>
                      <a:pt x="220" y="256"/>
                      <a:pt x="220" y="256"/>
                      <a:pt x="221" y="256"/>
                    </a:cubicBezTo>
                    <a:cubicBezTo>
                      <a:pt x="221" y="256"/>
                      <a:pt x="222" y="256"/>
                      <a:pt x="223" y="257"/>
                    </a:cubicBezTo>
                    <a:cubicBezTo>
                      <a:pt x="223" y="257"/>
                      <a:pt x="223" y="257"/>
                      <a:pt x="223" y="257"/>
                    </a:cubicBezTo>
                    <a:cubicBezTo>
                      <a:pt x="223" y="256"/>
                      <a:pt x="223" y="256"/>
                      <a:pt x="223" y="256"/>
                    </a:cubicBezTo>
                    <a:cubicBezTo>
                      <a:pt x="223" y="256"/>
                      <a:pt x="224" y="256"/>
                      <a:pt x="224" y="256"/>
                    </a:cubicBezTo>
                    <a:cubicBezTo>
                      <a:pt x="224" y="256"/>
                      <a:pt x="224" y="257"/>
                      <a:pt x="225" y="257"/>
                    </a:cubicBezTo>
                    <a:cubicBezTo>
                      <a:pt x="225" y="257"/>
                      <a:pt x="225" y="257"/>
                      <a:pt x="225" y="257"/>
                    </a:cubicBezTo>
                    <a:cubicBezTo>
                      <a:pt x="225" y="257"/>
                      <a:pt x="225" y="257"/>
                      <a:pt x="225" y="257"/>
                    </a:cubicBezTo>
                    <a:cubicBezTo>
                      <a:pt x="226" y="257"/>
                      <a:pt x="226" y="257"/>
                      <a:pt x="227" y="257"/>
                    </a:cubicBezTo>
                    <a:cubicBezTo>
                      <a:pt x="227" y="257"/>
                      <a:pt x="227" y="257"/>
                      <a:pt x="227" y="257"/>
                    </a:cubicBezTo>
                    <a:cubicBezTo>
                      <a:pt x="227" y="257"/>
                      <a:pt x="227" y="257"/>
                      <a:pt x="227" y="257"/>
                    </a:cubicBezTo>
                    <a:cubicBezTo>
                      <a:pt x="227" y="258"/>
                      <a:pt x="228" y="258"/>
                      <a:pt x="228" y="258"/>
                    </a:cubicBezTo>
                    <a:cubicBezTo>
                      <a:pt x="228" y="257"/>
                      <a:pt x="229" y="257"/>
                      <a:pt x="229" y="257"/>
                    </a:cubicBezTo>
                    <a:cubicBezTo>
                      <a:pt x="229" y="257"/>
                      <a:pt x="229" y="257"/>
                      <a:pt x="230" y="257"/>
                    </a:cubicBezTo>
                    <a:cubicBezTo>
                      <a:pt x="230" y="257"/>
                      <a:pt x="230" y="257"/>
                      <a:pt x="230" y="257"/>
                    </a:cubicBezTo>
                    <a:cubicBezTo>
                      <a:pt x="230" y="257"/>
                      <a:pt x="230" y="257"/>
                      <a:pt x="230" y="257"/>
                    </a:cubicBezTo>
                    <a:cubicBezTo>
                      <a:pt x="230" y="257"/>
                      <a:pt x="231" y="257"/>
                      <a:pt x="232" y="257"/>
                    </a:cubicBezTo>
                    <a:cubicBezTo>
                      <a:pt x="232" y="257"/>
                      <a:pt x="233" y="257"/>
                      <a:pt x="233" y="257"/>
                    </a:cubicBezTo>
                    <a:cubicBezTo>
                      <a:pt x="233" y="257"/>
                      <a:pt x="234" y="257"/>
                      <a:pt x="234" y="257"/>
                    </a:cubicBezTo>
                    <a:cubicBezTo>
                      <a:pt x="233" y="257"/>
                      <a:pt x="234" y="257"/>
                      <a:pt x="234" y="257"/>
                    </a:cubicBezTo>
                    <a:cubicBezTo>
                      <a:pt x="234" y="256"/>
                      <a:pt x="234" y="256"/>
                      <a:pt x="234" y="256"/>
                    </a:cubicBezTo>
                    <a:cubicBezTo>
                      <a:pt x="235" y="256"/>
                      <a:pt x="235" y="257"/>
                      <a:pt x="235" y="257"/>
                    </a:cubicBezTo>
                    <a:cubicBezTo>
                      <a:pt x="236" y="257"/>
                      <a:pt x="236" y="257"/>
                      <a:pt x="236" y="257"/>
                    </a:cubicBezTo>
                    <a:cubicBezTo>
                      <a:pt x="237" y="257"/>
                      <a:pt x="237" y="257"/>
                      <a:pt x="237" y="257"/>
                    </a:cubicBezTo>
                    <a:cubicBezTo>
                      <a:pt x="237" y="257"/>
                      <a:pt x="237" y="257"/>
                      <a:pt x="237" y="257"/>
                    </a:cubicBezTo>
                    <a:cubicBezTo>
                      <a:pt x="237" y="257"/>
                      <a:pt x="237" y="257"/>
                      <a:pt x="238" y="257"/>
                    </a:cubicBezTo>
                    <a:cubicBezTo>
                      <a:pt x="238" y="257"/>
                      <a:pt x="238" y="257"/>
                      <a:pt x="239" y="257"/>
                    </a:cubicBezTo>
                    <a:cubicBezTo>
                      <a:pt x="239" y="257"/>
                      <a:pt x="240" y="257"/>
                      <a:pt x="241" y="257"/>
                    </a:cubicBezTo>
                    <a:cubicBezTo>
                      <a:pt x="241" y="256"/>
                      <a:pt x="241" y="256"/>
                      <a:pt x="241" y="256"/>
                    </a:cubicBezTo>
                    <a:cubicBezTo>
                      <a:pt x="242" y="256"/>
                      <a:pt x="242" y="256"/>
                      <a:pt x="242" y="256"/>
                    </a:cubicBezTo>
                    <a:cubicBezTo>
                      <a:pt x="242" y="255"/>
                      <a:pt x="242" y="255"/>
                      <a:pt x="242" y="255"/>
                    </a:cubicBezTo>
                    <a:cubicBezTo>
                      <a:pt x="243" y="256"/>
                      <a:pt x="243" y="257"/>
                      <a:pt x="244" y="258"/>
                    </a:cubicBezTo>
                    <a:cubicBezTo>
                      <a:pt x="244" y="258"/>
                      <a:pt x="244" y="258"/>
                      <a:pt x="244" y="258"/>
                    </a:cubicBezTo>
                    <a:cubicBezTo>
                      <a:pt x="244" y="259"/>
                      <a:pt x="244" y="259"/>
                      <a:pt x="245" y="259"/>
                    </a:cubicBezTo>
                    <a:cubicBezTo>
                      <a:pt x="245" y="259"/>
                      <a:pt x="245" y="259"/>
                      <a:pt x="246" y="259"/>
                    </a:cubicBezTo>
                    <a:cubicBezTo>
                      <a:pt x="246" y="259"/>
                      <a:pt x="245" y="260"/>
                      <a:pt x="245" y="260"/>
                    </a:cubicBezTo>
                    <a:cubicBezTo>
                      <a:pt x="245" y="260"/>
                      <a:pt x="245" y="261"/>
                      <a:pt x="246" y="262"/>
                    </a:cubicBezTo>
                    <a:cubicBezTo>
                      <a:pt x="246" y="262"/>
                      <a:pt x="246" y="262"/>
                      <a:pt x="246" y="262"/>
                    </a:cubicBezTo>
                    <a:cubicBezTo>
                      <a:pt x="246" y="262"/>
                      <a:pt x="247" y="262"/>
                      <a:pt x="248" y="263"/>
                    </a:cubicBezTo>
                    <a:cubicBezTo>
                      <a:pt x="248" y="263"/>
                      <a:pt x="248" y="263"/>
                      <a:pt x="248" y="263"/>
                    </a:cubicBezTo>
                    <a:cubicBezTo>
                      <a:pt x="248" y="263"/>
                      <a:pt x="248" y="263"/>
                      <a:pt x="249" y="263"/>
                    </a:cubicBezTo>
                    <a:cubicBezTo>
                      <a:pt x="250" y="263"/>
                      <a:pt x="250" y="263"/>
                      <a:pt x="250" y="263"/>
                    </a:cubicBezTo>
                    <a:cubicBezTo>
                      <a:pt x="250" y="262"/>
                      <a:pt x="250" y="262"/>
                      <a:pt x="250" y="262"/>
                    </a:cubicBezTo>
                    <a:cubicBezTo>
                      <a:pt x="250" y="262"/>
                      <a:pt x="250" y="262"/>
                      <a:pt x="250" y="262"/>
                    </a:cubicBezTo>
                    <a:cubicBezTo>
                      <a:pt x="250" y="262"/>
                      <a:pt x="250" y="262"/>
                      <a:pt x="251" y="262"/>
                    </a:cubicBezTo>
                    <a:cubicBezTo>
                      <a:pt x="251" y="262"/>
                      <a:pt x="251" y="262"/>
                      <a:pt x="251" y="262"/>
                    </a:cubicBezTo>
                    <a:cubicBezTo>
                      <a:pt x="251" y="262"/>
                      <a:pt x="250" y="263"/>
                      <a:pt x="250" y="263"/>
                    </a:cubicBezTo>
                    <a:cubicBezTo>
                      <a:pt x="249" y="263"/>
                      <a:pt x="249" y="264"/>
                      <a:pt x="249" y="265"/>
                    </a:cubicBezTo>
                    <a:cubicBezTo>
                      <a:pt x="250" y="266"/>
                      <a:pt x="250" y="266"/>
                      <a:pt x="252" y="267"/>
                    </a:cubicBezTo>
                    <a:cubicBezTo>
                      <a:pt x="254" y="268"/>
                      <a:pt x="253" y="267"/>
                      <a:pt x="253" y="267"/>
                    </a:cubicBezTo>
                    <a:cubicBezTo>
                      <a:pt x="254" y="267"/>
                      <a:pt x="255" y="266"/>
                      <a:pt x="255" y="266"/>
                    </a:cubicBezTo>
                    <a:cubicBezTo>
                      <a:pt x="255" y="266"/>
                      <a:pt x="256" y="265"/>
                      <a:pt x="256" y="265"/>
                    </a:cubicBezTo>
                    <a:cubicBezTo>
                      <a:pt x="256" y="265"/>
                      <a:pt x="256" y="266"/>
                      <a:pt x="255" y="267"/>
                    </a:cubicBezTo>
                    <a:cubicBezTo>
                      <a:pt x="255" y="269"/>
                      <a:pt x="255" y="268"/>
                      <a:pt x="254" y="268"/>
                    </a:cubicBezTo>
                    <a:cubicBezTo>
                      <a:pt x="254" y="268"/>
                      <a:pt x="254" y="268"/>
                      <a:pt x="253" y="268"/>
                    </a:cubicBezTo>
                    <a:cubicBezTo>
                      <a:pt x="253" y="268"/>
                      <a:pt x="253" y="269"/>
                      <a:pt x="252" y="269"/>
                    </a:cubicBezTo>
                    <a:cubicBezTo>
                      <a:pt x="251" y="269"/>
                      <a:pt x="252" y="269"/>
                      <a:pt x="251" y="268"/>
                    </a:cubicBezTo>
                    <a:cubicBezTo>
                      <a:pt x="251" y="268"/>
                      <a:pt x="251" y="268"/>
                      <a:pt x="251" y="269"/>
                    </a:cubicBezTo>
                    <a:cubicBezTo>
                      <a:pt x="251" y="269"/>
                      <a:pt x="251" y="270"/>
                      <a:pt x="252" y="270"/>
                    </a:cubicBezTo>
                    <a:cubicBezTo>
                      <a:pt x="252" y="271"/>
                      <a:pt x="252" y="272"/>
                      <a:pt x="254" y="273"/>
                    </a:cubicBezTo>
                    <a:cubicBezTo>
                      <a:pt x="255" y="274"/>
                      <a:pt x="256" y="275"/>
                      <a:pt x="257" y="275"/>
                    </a:cubicBezTo>
                    <a:cubicBezTo>
                      <a:pt x="258" y="276"/>
                      <a:pt x="257" y="275"/>
                      <a:pt x="259" y="275"/>
                    </a:cubicBezTo>
                    <a:cubicBezTo>
                      <a:pt x="260" y="274"/>
                      <a:pt x="260" y="274"/>
                      <a:pt x="261" y="274"/>
                    </a:cubicBezTo>
                    <a:cubicBezTo>
                      <a:pt x="261" y="273"/>
                      <a:pt x="261" y="273"/>
                      <a:pt x="261" y="273"/>
                    </a:cubicBezTo>
                    <a:cubicBezTo>
                      <a:pt x="261" y="273"/>
                      <a:pt x="261" y="273"/>
                      <a:pt x="261" y="273"/>
                    </a:cubicBezTo>
                    <a:cubicBezTo>
                      <a:pt x="261" y="272"/>
                      <a:pt x="261" y="272"/>
                      <a:pt x="261" y="272"/>
                    </a:cubicBezTo>
                    <a:cubicBezTo>
                      <a:pt x="262" y="272"/>
                      <a:pt x="262" y="272"/>
                      <a:pt x="261" y="272"/>
                    </a:cubicBezTo>
                    <a:cubicBezTo>
                      <a:pt x="261" y="271"/>
                      <a:pt x="261" y="271"/>
                      <a:pt x="261" y="271"/>
                    </a:cubicBezTo>
                    <a:cubicBezTo>
                      <a:pt x="261" y="271"/>
                      <a:pt x="261" y="271"/>
                      <a:pt x="261" y="271"/>
                    </a:cubicBezTo>
                    <a:cubicBezTo>
                      <a:pt x="260" y="271"/>
                      <a:pt x="260" y="270"/>
                      <a:pt x="260" y="270"/>
                    </a:cubicBezTo>
                    <a:cubicBezTo>
                      <a:pt x="261" y="270"/>
                      <a:pt x="261" y="270"/>
                      <a:pt x="261" y="270"/>
                    </a:cubicBezTo>
                    <a:cubicBezTo>
                      <a:pt x="261" y="270"/>
                      <a:pt x="261" y="270"/>
                      <a:pt x="261" y="270"/>
                    </a:cubicBezTo>
                    <a:cubicBezTo>
                      <a:pt x="261" y="270"/>
                      <a:pt x="261" y="270"/>
                      <a:pt x="261" y="269"/>
                    </a:cubicBezTo>
                    <a:cubicBezTo>
                      <a:pt x="261" y="269"/>
                      <a:pt x="261" y="269"/>
                      <a:pt x="261" y="269"/>
                    </a:cubicBezTo>
                    <a:cubicBezTo>
                      <a:pt x="261" y="269"/>
                      <a:pt x="261" y="269"/>
                      <a:pt x="261" y="269"/>
                    </a:cubicBezTo>
                    <a:cubicBezTo>
                      <a:pt x="261" y="268"/>
                      <a:pt x="261" y="268"/>
                      <a:pt x="261" y="268"/>
                    </a:cubicBezTo>
                    <a:cubicBezTo>
                      <a:pt x="261" y="268"/>
                      <a:pt x="262" y="269"/>
                      <a:pt x="262" y="269"/>
                    </a:cubicBezTo>
                    <a:cubicBezTo>
                      <a:pt x="263" y="269"/>
                      <a:pt x="263" y="269"/>
                      <a:pt x="263" y="269"/>
                    </a:cubicBezTo>
                    <a:cubicBezTo>
                      <a:pt x="263" y="269"/>
                      <a:pt x="263" y="269"/>
                      <a:pt x="262" y="269"/>
                    </a:cubicBezTo>
                    <a:cubicBezTo>
                      <a:pt x="262" y="269"/>
                      <a:pt x="262" y="269"/>
                      <a:pt x="262" y="269"/>
                    </a:cubicBezTo>
                    <a:cubicBezTo>
                      <a:pt x="262" y="270"/>
                      <a:pt x="262" y="270"/>
                      <a:pt x="263" y="270"/>
                    </a:cubicBezTo>
                    <a:cubicBezTo>
                      <a:pt x="263" y="270"/>
                      <a:pt x="263" y="270"/>
                      <a:pt x="263" y="270"/>
                    </a:cubicBezTo>
                    <a:cubicBezTo>
                      <a:pt x="263" y="271"/>
                      <a:pt x="263" y="271"/>
                      <a:pt x="263" y="271"/>
                    </a:cubicBezTo>
                    <a:cubicBezTo>
                      <a:pt x="264" y="271"/>
                      <a:pt x="264" y="271"/>
                      <a:pt x="264" y="271"/>
                    </a:cubicBezTo>
                    <a:cubicBezTo>
                      <a:pt x="264" y="271"/>
                      <a:pt x="264" y="271"/>
                      <a:pt x="264" y="271"/>
                    </a:cubicBezTo>
                    <a:cubicBezTo>
                      <a:pt x="263" y="272"/>
                      <a:pt x="263" y="272"/>
                      <a:pt x="263" y="272"/>
                    </a:cubicBezTo>
                    <a:cubicBezTo>
                      <a:pt x="262" y="273"/>
                      <a:pt x="263" y="272"/>
                      <a:pt x="263" y="273"/>
                    </a:cubicBezTo>
                    <a:cubicBezTo>
                      <a:pt x="263" y="273"/>
                      <a:pt x="263" y="273"/>
                      <a:pt x="264" y="275"/>
                    </a:cubicBezTo>
                    <a:cubicBezTo>
                      <a:pt x="264" y="277"/>
                      <a:pt x="263" y="276"/>
                      <a:pt x="263" y="278"/>
                    </a:cubicBezTo>
                    <a:cubicBezTo>
                      <a:pt x="262" y="279"/>
                      <a:pt x="263" y="278"/>
                      <a:pt x="263" y="279"/>
                    </a:cubicBezTo>
                    <a:cubicBezTo>
                      <a:pt x="263" y="280"/>
                      <a:pt x="263" y="281"/>
                      <a:pt x="263" y="282"/>
                    </a:cubicBezTo>
                    <a:cubicBezTo>
                      <a:pt x="263" y="282"/>
                      <a:pt x="264" y="284"/>
                      <a:pt x="263" y="285"/>
                    </a:cubicBezTo>
                    <a:cubicBezTo>
                      <a:pt x="263" y="286"/>
                      <a:pt x="264" y="287"/>
                      <a:pt x="264" y="288"/>
                    </a:cubicBezTo>
                    <a:cubicBezTo>
                      <a:pt x="264" y="288"/>
                      <a:pt x="265" y="289"/>
                      <a:pt x="265" y="290"/>
                    </a:cubicBezTo>
                    <a:cubicBezTo>
                      <a:pt x="265" y="291"/>
                      <a:pt x="266" y="295"/>
                      <a:pt x="266" y="296"/>
                    </a:cubicBezTo>
                    <a:cubicBezTo>
                      <a:pt x="266" y="296"/>
                      <a:pt x="266" y="297"/>
                      <a:pt x="267" y="298"/>
                    </a:cubicBezTo>
                    <a:cubicBezTo>
                      <a:pt x="268" y="299"/>
                      <a:pt x="268" y="299"/>
                      <a:pt x="268" y="299"/>
                    </a:cubicBezTo>
                    <a:cubicBezTo>
                      <a:pt x="268" y="299"/>
                      <a:pt x="269" y="302"/>
                      <a:pt x="269" y="304"/>
                    </a:cubicBezTo>
                    <a:cubicBezTo>
                      <a:pt x="269" y="304"/>
                      <a:pt x="269" y="304"/>
                      <a:pt x="269" y="304"/>
                    </a:cubicBezTo>
                    <a:cubicBezTo>
                      <a:pt x="269" y="304"/>
                      <a:pt x="270" y="307"/>
                      <a:pt x="270" y="307"/>
                    </a:cubicBezTo>
                    <a:cubicBezTo>
                      <a:pt x="271" y="309"/>
                      <a:pt x="272" y="311"/>
                      <a:pt x="272" y="312"/>
                    </a:cubicBezTo>
                    <a:cubicBezTo>
                      <a:pt x="273" y="312"/>
                      <a:pt x="273" y="312"/>
                      <a:pt x="273" y="312"/>
                    </a:cubicBezTo>
                    <a:cubicBezTo>
                      <a:pt x="273" y="312"/>
                      <a:pt x="273" y="315"/>
                      <a:pt x="274" y="315"/>
                    </a:cubicBezTo>
                    <a:cubicBezTo>
                      <a:pt x="274" y="315"/>
                      <a:pt x="274" y="316"/>
                      <a:pt x="274" y="317"/>
                    </a:cubicBezTo>
                    <a:cubicBezTo>
                      <a:pt x="274" y="317"/>
                      <a:pt x="274" y="317"/>
                      <a:pt x="274" y="319"/>
                    </a:cubicBezTo>
                    <a:cubicBezTo>
                      <a:pt x="274" y="321"/>
                      <a:pt x="275" y="321"/>
                      <a:pt x="275" y="322"/>
                    </a:cubicBezTo>
                    <a:cubicBezTo>
                      <a:pt x="276" y="323"/>
                      <a:pt x="276" y="323"/>
                      <a:pt x="277" y="324"/>
                    </a:cubicBezTo>
                    <a:cubicBezTo>
                      <a:pt x="277" y="324"/>
                      <a:pt x="278" y="325"/>
                      <a:pt x="279" y="325"/>
                    </a:cubicBezTo>
                    <a:cubicBezTo>
                      <a:pt x="279" y="325"/>
                      <a:pt x="280" y="323"/>
                      <a:pt x="280" y="323"/>
                    </a:cubicBezTo>
                    <a:cubicBezTo>
                      <a:pt x="280" y="323"/>
                      <a:pt x="280" y="322"/>
                      <a:pt x="281" y="322"/>
                    </a:cubicBezTo>
                    <a:cubicBezTo>
                      <a:pt x="281" y="322"/>
                      <a:pt x="281" y="322"/>
                      <a:pt x="281" y="321"/>
                    </a:cubicBezTo>
                    <a:cubicBezTo>
                      <a:pt x="281" y="320"/>
                      <a:pt x="282" y="321"/>
                      <a:pt x="283" y="320"/>
                    </a:cubicBezTo>
                    <a:cubicBezTo>
                      <a:pt x="283" y="320"/>
                      <a:pt x="284" y="321"/>
                      <a:pt x="284" y="321"/>
                    </a:cubicBezTo>
                    <a:cubicBezTo>
                      <a:pt x="285" y="321"/>
                      <a:pt x="284" y="320"/>
                      <a:pt x="284" y="320"/>
                    </a:cubicBezTo>
                    <a:cubicBezTo>
                      <a:pt x="284" y="320"/>
                      <a:pt x="283" y="320"/>
                      <a:pt x="283" y="319"/>
                    </a:cubicBezTo>
                    <a:cubicBezTo>
                      <a:pt x="283" y="319"/>
                      <a:pt x="283" y="319"/>
                      <a:pt x="283" y="318"/>
                    </a:cubicBezTo>
                    <a:cubicBezTo>
                      <a:pt x="283" y="318"/>
                      <a:pt x="284" y="317"/>
                      <a:pt x="284" y="317"/>
                    </a:cubicBezTo>
                    <a:cubicBezTo>
                      <a:pt x="284" y="317"/>
                      <a:pt x="284" y="317"/>
                      <a:pt x="284" y="316"/>
                    </a:cubicBezTo>
                    <a:cubicBezTo>
                      <a:pt x="284" y="316"/>
                      <a:pt x="284" y="316"/>
                      <a:pt x="285" y="316"/>
                    </a:cubicBezTo>
                    <a:cubicBezTo>
                      <a:pt x="286" y="316"/>
                      <a:pt x="286" y="316"/>
                      <a:pt x="286" y="316"/>
                    </a:cubicBezTo>
                    <a:cubicBezTo>
                      <a:pt x="286" y="316"/>
                      <a:pt x="286" y="315"/>
                      <a:pt x="286" y="315"/>
                    </a:cubicBezTo>
                    <a:cubicBezTo>
                      <a:pt x="286" y="315"/>
                      <a:pt x="285" y="314"/>
                      <a:pt x="286" y="313"/>
                    </a:cubicBezTo>
                    <a:cubicBezTo>
                      <a:pt x="286" y="312"/>
                      <a:pt x="286" y="312"/>
                      <a:pt x="285" y="311"/>
                    </a:cubicBezTo>
                    <a:cubicBezTo>
                      <a:pt x="285" y="310"/>
                      <a:pt x="286" y="309"/>
                      <a:pt x="286" y="309"/>
                    </a:cubicBezTo>
                    <a:cubicBezTo>
                      <a:pt x="286" y="309"/>
                      <a:pt x="287" y="308"/>
                      <a:pt x="287" y="307"/>
                    </a:cubicBezTo>
                    <a:cubicBezTo>
                      <a:pt x="288" y="306"/>
                      <a:pt x="287" y="304"/>
                      <a:pt x="287" y="303"/>
                    </a:cubicBezTo>
                    <a:cubicBezTo>
                      <a:pt x="287" y="303"/>
                      <a:pt x="287" y="303"/>
                      <a:pt x="287" y="303"/>
                    </a:cubicBezTo>
                    <a:cubicBezTo>
                      <a:pt x="287" y="302"/>
                      <a:pt x="287" y="302"/>
                      <a:pt x="287" y="301"/>
                    </a:cubicBezTo>
                    <a:cubicBezTo>
                      <a:pt x="287" y="301"/>
                      <a:pt x="287" y="301"/>
                      <a:pt x="287" y="301"/>
                    </a:cubicBezTo>
                    <a:cubicBezTo>
                      <a:pt x="287" y="300"/>
                      <a:pt x="287" y="300"/>
                      <a:pt x="287" y="300"/>
                    </a:cubicBezTo>
                    <a:cubicBezTo>
                      <a:pt x="287" y="300"/>
                      <a:pt x="287" y="300"/>
                      <a:pt x="287" y="300"/>
                    </a:cubicBezTo>
                    <a:cubicBezTo>
                      <a:pt x="287" y="300"/>
                      <a:pt x="287" y="298"/>
                      <a:pt x="287" y="297"/>
                    </a:cubicBezTo>
                    <a:cubicBezTo>
                      <a:pt x="287" y="296"/>
                      <a:pt x="287" y="296"/>
                      <a:pt x="287" y="296"/>
                    </a:cubicBezTo>
                    <a:cubicBezTo>
                      <a:pt x="286" y="295"/>
                      <a:pt x="287" y="295"/>
                      <a:pt x="287" y="295"/>
                    </a:cubicBezTo>
                    <a:cubicBezTo>
                      <a:pt x="287" y="295"/>
                      <a:pt x="288" y="295"/>
                      <a:pt x="288" y="294"/>
                    </a:cubicBezTo>
                    <a:cubicBezTo>
                      <a:pt x="288" y="294"/>
                      <a:pt x="289" y="295"/>
                      <a:pt x="289" y="295"/>
                    </a:cubicBezTo>
                    <a:cubicBezTo>
                      <a:pt x="289" y="295"/>
                      <a:pt x="290" y="294"/>
                      <a:pt x="290" y="294"/>
                    </a:cubicBezTo>
                    <a:cubicBezTo>
                      <a:pt x="290" y="294"/>
                      <a:pt x="290" y="294"/>
                      <a:pt x="290" y="294"/>
                    </a:cubicBezTo>
                    <a:cubicBezTo>
                      <a:pt x="290" y="294"/>
                      <a:pt x="290" y="293"/>
                      <a:pt x="290" y="293"/>
                    </a:cubicBezTo>
                    <a:cubicBezTo>
                      <a:pt x="290" y="293"/>
                      <a:pt x="290" y="293"/>
                      <a:pt x="290" y="293"/>
                    </a:cubicBezTo>
                    <a:cubicBezTo>
                      <a:pt x="290" y="292"/>
                      <a:pt x="291" y="293"/>
                      <a:pt x="291" y="293"/>
                    </a:cubicBezTo>
                    <a:cubicBezTo>
                      <a:pt x="291" y="293"/>
                      <a:pt x="292" y="292"/>
                      <a:pt x="293" y="292"/>
                    </a:cubicBezTo>
                    <a:cubicBezTo>
                      <a:pt x="293" y="292"/>
                      <a:pt x="294" y="292"/>
                      <a:pt x="294" y="291"/>
                    </a:cubicBezTo>
                    <a:cubicBezTo>
                      <a:pt x="294" y="290"/>
                      <a:pt x="294" y="291"/>
                      <a:pt x="294" y="290"/>
                    </a:cubicBezTo>
                    <a:cubicBezTo>
                      <a:pt x="294" y="289"/>
                      <a:pt x="294" y="290"/>
                      <a:pt x="295" y="289"/>
                    </a:cubicBezTo>
                    <a:cubicBezTo>
                      <a:pt x="296" y="288"/>
                      <a:pt x="296" y="288"/>
                      <a:pt x="296" y="288"/>
                    </a:cubicBezTo>
                    <a:cubicBezTo>
                      <a:pt x="296" y="287"/>
                      <a:pt x="298" y="286"/>
                      <a:pt x="299" y="285"/>
                    </a:cubicBezTo>
                    <a:cubicBezTo>
                      <a:pt x="300" y="284"/>
                      <a:pt x="300" y="284"/>
                      <a:pt x="300" y="284"/>
                    </a:cubicBezTo>
                    <a:cubicBezTo>
                      <a:pt x="300" y="284"/>
                      <a:pt x="301" y="283"/>
                      <a:pt x="301" y="282"/>
                    </a:cubicBezTo>
                    <a:cubicBezTo>
                      <a:pt x="302" y="281"/>
                      <a:pt x="302" y="281"/>
                      <a:pt x="302" y="281"/>
                    </a:cubicBezTo>
                    <a:cubicBezTo>
                      <a:pt x="303" y="280"/>
                      <a:pt x="303" y="280"/>
                      <a:pt x="303" y="280"/>
                    </a:cubicBezTo>
                    <a:cubicBezTo>
                      <a:pt x="303" y="280"/>
                      <a:pt x="305" y="279"/>
                      <a:pt x="306" y="279"/>
                    </a:cubicBezTo>
                    <a:cubicBezTo>
                      <a:pt x="306" y="279"/>
                      <a:pt x="306" y="279"/>
                      <a:pt x="306" y="279"/>
                    </a:cubicBezTo>
                    <a:cubicBezTo>
                      <a:pt x="306" y="278"/>
                      <a:pt x="306" y="278"/>
                      <a:pt x="307" y="278"/>
                    </a:cubicBezTo>
                    <a:cubicBezTo>
                      <a:pt x="307" y="278"/>
                      <a:pt x="307" y="278"/>
                      <a:pt x="307" y="278"/>
                    </a:cubicBezTo>
                    <a:cubicBezTo>
                      <a:pt x="307" y="277"/>
                      <a:pt x="308" y="277"/>
                      <a:pt x="308" y="277"/>
                    </a:cubicBezTo>
                    <a:cubicBezTo>
                      <a:pt x="308" y="276"/>
                      <a:pt x="308" y="276"/>
                      <a:pt x="308" y="276"/>
                    </a:cubicBezTo>
                    <a:cubicBezTo>
                      <a:pt x="308" y="276"/>
                      <a:pt x="308" y="276"/>
                      <a:pt x="308" y="276"/>
                    </a:cubicBezTo>
                    <a:cubicBezTo>
                      <a:pt x="308" y="276"/>
                      <a:pt x="308" y="276"/>
                      <a:pt x="309" y="275"/>
                    </a:cubicBezTo>
                    <a:cubicBezTo>
                      <a:pt x="309" y="275"/>
                      <a:pt x="309" y="275"/>
                      <a:pt x="309" y="275"/>
                    </a:cubicBezTo>
                    <a:cubicBezTo>
                      <a:pt x="309" y="275"/>
                      <a:pt x="308" y="275"/>
                      <a:pt x="308" y="274"/>
                    </a:cubicBezTo>
                    <a:cubicBezTo>
                      <a:pt x="308" y="274"/>
                      <a:pt x="308" y="274"/>
                      <a:pt x="308" y="274"/>
                    </a:cubicBezTo>
                    <a:cubicBezTo>
                      <a:pt x="308" y="274"/>
                      <a:pt x="308" y="273"/>
                      <a:pt x="308" y="273"/>
                    </a:cubicBezTo>
                    <a:cubicBezTo>
                      <a:pt x="308" y="273"/>
                      <a:pt x="308" y="272"/>
                      <a:pt x="309" y="272"/>
                    </a:cubicBezTo>
                    <a:cubicBezTo>
                      <a:pt x="309" y="272"/>
                      <a:pt x="310" y="272"/>
                      <a:pt x="310" y="272"/>
                    </a:cubicBezTo>
                    <a:cubicBezTo>
                      <a:pt x="310" y="272"/>
                      <a:pt x="310" y="272"/>
                      <a:pt x="311" y="271"/>
                    </a:cubicBezTo>
                    <a:cubicBezTo>
                      <a:pt x="312" y="271"/>
                      <a:pt x="311" y="271"/>
                      <a:pt x="312" y="270"/>
                    </a:cubicBezTo>
                    <a:cubicBezTo>
                      <a:pt x="312" y="270"/>
                      <a:pt x="312" y="270"/>
                      <a:pt x="312" y="270"/>
                    </a:cubicBezTo>
                    <a:cubicBezTo>
                      <a:pt x="312" y="270"/>
                      <a:pt x="312" y="270"/>
                      <a:pt x="312" y="270"/>
                    </a:cubicBezTo>
                    <a:cubicBezTo>
                      <a:pt x="312" y="269"/>
                      <a:pt x="312" y="269"/>
                      <a:pt x="312" y="269"/>
                    </a:cubicBezTo>
                    <a:cubicBezTo>
                      <a:pt x="312" y="269"/>
                      <a:pt x="312" y="269"/>
                      <a:pt x="312" y="269"/>
                    </a:cubicBezTo>
                    <a:cubicBezTo>
                      <a:pt x="312" y="269"/>
                      <a:pt x="312" y="270"/>
                      <a:pt x="312" y="270"/>
                    </a:cubicBezTo>
                    <a:cubicBezTo>
                      <a:pt x="313" y="270"/>
                      <a:pt x="313" y="270"/>
                      <a:pt x="313" y="270"/>
                    </a:cubicBezTo>
                    <a:cubicBezTo>
                      <a:pt x="313" y="270"/>
                      <a:pt x="313" y="270"/>
                      <a:pt x="312" y="271"/>
                    </a:cubicBezTo>
                    <a:cubicBezTo>
                      <a:pt x="312" y="272"/>
                      <a:pt x="313" y="271"/>
                      <a:pt x="313" y="272"/>
                    </a:cubicBezTo>
                    <a:cubicBezTo>
                      <a:pt x="314" y="272"/>
                      <a:pt x="314" y="272"/>
                      <a:pt x="314" y="272"/>
                    </a:cubicBezTo>
                    <a:cubicBezTo>
                      <a:pt x="314" y="272"/>
                      <a:pt x="315" y="272"/>
                      <a:pt x="315" y="271"/>
                    </a:cubicBezTo>
                    <a:cubicBezTo>
                      <a:pt x="315" y="269"/>
                      <a:pt x="315" y="269"/>
                      <a:pt x="315" y="269"/>
                    </a:cubicBezTo>
                    <a:cubicBezTo>
                      <a:pt x="315" y="267"/>
                      <a:pt x="315" y="267"/>
                      <a:pt x="315" y="267"/>
                    </a:cubicBezTo>
                    <a:cubicBezTo>
                      <a:pt x="315" y="267"/>
                      <a:pt x="315" y="267"/>
                      <a:pt x="315" y="267"/>
                    </a:cubicBezTo>
                    <a:cubicBezTo>
                      <a:pt x="315" y="267"/>
                      <a:pt x="315" y="267"/>
                      <a:pt x="315" y="267"/>
                    </a:cubicBezTo>
                    <a:cubicBezTo>
                      <a:pt x="315" y="269"/>
                      <a:pt x="315" y="269"/>
                      <a:pt x="315" y="269"/>
                    </a:cubicBezTo>
                    <a:cubicBezTo>
                      <a:pt x="315" y="271"/>
                      <a:pt x="315" y="271"/>
                      <a:pt x="315" y="271"/>
                    </a:cubicBezTo>
                    <a:cubicBezTo>
                      <a:pt x="315" y="271"/>
                      <a:pt x="315" y="271"/>
                      <a:pt x="316" y="271"/>
                    </a:cubicBezTo>
                    <a:cubicBezTo>
                      <a:pt x="317" y="270"/>
                      <a:pt x="318" y="271"/>
                      <a:pt x="318" y="271"/>
                    </a:cubicBezTo>
                    <a:cubicBezTo>
                      <a:pt x="318" y="271"/>
                      <a:pt x="319" y="270"/>
                      <a:pt x="319" y="270"/>
                    </a:cubicBezTo>
                    <a:cubicBezTo>
                      <a:pt x="320" y="270"/>
                      <a:pt x="320" y="269"/>
                      <a:pt x="320" y="269"/>
                    </a:cubicBezTo>
                    <a:cubicBezTo>
                      <a:pt x="320" y="269"/>
                      <a:pt x="320" y="268"/>
                      <a:pt x="320" y="268"/>
                    </a:cubicBezTo>
                    <a:cubicBezTo>
                      <a:pt x="320" y="268"/>
                      <a:pt x="320" y="267"/>
                      <a:pt x="320" y="267"/>
                    </a:cubicBezTo>
                    <a:cubicBezTo>
                      <a:pt x="320" y="267"/>
                      <a:pt x="320" y="266"/>
                      <a:pt x="320" y="266"/>
                    </a:cubicBezTo>
                    <a:cubicBezTo>
                      <a:pt x="320" y="266"/>
                      <a:pt x="320" y="266"/>
                      <a:pt x="320" y="266"/>
                    </a:cubicBezTo>
                    <a:cubicBezTo>
                      <a:pt x="320" y="266"/>
                      <a:pt x="319" y="265"/>
                      <a:pt x="319" y="265"/>
                    </a:cubicBezTo>
                    <a:cubicBezTo>
                      <a:pt x="320" y="265"/>
                      <a:pt x="320" y="264"/>
                      <a:pt x="320" y="264"/>
                    </a:cubicBezTo>
                    <a:cubicBezTo>
                      <a:pt x="320" y="264"/>
                      <a:pt x="320" y="264"/>
                      <a:pt x="320" y="264"/>
                    </a:cubicBezTo>
                    <a:cubicBezTo>
                      <a:pt x="320" y="265"/>
                      <a:pt x="320" y="266"/>
                      <a:pt x="321" y="267"/>
                    </a:cubicBezTo>
                    <a:cubicBezTo>
                      <a:pt x="321" y="268"/>
                      <a:pt x="321" y="268"/>
                      <a:pt x="321" y="268"/>
                    </a:cubicBezTo>
                    <a:cubicBezTo>
                      <a:pt x="322" y="268"/>
                      <a:pt x="322" y="267"/>
                      <a:pt x="322" y="267"/>
                    </a:cubicBezTo>
                    <a:cubicBezTo>
                      <a:pt x="322" y="267"/>
                      <a:pt x="322" y="267"/>
                      <a:pt x="322" y="267"/>
                    </a:cubicBezTo>
                    <a:cubicBezTo>
                      <a:pt x="322" y="267"/>
                      <a:pt x="323" y="267"/>
                      <a:pt x="323" y="267"/>
                    </a:cubicBezTo>
                    <a:cubicBezTo>
                      <a:pt x="324" y="269"/>
                      <a:pt x="324" y="269"/>
                      <a:pt x="324" y="269"/>
                    </a:cubicBezTo>
                    <a:cubicBezTo>
                      <a:pt x="325" y="272"/>
                      <a:pt x="324" y="271"/>
                      <a:pt x="324" y="271"/>
                    </a:cubicBezTo>
                    <a:cubicBezTo>
                      <a:pt x="324" y="272"/>
                      <a:pt x="325" y="272"/>
                      <a:pt x="325" y="273"/>
                    </a:cubicBezTo>
                    <a:cubicBezTo>
                      <a:pt x="327" y="272"/>
                      <a:pt x="327" y="272"/>
                      <a:pt x="327" y="272"/>
                    </a:cubicBezTo>
                    <a:cubicBezTo>
                      <a:pt x="327" y="271"/>
                      <a:pt x="327" y="271"/>
                      <a:pt x="327" y="271"/>
                    </a:cubicBezTo>
                    <a:cubicBezTo>
                      <a:pt x="327" y="270"/>
                      <a:pt x="327" y="270"/>
                      <a:pt x="327" y="270"/>
                    </a:cubicBezTo>
                    <a:cubicBezTo>
                      <a:pt x="327" y="270"/>
                      <a:pt x="327" y="270"/>
                      <a:pt x="327" y="270"/>
                    </a:cubicBezTo>
                    <a:cubicBezTo>
                      <a:pt x="327" y="270"/>
                      <a:pt x="327" y="270"/>
                      <a:pt x="327" y="270"/>
                    </a:cubicBezTo>
                    <a:cubicBezTo>
                      <a:pt x="327" y="271"/>
                      <a:pt x="327" y="271"/>
                      <a:pt x="327" y="271"/>
                    </a:cubicBezTo>
                    <a:cubicBezTo>
                      <a:pt x="327" y="272"/>
                      <a:pt x="327" y="272"/>
                      <a:pt x="327" y="272"/>
                    </a:cubicBezTo>
                    <a:cubicBezTo>
                      <a:pt x="325" y="273"/>
                      <a:pt x="325" y="273"/>
                      <a:pt x="325" y="273"/>
                    </a:cubicBezTo>
                    <a:cubicBezTo>
                      <a:pt x="325" y="274"/>
                      <a:pt x="325" y="274"/>
                      <a:pt x="325" y="274"/>
                    </a:cubicBezTo>
                    <a:cubicBezTo>
                      <a:pt x="325" y="275"/>
                      <a:pt x="326" y="275"/>
                      <a:pt x="326" y="276"/>
                    </a:cubicBezTo>
                    <a:cubicBezTo>
                      <a:pt x="326" y="277"/>
                      <a:pt x="327" y="277"/>
                      <a:pt x="327" y="277"/>
                    </a:cubicBezTo>
                    <a:cubicBezTo>
                      <a:pt x="327" y="278"/>
                      <a:pt x="327" y="278"/>
                      <a:pt x="328" y="278"/>
                    </a:cubicBezTo>
                    <a:cubicBezTo>
                      <a:pt x="328" y="278"/>
                      <a:pt x="328" y="278"/>
                      <a:pt x="328" y="278"/>
                    </a:cubicBezTo>
                    <a:cubicBezTo>
                      <a:pt x="328" y="278"/>
                      <a:pt x="329" y="278"/>
                      <a:pt x="329" y="278"/>
                    </a:cubicBezTo>
                    <a:cubicBezTo>
                      <a:pt x="329" y="278"/>
                      <a:pt x="329" y="278"/>
                      <a:pt x="330" y="278"/>
                    </a:cubicBezTo>
                    <a:cubicBezTo>
                      <a:pt x="330" y="278"/>
                      <a:pt x="330" y="278"/>
                      <a:pt x="330" y="280"/>
                    </a:cubicBezTo>
                    <a:cubicBezTo>
                      <a:pt x="331" y="281"/>
                      <a:pt x="330" y="280"/>
                      <a:pt x="330" y="280"/>
                    </a:cubicBezTo>
                    <a:cubicBezTo>
                      <a:pt x="330" y="280"/>
                      <a:pt x="330" y="281"/>
                      <a:pt x="330" y="281"/>
                    </a:cubicBezTo>
                    <a:cubicBezTo>
                      <a:pt x="330" y="281"/>
                      <a:pt x="330" y="281"/>
                      <a:pt x="331" y="281"/>
                    </a:cubicBezTo>
                    <a:cubicBezTo>
                      <a:pt x="331" y="282"/>
                      <a:pt x="331" y="282"/>
                      <a:pt x="331" y="283"/>
                    </a:cubicBezTo>
                    <a:cubicBezTo>
                      <a:pt x="331" y="283"/>
                      <a:pt x="332" y="284"/>
                      <a:pt x="332" y="284"/>
                    </a:cubicBezTo>
                    <a:cubicBezTo>
                      <a:pt x="332" y="284"/>
                      <a:pt x="333" y="286"/>
                      <a:pt x="333" y="286"/>
                    </a:cubicBezTo>
                    <a:cubicBezTo>
                      <a:pt x="333" y="286"/>
                      <a:pt x="333" y="286"/>
                      <a:pt x="333" y="286"/>
                    </a:cubicBezTo>
                    <a:cubicBezTo>
                      <a:pt x="333" y="287"/>
                      <a:pt x="333" y="288"/>
                      <a:pt x="333" y="288"/>
                    </a:cubicBezTo>
                    <a:cubicBezTo>
                      <a:pt x="333" y="288"/>
                      <a:pt x="333" y="288"/>
                      <a:pt x="333" y="288"/>
                    </a:cubicBezTo>
                    <a:cubicBezTo>
                      <a:pt x="333" y="288"/>
                      <a:pt x="333" y="290"/>
                      <a:pt x="333" y="290"/>
                    </a:cubicBezTo>
                    <a:cubicBezTo>
                      <a:pt x="332" y="290"/>
                      <a:pt x="332" y="290"/>
                      <a:pt x="332" y="290"/>
                    </a:cubicBezTo>
                    <a:cubicBezTo>
                      <a:pt x="332" y="291"/>
                      <a:pt x="332" y="293"/>
                      <a:pt x="332" y="293"/>
                    </a:cubicBezTo>
                    <a:cubicBezTo>
                      <a:pt x="331" y="294"/>
                      <a:pt x="332" y="294"/>
                      <a:pt x="332" y="294"/>
                    </a:cubicBezTo>
                    <a:cubicBezTo>
                      <a:pt x="332" y="294"/>
                      <a:pt x="332" y="294"/>
                      <a:pt x="332" y="293"/>
                    </a:cubicBezTo>
                    <a:cubicBezTo>
                      <a:pt x="332" y="293"/>
                      <a:pt x="333" y="293"/>
                      <a:pt x="333" y="293"/>
                    </a:cubicBezTo>
                    <a:cubicBezTo>
                      <a:pt x="333" y="293"/>
                      <a:pt x="333" y="293"/>
                      <a:pt x="333" y="293"/>
                    </a:cubicBezTo>
                    <a:cubicBezTo>
                      <a:pt x="333" y="293"/>
                      <a:pt x="333" y="294"/>
                      <a:pt x="334" y="294"/>
                    </a:cubicBezTo>
                    <a:cubicBezTo>
                      <a:pt x="334" y="295"/>
                      <a:pt x="334" y="295"/>
                      <a:pt x="335" y="295"/>
                    </a:cubicBezTo>
                    <a:cubicBezTo>
                      <a:pt x="335" y="295"/>
                      <a:pt x="335" y="295"/>
                      <a:pt x="335" y="295"/>
                    </a:cubicBezTo>
                    <a:cubicBezTo>
                      <a:pt x="336" y="295"/>
                      <a:pt x="336" y="295"/>
                      <a:pt x="336" y="294"/>
                    </a:cubicBezTo>
                    <a:cubicBezTo>
                      <a:pt x="336" y="294"/>
                      <a:pt x="336" y="294"/>
                      <a:pt x="337" y="293"/>
                    </a:cubicBezTo>
                    <a:cubicBezTo>
                      <a:pt x="337" y="293"/>
                      <a:pt x="337" y="293"/>
                      <a:pt x="337" y="293"/>
                    </a:cubicBezTo>
                    <a:cubicBezTo>
                      <a:pt x="337" y="293"/>
                      <a:pt x="338" y="293"/>
                      <a:pt x="338" y="292"/>
                    </a:cubicBezTo>
                    <a:cubicBezTo>
                      <a:pt x="338" y="292"/>
                      <a:pt x="338" y="292"/>
                      <a:pt x="338" y="292"/>
                    </a:cubicBezTo>
                    <a:cubicBezTo>
                      <a:pt x="338" y="292"/>
                      <a:pt x="338" y="292"/>
                      <a:pt x="338" y="292"/>
                    </a:cubicBezTo>
                    <a:cubicBezTo>
                      <a:pt x="338" y="292"/>
                      <a:pt x="338" y="291"/>
                      <a:pt x="338" y="291"/>
                    </a:cubicBezTo>
                    <a:cubicBezTo>
                      <a:pt x="338" y="291"/>
                      <a:pt x="338" y="291"/>
                      <a:pt x="338" y="291"/>
                    </a:cubicBezTo>
                    <a:cubicBezTo>
                      <a:pt x="338" y="291"/>
                      <a:pt x="338" y="291"/>
                      <a:pt x="338" y="291"/>
                    </a:cubicBezTo>
                    <a:cubicBezTo>
                      <a:pt x="338" y="291"/>
                      <a:pt x="338" y="291"/>
                      <a:pt x="338" y="291"/>
                    </a:cubicBezTo>
                    <a:cubicBezTo>
                      <a:pt x="338" y="291"/>
                      <a:pt x="339" y="292"/>
                      <a:pt x="339" y="292"/>
                    </a:cubicBezTo>
                    <a:cubicBezTo>
                      <a:pt x="339" y="292"/>
                      <a:pt x="339" y="292"/>
                      <a:pt x="339" y="292"/>
                    </a:cubicBezTo>
                    <a:cubicBezTo>
                      <a:pt x="339" y="292"/>
                      <a:pt x="340" y="291"/>
                      <a:pt x="340" y="291"/>
                    </a:cubicBezTo>
                    <a:cubicBezTo>
                      <a:pt x="340" y="291"/>
                      <a:pt x="340" y="290"/>
                      <a:pt x="340" y="289"/>
                    </a:cubicBezTo>
                    <a:cubicBezTo>
                      <a:pt x="340" y="289"/>
                      <a:pt x="340" y="289"/>
                      <a:pt x="340" y="289"/>
                    </a:cubicBezTo>
                    <a:cubicBezTo>
                      <a:pt x="341" y="289"/>
                      <a:pt x="341" y="289"/>
                      <a:pt x="341" y="289"/>
                    </a:cubicBezTo>
                    <a:cubicBezTo>
                      <a:pt x="341" y="289"/>
                      <a:pt x="341" y="290"/>
                      <a:pt x="341" y="290"/>
                    </a:cubicBezTo>
                    <a:cubicBezTo>
                      <a:pt x="341" y="290"/>
                      <a:pt x="342" y="291"/>
                      <a:pt x="342" y="292"/>
                    </a:cubicBezTo>
                    <a:cubicBezTo>
                      <a:pt x="342" y="292"/>
                      <a:pt x="342" y="292"/>
                      <a:pt x="342" y="292"/>
                    </a:cubicBezTo>
                    <a:cubicBezTo>
                      <a:pt x="342" y="292"/>
                      <a:pt x="343" y="292"/>
                      <a:pt x="343" y="292"/>
                    </a:cubicBezTo>
                    <a:cubicBezTo>
                      <a:pt x="342" y="293"/>
                      <a:pt x="342" y="293"/>
                      <a:pt x="342" y="293"/>
                    </a:cubicBezTo>
                    <a:cubicBezTo>
                      <a:pt x="342" y="295"/>
                      <a:pt x="343" y="294"/>
                      <a:pt x="343" y="295"/>
                    </a:cubicBezTo>
                    <a:cubicBezTo>
                      <a:pt x="343" y="296"/>
                      <a:pt x="343" y="299"/>
                      <a:pt x="343" y="299"/>
                    </a:cubicBezTo>
                    <a:cubicBezTo>
                      <a:pt x="344" y="300"/>
                      <a:pt x="344" y="301"/>
                      <a:pt x="344" y="302"/>
                    </a:cubicBezTo>
                    <a:cubicBezTo>
                      <a:pt x="345" y="304"/>
                      <a:pt x="345" y="304"/>
                      <a:pt x="345" y="305"/>
                    </a:cubicBezTo>
                    <a:cubicBezTo>
                      <a:pt x="346" y="306"/>
                      <a:pt x="346" y="307"/>
                      <a:pt x="346" y="308"/>
                    </a:cubicBezTo>
                    <a:cubicBezTo>
                      <a:pt x="346" y="309"/>
                      <a:pt x="346" y="309"/>
                      <a:pt x="346" y="310"/>
                    </a:cubicBezTo>
                    <a:cubicBezTo>
                      <a:pt x="346" y="311"/>
                      <a:pt x="346" y="311"/>
                      <a:pt x="346" y="311"/>
                    </a:cubicBezTo>
                    <a:cubicBezTo>
                      <a:pt x="346" y="311"/>
                      <a:pt x="346" y="312"/>
                      <a:pt x="346" y="312"/>
                    </a:cubicBezTo>
                    <a:cubicBezTo>
                      <a:pt x="346" y="313"/>
                      <a:pt x="346" y="313"/>
                      <a:pt x="346" y="313"/>
                    </a:cubicBezTo>
                    <a:cubicBezTo>
                      <a:pt x="346" y="314"/>
                      <a:pt x="346" y="314"/>
                      <a:pt x="346" y="314"/>
                    </a:cubicBezTo>
                    <a:cubicBezTo>
                      <a:pt x="346" y="314"/>
                      <a:pt x="346" y="315"/>
                      <a:pt x="346" y="315"/>
                    </a:cubicBezTo>
                    <a:cubicBezTo>
                      <a:pt x="346" y="315"/>
                      <a:pt x="346" y="315"/>
                      <a:pt x="346" y="315"/>
                    </a:cubicBezTo>
                    <a:cubicBezTo>
                      <a:pt x="346" y="316"/>
                      <a:pt x="346" y="318"/>
                      <a:pt x="345" y="318"/>
                    </a:cubicBezTo>
                    <a:cubicBezTo>
                      <a:pt x="345" y="319"/>
                      <a:pt x="345" y="319"/>
                      <a:pt x="345" y="319"/>
                    </a:cubicBezTo>
                    <a:cubicBezTo>
                      <a:pt x="345" y="319"/>
                      <a:pt x="345" y="319"/>
                      <a:pt x="345" y="320"/>
                    </a:cubicBezTo>
                    <a:cubicBezTo>
                      <a:pt x="345" y="320"/>
                      <a:pt x="345" y="321"/>
                      <a:pt x="345" y="321"/>
                    </a:cubicBezTo>
                    <a:cubicBezTo>
                      <a:pt x="345" y="321"/>
                      <a:pt x="345" y="321"/>
                      <a:pt x="345" y="321"/>
                    </a:cubicBezTo>
                    <a:cubicBezTo>
                      <a:pt x="345" y="322"/>
                      <a:pt x="345" y="323"/>
                      <a:pt x="345" y="324"/>
                    </a:cubicBezTo>
                    <a:cubicBezTo>
                      <a:pt x="345" y="324"/>
                      <a:pt x="345" y="325"/>
                      <a:pt x="345" y="324"/>
                    </a:cubicBezTo>
                    <a:cubicBezTo>
                      <a:pt x="345" y="324"/>
                      <a:pt x="345" y="324"/>
                      <a:pt x="345" y="324"/>
                    </a:cubicBezTo>
                    <a:cubicBezTo>
                      <a:pt x="346" y="324"/>
                      <a:pt x="346" y="324"/>
                      <a:pt x="346" y="324"/>
                    </a:cubicBezTo>
                    <a:cubicBezTo>
                      <a:pt x="346" y="324"/>
                      <a:pt x="346" y="324"/>
                      <a:pt x="346" y="325"/>
                    </a:cubicBezTo>
                    <a:cubicBezTo>
                      <a:pt x="346" y="325"/>
                      <a:pt x="346" y="325"/>
                      <a:pt x="347" y="325"/>
                    </a:cubicBezTo>
                    <a:cubicBezTo>
                      <a:pt x="347" y="325"/>
                      <a:pt x="347" y="325"/>
                      <a:pt x="347" y="325"/>
                    </a:cubicBezTo>
                    <a:cubicBezTo>
                      <a:pt x="347" y="326"/>
                      <a:pt x="347" y="326"/>
                      <a:pt x="347" y="326"/>
                    </a:cubicBezTo>
                    <a:cubicBezTo>
                      <a:pt x="347" y="326"/>
                      <a:pt x="347" y="326"/>
                      <a:pt x="347" y="326"/>
                    </a:cubicBezTo>
                    <a:cubicBezTo>
                      <a:pt x="348" y="326"/>
                      <a:pt x="348" y="326"/>
                      <a:pt x="348" y="326"/>
                    </a:cubicBezTo>
                    <a:cubicBezTo>
                      <a:pt x="348" y="327"/>
                      <a:pt x="348" y="327"/>
                      <a:pt x="348" y="328"/>
                    </a:cubicBezTo>
                    <a:cubicBezTo>
                      <a:pt x="348" y="328"/>
                      <a:pt x="349" y="328"/>
                      <a:pt x="349" y="328"/>
                    </a:cubicBezTo>
                    <a:cubicBezTo>
                      <a:pt x="349" y="328"/>
                      <a:pt x="349" y="328"/>
                      <a:pt x="349" y="328"/>
                    </a:cubicBezTo>
                    <a:cubicBezTo>
                      <a:pt x="349" y="329"/>
                      <a:pt x="349" y="329"/>
                      <a:pt x="350" y="330"/>
                    </a:cubicBezTo>
                    <a:cubicBezTo>
                      <a:pt x="350" y="330"/>
                      <a:pt x="350" y="330"/>
                      <a:pt x="350" y="331"/>
                    </a:cubicBezTo>
                    <a:cubicBezTo>
                      <a:pt x="350" y="331"/>
                      <a:pt x="350" y="331"/>
                      <a:pt x="351" y="331"/>
                    </a:cubicBezTo>
                    <a:cubicBezTo>
                      <a:pt x="351" y="332"/>
                      <a:pt x="351" y="334"/>
                      <a:pt x="352" y="336"/>
                    </a:cubicBezTo>
                    <a:cubicBezTo>
                      <a:pt x="352" y="337"/>
                      <a:pt x="352" y="336"/>
                      <a:pt x="351" y="336"/>
                    </a:cubicBezTo>
                    <a:cubicBezTo>
                      <a:pt x="351" y="337"/>
                      <a:pt x="352" y="337"/>
                      <a:pt x="352" y="338"/>
                    </a:cubicBezTo>
                    <a:cubicBezTo>
                      <a:pt x="353" y="338"/>
                      <a:pt x="353" y="338"/>
                      <a:pt x="352" y="339"/>
                    </a:cubicBezTo>
                    <a:cubicBezTo>
                      <a:pt x="352" y="340"/>
                      <a:pt x="352" y="340"/>
                      <a:pt x="352" y="340"/>
                    </a:cubicBezTo>
                    <a:cubicBezTo>
                      <a:pt x="353" y="341"/>
                      <a:pt x="353" y="340"/>
                      <a:pt x="352" y="341"/>
                    </a:cubicBezTo>
                    <a:cubicBezTo>
                      <a:pt x="352" y="341"/>
                      <a:pt x="352" y="341"/>
                      <a:pt x="353" y="341"/>
                    </a:cubicBezTo>
                    <a:cubicBezTo>
                      <a:pt x="353" y="342"/>
                      <a:pt x="354" y="342"/>
                      <a:pt x="354" y="343"/>
                    </a:cubicBezTo>
                    <a:cubicBezTo>
                      <a:pt x="355" y="344"/>
                      <a:pt x="354" y="344"/>
                      <a:pt x="355" y="345"/>
                    </a:cubicBezTo>
                    <a:cubicBezTo>
                      <a:pt x="355" y="345"/>
                      <a:pt x="354" y="345"/>
                      <a:pt x="354" y="345"/>
                    </a:cubicBezTo>
                    <a:cubicBezTo>
                      <a:pt x="354" y="346"/>
                      <a:pt x="355" y="346"/>
                      <a:pt x="355" y="346"/>
                    </a:cubicBezTo>
                    <a:cubicBezTo>
                      <a:pt x="356" y="346"/>
                      <a:pt x="357" y="347"/>
                      <a:pt x="357" y="348"/>
                    </a:cubicBezTo>
                    <a:cubicBezTo>
                      <a:pt x="358" y="349"/>
                      <a:pt x="359" y="349"/>
                      <a:pt x="359" y="349"/>
                    </a:cubicBezTo>
                    <a:cubicBezTo>
                      <a:pt x="360" y="350"/>
                      <a:pt x="361" y="350"/>
                      <a:pt x="361" y="351"/>
                    </a:cubicBezTo>
                    <a:cubicBezTo>
                      <a:pt x="361" y="351"/>
                      <a:pt x="361" y="351"/>
                      <a:pt x="361" y="351"/>
                    </a:cubicBezTo>
                    <a:cubicBezTo>
                      <a:pt x="361" y="351"/>
                      <a:pt x="362" y="351"/>
                      <a:pt x="362" y="351"/>
                    </a:cubicBezTo>
                    <a:cubicBezTo>
                      <a:pt x="362" y="351"/>
                      <a:pt x="362" y="351"/>
                      <a:pt x="362" y="351"/>
                    </a:cubicBezTo>
                    <a:cubicBezTo>
                      <a:pt x="363" y="350"/>
                      <a:pt x="363" y="351"/>
                      <a:pt x="363" y="351"/>
                    </a:cubicBezTo>
                    <a:cubicBezTo>
                      <a:pt x="363" y="352"/>
                      <a:pt x="364" y="351"/>
                      <a:pt x="364" y="351"/>
                    </a:cubicBezTo>
                    <a:cubicBezTo>
                      <a:pt x="364" y="351"/>
                      <a:pt x="364" y="350"/>
                      <a:pt x="363" y="350"/>
                    </a:cubicBezTo>
                    <a:cubicBezTo>
                      <a:pt x="363" y="349"/>
                      <a:pt x="363" y="349"/>
                      <a:pt x="363" y="348"/>
                    </a:cubicBezTo>
                    <a:cubicBezTo>
                      <a:pt x="363" y="347"/>
                      <a:pt x="363" y="347"/>
                      <a:pt x="362" y="346"/>
                    </a:cubicBezTo>
                    <a:cubicBezTo>
                      <a:pt x="362" y="346"/>
                      <a:pt x="362" y="345"/>
                      <a:pt x="361" y="345"/>
                    </a:cubicBezTo>
                    <a:cubicBezTo>
                      <a:pt x="361" y="344"/>
                      <a:pt x="361" y="344"/>
                      <a:pt x="361" y="343"/>
                    </a:cubicBezTo>
                    <a:cubicBezTo>
                      <a:pt x="361" y="342"/>
                      <a:pt x="361" y="343"/>
                      <a:pt x="361" y="342"/>
                    </a:cubicBezTo>
                    <a:cubicBezTo>
                      <a:pt x="360" y="341"/>
                      <a:pt x="361" y="342"/>
                      <a:pt x="361" y="341"/>
                    </a:cubicBezTo>
                    <a:cubicBezTo>
                      <a:pt x="361" y="341"/>
                      <a:pt x="361" y="341"/>
                      <a:pt x="361" y="340"/>
                    </a:cubicBezTo>
                    <a:cubicBezTo>
                      <a:pt x="361" y="340"/>
                      <a:pt x="361" y="340"/>
                      <a:pt x="361" y="339"/>
                    </a:cubicBezTo>
                    <a:cubicBezTo>
                      <a:pt x="361" y="337"/>
                      <a:pt x="361" y="337"/>
                      <a:pt x="361" y="336"/>
                    </a:cubicBezTo>
                    <a:cubicBezTo>
                      <a:pt x="360" y="335"/>
                      <a:pt x="359" y="335"/>
                      <a:pt x="359" y="335"/>
                    </a:cubicBezTo>
                    <a:cubicBezTo>
                      <a:pt x="358" y="334"/>
                      <a:pt x="358" y="334"/>
                      <a:pt x="358" y="333"/>
                    </a:cubicBezTo>
                    <a:cubicBezTo>
                      <a:pt x="358" y="332"/>
                      <a:pt x="357" y="332"/>
                      <a:pt x="357" y="332"/>
                    </a:cubicBezTo>
                    <a:cubicBezTo>
                      <a:pt x="357" y="332"/>
                      <a:pt x="357" y="332"/>
                      <a:pt x="357" y="332"/>
                    </a:cubicBezTo>
                    <a:cubicBezTo>
                      <a:pt x="357" y="332"/>
                      <a:pt x="357" y="332"/>
                      <a:pt x="357" y="332"/>
                    </a:cubicBezTo>
                    <a:cubicBezTo>
                      <a:pt x="356" y="331"/>
                      <a:pt x="355" y="331"/>
                      <a:pt x="355" y="330"/>
                    </a:cubicBezTo>
                    <a:cubicBezTo>
                      <a:pt x="355" y="330"/>
                      <a:pt x="355" y="329"/>
                      <a:pt x="355" y="329"/>
                    </a:cubicBezTo>
                    <a:cubicBezTo>
                      <a:pt x="355" y="330"/>
                      <a:pt x="354" y="330"/>
                      <a:pt x="353" y="330"/>
                    </a:cubicBezTo>
                    <a:cubicBezTo>
                      <a:pt x="352" y="330"/>
                      <a:pt x="352" y="329"/>
                      <a:pt x="352" y="329"/>
                    </a:cubicBezTo>
                    <a:cubicBezTo>
                      <a:pt x="352" y="328"/>
                      <a:pt x="352" y="328"/>
                      <a:pt x="352" y="326"/>
                    </a:cubicBezTo>
                    <a:cubicBezTo>
                      <a:pt x="352" y="325"/>
                      <a:pt x="351" y="326"/>
                      <a:pt x="351" y="325"/>
                    </a:cubicBezTo>
                    <a:cubicBezTo>
                      <a:pt x="351" y="323"/>
                      <a:pt x="351" y="324"/>
                      <a:pt x="351" y="323"/>
                    </a:cubicBezTo>
                    <a:cubicBezTo>
                      <a:pt x="351" y="323"/>
                      <a:pt x="351" y="324"/>
                      <a:pt x="351" y="324"/>
                    </a:cubicBezTo>
                    <a:cubicBezTo>
                      <a:pt x="350" y="323"/>
                      <a:pt x="350" y="323"/>
                      <a:pt x="350" y="323"/>
                    </a:cubicBezTo>
                    <a:cubicBezTo>
                      <a:pt x="350" y="323"/>
                      <a:pt x="350" y="321"/>
                      <a:pt x="350" y="320"/>
                    </a:cubicBezTo>
                    <a:cubicBezTo>
                      <a:pt x="349" y="319"/>
                      <a:pt x="349" y="320"/>
                      <a:pt x="348" y="320"/>
                    </a:cubicBezTo>
                    <a:cubicBezTo>
                      <a:pt x="348" y="320"/>
                      <a:pt x="348" y="320"/>
                      <a:pt x="348" y="320"/>
                    </a:cubicBezTo>
                    <a:cubicBezTo>
                      <a:pt x="348" y="320"/>
                      <a:pt x="348" y="320"/>
                      <a:pt x="348" y="320"/>
                    </a:cubicBezTo>
                    <a:cubicBezTo>
                      <a:pt x="348" y="319"/>
                      <a:pt x="348" y="319"/>
                      <a:pt x="348" y="319"/>
                    </a:cubicBezTo>
                    <a:cubicBezTo>
                      <a:pt x="347" y="318"/>
                      <a:pt x="347" y="318"/>
                      <a:pt x="347" y="318"/>
                    </a:cubicBezTo>
                    <a:cubicBezTo>
                      <a:pt x="347" y="316"/>
                      <a:pt x="347" y="316"/>
                      <a:pt x="347" y="316"/>
                    </a:cubicBezTo>
                    <a:cubicBezTo>
                      <a:pt x="347" y="316"/>
                      <a:pt x="348" y="316"/>
                      <a:pt x="348" y="316"/>
                    </a:cubicBezTo>
                    <a:cubicBezTo>
                      <a:pt x="348" y="315"/>
                      <a:pt x="348" y="315"/>
                      <a:pt x="348" y="315"/>
                    </a:cubicBezTo>
                    <a:cubicBezTo>
                      <a:pt x="348" y="315"/>
                      <a:pt x="348" y="314"/>
                      <a:pt x="349" y="314"/>
                    </a:cubicBezTo>
                    <a:cubicBezTo>
                      <a:pt x="349" y="314"/>
                      <a:pt x="349" y="313"/>
                      <a:pt x="348" y="313"/>
                    </a:cubicBezTo>
                    <a:cubicBezTo>
                      <a:pt x="348" y="313"/>
                      <a:pt x="348" y="313"/>
                      <a:pt x="348" y="313"/>
                    </a:cubicBezTo>
                    <a:cubicBezTo>
                      <a:pt x="349" y="312"/>
                      <a:pt x="349" y="311"/>
                      <a:pt x="349" y="310"/>
                    </a:cubicBezTo>
                    <a:cubicBezTo>
                      <a:pt x="349" y="310"/>
                      <a:pt x="349" y="310"/>
                      <a:pt x="349" y="310"/>
                    </a:cubicBezTo>
                    <a:cubicBezTo>
                      <a:pt x="349" y="310"/>
                      <a:pt x="350" y="308"/>
                      <a:pt x="350" y="308"/>
                    </a:cubicBezTo>
                    <a:cubicBezTo>
                      <a:pt x="350" y="308"/>
                      <a:pt x="350" y="308"/>
                      <a:pt x="350" y="307"/>
                    </a:cubicBezTo>
                    <a:cubicBezTo>
                      <a:pt x="350" y="306"/>
                      <a:pt x="350" y="306"/>
                      <a:pt x="350" y="306"/>
                    </a:cubicBezTo>
                    <a:cubicBezTo>
                      <a:pt x="350" y="306"/>
                      <a:pt x="350" y="306"/>
                      <a:pt x="350" y="306"/>
                    </a:cubicBezTo>
                    <a:cubicBezTo>
                      <a:pt x="351" y="305"/>
                      <a:pt x="351" y="305"/>
                      <a:pt x="351" y="305"/>
                    </a:cubicBezTo>
                    <a:cubicBezTo>
                      <a:pt x="351" y="305"/>
                      <a:pt x="350" y="305"/>
                      <a:pt x="350" y="305"/>
                    </a:cubicBezTo>
                    <a:cubicBezTo>
                      <a:pt x="350" y="305"/>
                      <a:pt x="350" y="304"/>
                      <a:pt x="350" y="304"/>
                    </a:cubicBezTo>
                    <a:cubicBezTo>
                      <a:pt x="350" y="304"/>
                      <a:pt x="351" y="304"/>
                      <a:pt x="351" y="304"/>
                    </a:cubicBezTo>
                    <a:cubicBezTo>
                      <a:pt x="351" y="304"/>
                      <a:pt x="351" y="304"/>
                      <a:pt x="351" y="304"/>
                    </a:cubicBezTo>
                    <a:cubicBezTo>
                      <a:pt x="351" y="303"/>
                      <a:pt x="351" y="303"/>
                      <a:pt x="351" y="303"/>
                    </a:cubicBezTo>
                    <a:cubicBezTo>
                      <a:pt x="352" y="303"/>
                      <a:pt x="353" y="304"/>
                      <a:pt x="353" y="304"/>
                    </a:cubicBezTo>
                    <a:cubicBezTo>
                      <a:pt x="354" y="304"/>
                      <a:pt x="354" y="304"/>
                      <a:pt x="354" y="304"/>
                    </a:cubicBezTo>
                    <a:cubicBezTo>
                      <a:pt x="354" y="304"/>
                      <a:pt x="354" y="304"/>
                      <a:pt x="354" y="304"/>
                    </a:cubicBezTo>
                    <a:cubicBezTo>
                      <a:pt x="354" y="304"/>
                      <a:pt x="353" y="305"/>
                      <a:pt x="353" y="306"/>
                    </a:cubicBezTo>
                    <a:cubicBezTo>
                      <a:pt x="353" y="306"/>
                      <a:pt x="353" y="306"/>
                      <a:pt x="353" y="306"/>
                    </a:cubicBezTo>
                    <a:cubicBezTo>
                      <a:pt x="353" y="306"/>
                      <a:pt x="353" y="306"/>
                      <a:pt x="353" y="306"/>
                    </a:cubicBezTo>
                    <a:cubicBezTo>
                      <a:pt x="353" y="306"/>
                      <a:pt x="353" y="307"/>
                      <a:pt x="353" y="307"/>
                    </a:cubicBezTo>
                    <a:cubicBezTo>
                      <a:pt x="353" y="307"/>
                      <a:pt x="353" y="307"/>
                      <a:pt x="353" y="307"/>
                    </a:cubicBezTo>
                    <a:cubicBezTo>
                      <a:pt x="354" y="307"/>
                      <a:pt x="354" y="307"/>
                      <a:pt x="355" y="307"/>
                    </a:cubicBezTo>
                    <a:cubicBezTo>
                      <a:pt x="355" y="307"/>
                      <a:pt x="355" y="307"/>
                      <a:pt x="355" y="307"/>
                    </a:cubicBezTo>
                    <a:cubicBezTo>
                      <a:pt x="355" y="307"/>
                      <a:pt x="356" y="307"/>
                      <a:pt x="356" y="307"/>
                    </a:cubicBezTo>
                    <a:cubicBezTo>
                      <a:pt x="356" y="307"/>
                      <a:pt x="356" y="307"/>
                      <a:pt x="356" y="307"/>
                    </a:cubicBezTo>
                    <a:cubicBezTo>
                      <a:pt x="356" y="307"/>
                      <a:pt x="357" y="308"/>
                      <a:pt x="357" y="308"/>
                    </a:cubicBezTo>
                    <a:cubicBezTo>
                      <a:pt x="357" y="308"/>
                      <a:pt x="358" y="308"/>
                      <a:pt x="358" y="308"/>
                    </a:cubicBezTo>
                    <a:cubicBezTo>
                      <a:pt x="358" y="309"/>
                      <a:pt x="358" y="309"/>
                      <a:pt x="358" y="309"/>
                    </a:cubicBezTo>
                    <a:cubicBezTo>
                      <a:pt x="358" y="309"/>
                      <a:pt x="358" y="309"/>
                      <a:pt x="358" y="309"/>
                    </a:cubicBezTo>
                    <a:cubicBezTo>
                      <a:pt x="358" y="309"/>
                      <a:pt x="358" y="309"/>
                      <a:pt x="358" y="309"/>
                    </a:cubicBezTo>
                    <a:cubicBezTo>
                      <a:pt x="358" y="309"/>
                      <a:pt x="358" y="309"/>
                      <a:pt x="358" y="309"/>
                    </a:cubicBezTo>
                    <a:cubicBezTo>
                      <a:pt x="358" y="309"/>
                      <a:pt x="358" y="309"/>
                      <a:pt x="358" y="309"/>
                    </a:cubicBezTo>
                    <a:cubicBezTo>
                      <a:pt x="359" y="309"/>
                      <a:pt x="359" y="309"/>
                      <a:pt x="359" y="310"/>
                    </a:cubicBezTo>
                    <a:cubicBezTo>
                      <a:pt x="359" y="310"/>
                      <a:pt x="359" y="310"/>
                      <a:pt x="359" y="310"/>
                    </a:cubicBezTo>
                    <a:cubicBezTo>
                      <a:pt x="359" y="311"/>
                      <a:pt x="359" y="311"/>
                      <a:pt x="359" y="311"/>
                    </a:cubicBezTo>
                    <a:cubicBezTo>
                      <a:pt x="360" y="311"/>
                      <a:pt x="360" y="312"/>
                      <a:pt x="360" y="312"/>
                    </a:cubicBezTo>
                    <a:cubicBezTo>
                      <a:pt x="360" y="312"/>
                      <a:pt x="360" y="313"/>
                      <a:pt x="360" y="313"/>
                    </a:cubicBezTo>
                    <a:cubicBezTo>
                      <a:pt x="360" y="313"/>
                      <a:pt x="360" y="314"/>
                      <a:pt x="361" y="314"/>
                    </a:cubicBezTo>
                    <a:cubicBezTo>
                      <a:pt x="361" y="314"/>
                      <a:pt x="361" y="314"/>
                      <a:pt x="361" y="314"/>
                    </a:cubicBezTo>
                    <a:cubicBezTo>
                      <a:pt x="361" y="314"/>
                      <a:pt x="361" y="313"/>
                      <a:pt x="361" y="313"/>
                    </a:cubicBezTo>
                    <a:cubicBezTo>
                      <a:pt x="361" y="312"/>
                      <a:pt x="361" y="312"/>
                      <a:pt x="361" y="312"/>
                    </a:cubicBezTo>
                    <a:cubicBezTo>
                      <a:pt x="361" y="312"/>
                      <a:pt x="362" y="313"/>
                      <a:pt x="362" y="313"/>
                    </a:cubicBezTo>
                    <a:cubicBezTo>
                      <a:pt x="362" y="313"/>
                      <a:pt x="362" y="313"/>
                      <a:pt x="362" y="313"/>
                    </a:cubicBezTo>
                    <a:cubicBezTo>
                      <a:pt x="362" y="313"/>
                      <a:pt x="362" y="314"/>
                      <a:pt x="361" y="314"/>
                    </a:cubicBezTo>
                    <a:cubicBezTo>
                      <a:pt x="361" y="314"/>
                      <a:pt x="361" y="315"/>
                      <a:pt x="361" y="315"/>
                    </a:cubicBezTo>
                    <a:cubicBezTo>
                      <a:pt x="361" y="315"/>
                      <a:pt x="361" y="315"/>
                      <a:pt x="361" y="315"/>
                    </a:cubicBezTo>
                    <a:cubicBezTo>
                      <a:pt x="362" y="315"/>
                      <a:pt x="362" y="315"/>
                      <a:pt x="362" y="315"/>
                    </a:cubicBezTo>
                    <a:cubicBezTo>
                      <a:pt x="362" y="315"/>
                      <a:pt x="362" y="315"/>
                      <a:pt x="362" y="315"/>
                    </a:cubicBezTo>
                    <a:cubicBezTo>
                      <a:pt x="363" y="315"/>
                      <a:pt x="363" y="315"/>
                      <a:pt x="363" y="315"/>
                    </a:cubicBezTo>
                    <a:cubicBezTo>
                      <a:pt x="363" y="315"/>
                      <a:pt x="363" y="315"/>
                      <a:pt x="363" y="315"/>
                    </a:cubicBezTo>
                    <a:cubicBezTo>
                      <a:pt x="363" y="315"/>
                      <a:pt x="363" y="315"/>
                      <a:pt x="364" y="315"/>
                    </a:cubicBezTo>
                    <a:cubicBezTo>
                      <a:pt x="364" y="315"/>
                      <a:pt x="364" y="315"/>
                      <a:pt x="364" y="315"/>
                    </a:cubicBezTo>
                    <a:cubicBezTo>
                      <a:pt x="364" y="315"/>
                      <a:pt x="364" y="315"/>
                      <a:pt x="364" y="315"/>
                    </a:cubicBezTo>
                    <a:cubicBezTo>
                      <a:pt x="364" y="315"/>
                      <a:pt x="364" y="316"/>
                      <a:pt x="364" y="316"/>
                    </a:cubicBezTo>
                    <a:cubicBezTo>
                      <a:pt x="365" y="315"/>
                      <a:pt x="365" y="315"/>
                      <a:pt x="365" y="315"/>
                    </a:cubicBezTo>
                    <a:cubicBezTo>
                      <a:pt x="364" y="316"/>
                      <a:pt x="364" y="316"/>
                      <a:pt x="364" y="316"/>
                    </a:cubicBezTo>
                    <a:cubicBezTo>
                      <a:pt x="364" y="316"/>
                      <a:pt x="365" y="316"/>
                      <a:pt x="365" y="316"/>
                    </a:cubicBezTo>
                    <a:cubicBezTo>
                      <a:pt x="365" y="317"/>
                      <a:pt x="365" y="317"/>
                      <a:pt x="365" y="316"/>
                    </a:cubicBezTo>
                    <a:cubicBezTo>
                      <a:pt x="365" y="316"/>
                      <a:pt x="365" y="316"/>
                      <a:pt x="366" y="316"/>
                    </a:cubicBezTo>
                    <a:cubicBezTo>
                      <a:pt x="366" y="317"/>
                      <a:pt x="366" y="317"/>
                      <a:pt x="366" y="317"/>
                    </a:cubicBezTo>
                    <a:cubicBezTo>
                      <a:pt x="366" y="317"/>
                      <a:pt x="366" y="318"/>
                      <a:pt x="366" y="318"/>
                    </a:cubicBezTo>
                    <a:cubicBezTo>
                      <a:pt x="366" y="318"/>
                      <a:pt x="366" y="318"/>
                      <a:pt x="366" y="318"/>
                    </a:cubicBezTo>
                    <a:cubicBezTo>
                      <a:pt x="366" y="318"/>
                      <a:pt x="366" y="318"/>
                      <a:pt x="366" y="318"/>
                    </a:cubicBezTo>
                    <a:cubicBezTo>
                      <a:pt x="366" y="319"/>
                      <a:pt x="366" y="320"/>
                      <a:pt x="366" y="321"/>
                    </a:cubicBezTo>
                    <a:cubicBezTo>
                      <a:pt x="366" y="322"/>
                      <a:pt x="365" y="322"/>
                      <a:pt x="365" y="323"/>
                    </a:cubicBezTo>
                    <a:cubicBezTo>
                      <a:pt x="365" y="323"/>
                      <a:pt x="365" y="323"/>
                      <a:pt x="365" y="323"/>
                    </a:cubicBezTo>
                    <a:cubicBezTo>
                      <a:pt x="366" y="323"/>
                      <a:pt x="366" y="323"/>
                      <a:pt x="366" y="323"/>
                    </a:cubicBezTo>
                    <a:cubicBezTo>
                      <a:pt x="367" y="323"/>
                      <a:pt x="367" y="322"/>
                      <a:pt x="367" y="322"/>
                    </a:cubicBezTo>
                    <a:cubicBezTo>
                      <a:pt x="367" y="322"/>
                      <a:pt x="367" y="322"/>
                      <a:pt x="367" y="322"/>
                    </a:cubicBezTo>
                    <a:cubicBezTo>
                      <a:pt x="367" y="321"/>
                      <a:pt x="368" y="321"/>
                      <a:pt x="368" y="320"/>
                    </a:cubicBezTo>
                    <a:cubicBezTo>
                      <a:pt x="368" y="320"/>
                      <a:pt x="369" y="320"/>
                      <a:pt x="369" y="320"/>
                    </a:cubicBezTo>
                    <a:cubicBezTo>
                      <a:pt x="369" y="320"/>
                      <a:pt x="369" y="320"/>
                      <a:pt x="369" y="320"/>
                    </a:cubicBezTo>
                    <a:cubicBezTo>
                      <a:pt x="369" y="320"/>
                      <a:pt x="369" y="320"/>
                      <a:pt x="369" y="320"/>
                    </a:cubicBezTo>
                    <a:cubicBezTo>
                      <a:pt x="369" y="320"/>
                      <a:pt x="369" y="320"/>
                      <a:pt x="369" y="320"/>
                    </a:cubicBezTo>
                    <a:cubicBezTo>
                      <a:pt x="369" y="319"/>
                      <a:pt x="369" y="318"/>
                      <a:pt x="369" y="318"/>
                    </a:cubicBezTo>
                    <a:cubicBezTo>
                      <a:pt x="369" y="318"/>
                      <a:pt x="369" y="318"/>
                      <a:pt x="369" y="318"/>
                    </a:cubicBezTo>
                    <a:cubicBezTo>
                      <a:pt x="369" y="317"/>
                      <a:pt x="369" y="317"/>
                      <a:pt x="369" y="317"/>
                    </a:cubicBezTo>
                    <a:cubicBezTo>
                      <a:pt x="369" y="317"/>
                      <a:pt x="369" y="317"/>
                      <a:pt x="370" y="318"/>
                    </a:cubicBezTo>
                    <a:cubicBezTo>
                      <a:pt x="370" y="318"/>
                      <a:pt x="371" y="318"/>
                      <a:pt x="371" y="318"/>
                    </a:cubicBezTo>
                    <a:cubicBezTo>
                      <a:pt x="371" y="318"/>
                      <a:pt x="371" y="318"/>
                      <a:pt x="371" y="318"/>
                    </a:cubicBezTo>
                    <a:cubicBezTo>
                      <a:pt x="371" y="318"/>
                      <a:pt x="371" y="317"/>
                      <a:pt x="370" y="316"/>
                    </a:cubicBezTo>
                    <a:cubicBezTo>
                      <a:pt x="369" y="315"/>
                      <a:pt x="371" y="316"/>
                      <a:pt x="371" y="316"/>
                    </a:cubicBezTo>
                    <a:cubicBezTo>
                      <a:pt x="371" y="316"/>
                      <a:pt x="371" y="316"/>
                      <a:pt x="371" y="316"/>
                    </a:cubicBezTo>
                    <a:cubicBezTo>
                      <a:pt x="371" y="316"/>
                      <a:pt x="372" y="316"/>
                      <a:pt x="372" y="316"/>
                    </a:cubicBezTo>
                    <a:cubicBezTo>
                      <a:pt x="372" y="316"/>
                      <a:pt x="372" y="316"/>
                      <a:pt x="372" y="316"/>
                    </a:cubicBezTo>
                    <a:cubicBezTo>
                      <a:pt x="371" y="316"/>
                      <a:pt x="371" y="316"/>
                      <a:pt x="371" y="316"/>
                    </a:cubicBezTo>
                    <a:cubicBezTo>
                      <a:pt x="371" y="315"/>
                      <a:pt x="372" y="315"/>
                      <a:pt x="372" y="315"/>
                    </a:cubicBezTo>
                    <a:cubicBezTo>
                      <a:pt x="372" y="315"/>
                      <a:pt x="372" y="315"/>
                      <a:pt x="372" y="315"/>
                    </a:cubicBezTo>
                    <a:cubicBezTo>
                      <a:pt x="372" y="314"/>
                      <a:pt x="372" y="315"/>
                      <a:pt x="373" y="316"/>
                    </a:cubicBezTo>
                    <a:cubicBezTo>
                      <a:pt x="374" y="317"/>
                      <a:pt x="373" y="316"/>
                      <a:pt x="374" y="316"/>
                    </a:cubicBezTo>
                    <a:cubicBezTo>
                      <a:pt x="374" y="316"/>
                      <a:pt x="374" y="316"/>
                      <a:pt x="374" y="316"/>
                    </a:cubicBezTo>
                    <a:cubicBezTo>
                      <a:pt x="374" y="316"/>
                      <a:pt x="375" y="316"/>
                      <a:pt x="375" y="315"/>
                    </a:cubicBezTo>
                    <a:cubicBezTo>
                      <a:pt x="375" y="315"/>
                      <a:pt x="376" y="315"/>
                      <a:pt x="376" y="314"/>
                    </a:cubicBezTo>
                    <a:cubicBezTo>
                      <a:pt x="377" y="314"/>
                      <a:pt x="377" y="314"/>
                      <a:pt x="377" y="314"/>
                    </a:cubicBezTo>
                    <a:cubicBezTo>
                      <a:pt x="377" y="313"/>
                      <a:pt x="378" y="313"/>
                      <a:pt x="378" y="313"/>
                    </a:cubicBezTo>
                    <a:cubicBezTo>
                      <a:pt x="378" y="313"/>
                      <a:pt x="379" y="311"/>
                      <a:pt x="379" y="311"/>
                    </a:cubicBezTo>
                    <a:cubicBezTo>
                      <a:pt x="379" y="311"/>
                      <a:pt x="380" y="311"/>
                      <a:pt x="380" y="310"/>
                    </a:cubicBezTo>
                    <a:cubicBezTo>
                      <a:pt x="381" y="310"/>
                      <a:pt x="380" y="309"/>
                      <a:pt x="380" y="309"/>
                    </a:cubicBezTo>
                    <a:cubicBezTo>
                      <a:pt x="380" y="309"/>
                      <a:pt x="380" y="309"/>
                      <a:pt x="380" y="309"/>
                    </a:cubicBezTo>
                    <a:cubicBezTo>
                      <a:pt x="380" y="309"/>
                      <a:pt x="380" y="309"/>
                      <a:pt x="380" y="308"/>
                    </a:cubicBezTo>
                    <a:cubicBezTo>
                      <a:pt x="380" y="308"/>
                      <a:pt x="380" y="308"/>
                      <a:pt x="380" y="308"/>
                    </a:cubicBezTo>
                    <a:cubicBezTo>
                      <a:pt x="380" y="308"/>
                      <a:pt x="380" y="308"/>
                      <a:pt x="380" y="307"/>
                    </a:cubicBezTo>
                    <a:cubicBezTo>
                      <a:pt x="380" y="307"/>
                      <a:pt x="380" y="307"/>
                      <a:pt x="380" y="307"/>
                    </a:cubicBezTo>
                    <a:cubicBezTo>
                      <a:pt x="380" y="307"/>
                      <a:pt x="380" y="307"/>
                      <a:pt x="380" y="307"/>
                    </a:cubicBezTo>
                    <a:cubicBezTo>
                      <a:pt x="380" y="307"/>
                      <a:pt x="380" y="307"/>
                      <a:pt x="380" y="307"/>
                    </a:cubicBezTo>
                    <a:cubicBezTo>
                      <a:pt x="380" y="307"/>
                      <a:pt x="380" y="306"/>
                      <a:pt x="380" y="306"/>
                    </a:cubicBezTo>
                    <a:cubicBezTo>
                      <a:pt x="380" y="306"/>
                      <a:pt x="380" y="306"/>
                      <a:pt x="380" y="306"/>
                    </a:cubicBezTo>
                    <a:cubicBezTo>
                      <a:pt x="380" y="305"/>
                      <a:pt x="380" y="305"/>
                      <a:pt x="380" y="305"/>
                    </a:cubicBezTo>
                    <a:cubicBezTo>
                      <a:pt x="380" y="305"/>
                      <a:pt x="380" y="304"/>
                      <a:pt x="380" y="304"/>
                    </a:cubicBezTo>
                    <a:cubicBezTo>
                      <a:pt x="380" y="303"/>
                      <a:pt x="380" y="300"/>
                      <a:pt x="380" y="300"/>
                    </a:cubicBezTo>
                    <a:cubicBezTo>
                      <a:pt x="380" y="300"/>
                      <a:pt x="379" y="300"/>
                      <a:pt x="379" y="299"/>
                    </a:cubicBezTo>
                    <a:cubicBezTo>
                      <a:pt x="379" y="297"/>
                      <a:pt x="379" y="298"/>
                      <a:pt x="379" y="297"/>
                    </a:cubicBezTo>
                    <a:cubicBezTo>
                      <a:pt x="379" y="297"/>
                      <a:pt x="379" y="297"/>
                      <a:pt x="379" y="297"/>
                    </a:cubicBezTo>
                    <a:cubicBezTo>
                      <a:pt x="379" y="297"/>
                      <a:pt x="379" y="297"/>
                      <a:pt x="379" y="297"/>
                    </a:cubicBezTo>
                    <a:cubicBezTo>
                      <a:pt x="379" y="297"/>
                      <a:pt x="379" y="296"/>
                      <a:pt x="379" y="296"/>
                    </a:cubicBezTo>
                    <a:cubicBezTo>
                      <a:pt x="378" y="296"/>
                      <a:pt x="378" y="296"/>
                      <a:pt x="378" y="296"/>
                    </a:cubicBezTo>
                    <a:cubicBezTo>
                      <a:pt x="378" y="296"/>
                      <a:pt x="378" y="296"/>
                      <a:pt x="377" y="296"/>
                    </a:cubicBezTo>
                    <a:cubicBezTo>
                      <a:pt x="377" y="295"/>
                      <a:pt x="377" y="295"/>
                      <a:pt x="377" y="295"/>
                    </a:cubicBezTo>
                    <a:cubicBezTo>
                      <a:pt x="376" y="294"/>
                      <a:pt x="377" y="294"/>
                      <a:pt x="377" y="294"/>
                    </a:cubicBezTo>
                    <a:cubicBezTo>
                      <a:pt x="377" y="293"/>
                      <a:pt x="377" y="294"/>
                      <a:pt x="377" y="293"/>
                    </a:cubicBezTo>
                    <a:cubicBezTo>
                      <a:pt x="377" y="293"/>
                      <a:pt x="377" y="293"/>
                      <a:pt x="376" y="293"/>
                    </a:cubicBezTo>
                    <a:cubicBezTo>
                      <a:pt x="376" y="293"/>
                      <a:pt x="376" y="293"/>
                      <a:pt x="376" y="293"/>
                    </a:cubicBezTo>
                    <a:cubicBezTo>
                      <a:pt x="376" y="293"/>
                      <a:pt x="376" y="292"/>
                      <a:pt x="375" y="293"/>
                    </a:cubicBezTo>
                    <a:cubicBezTo>
                      <a:pt x="375" y="293"/>
                      <a:pt x="375" y="293"/>
                      <a:pt x="375" y="292"/>
                    </a:cubicBezTo>
                    <a:cubicBezTo>
                      <a:pt x="374" y="292"/>
                      <a:pt x="374" y="291"/>
                      <a:pt x="374" y="291"/>
                    </a:cubicBezTo>
                    <a:cubicBezTo>
                      <a:pt x="374" y="291"/>
                      <a:pt x="373" y="291"/>
                      <a:pt x="373" y="291"/>
                    </a:cubicBezTo>
                    <a:cubicBezTo>
                      <a:pt x="373" y="290"/>
                      <a:pt x="373" y="290"/>
                      <a:pt x="373" y="290"/>
                    </a:cubicBezTo>
                    <a:cubicBezTo>
                      <a:pt x="373" y="289"/>
                      <a:pt x="373" y="289"/>
                      <a:pt x="372" y="289"/>
                    </a:cubicBezTo>
                    <a:cubicBezTo>
                      <a:pt x="371" y="289"/>
                      <a:pt x="371" y="289"/>
                      <a:pt x="371" y="289"/>
                    </a:cubicBezTo>
                    <a:cubicBezTo>
                      <a:pt x="371" y="288"/>
                      <a:pt x="371" y="287"/>
                      <a:pt x="371" y="287"/>
                    </a:cubicBezTo>
                    <a:cubicBezTo>
                      <a:pt x="371" y="286"/>
                      <a:pt x="371" y="286"/>
                      <a:pt x="371" y="286"/>
                    </a:cubicBezTo>
                    <a:cubicBezTo>
                      <a:pt x="371" y="286"/>
                      <a:pt x="371" y="286"/>
                      <a:pt x="370" y="286"/>
                    </a:cubicBezTo>
                    <a:cubicBezTo>
                      <a:pt x="370" y="286"/>
                      <a:pt x="370" y="285"/>
                      <a:pt x="369" y="284"/>
                    </a:cubicBezTo>
                    <a:cubicBezTo>
                      <a:pt x="369" y="284"/>
                      <a:pt x="369" y="284"/>
                      <a:pt x="369" y="284"/>
                    </a:cubicBezTo>
                    <a:cubicBezTo>
                      <a:pt x="369" y="283"/>
                      <a:pt x="368" y="282"/>
                      <a:pt x="369" y="282"/>
                    </a:cubicBezTo>
                    <a:cubicBezTo>
                      <a:pt x="369" y="282"/>
                      <a:pt x="369" y="281"/>
                      <a:pt x="369" y="280"/>
                    </a:cubicBezTo>
                    <a:cubicBezTo>
                      <a:pt x="369" y="280"/>
                      <a:pt x="369" y="280"/>
                      <a:pt x="369" y="280"/>
                    </a:cubicBezTo>
                    <a:cubicBezTo>
                      <a:pt x="369" y="280"/>
                      <a:pt x="369" y="280"/>
                      <a:pt x="369" y="280"/>
                    </a:cubicBezTo>
                    <a:cubicBezTo>
                      <a:pt x="369" y="280"/>
                      <a:pt x="369" y="280"/>
                      <a:pt x="369" y="280"/>
                    </a:cubicBezTo>
                    <a:cubicBezTo>
                      <a:pt x="369" y="279"/>
                      <a:pt x="369" y="279"/>
                      <a:pt x="369" y="279"/>
                    </a:cubicBezTo>
                    <a:cubicBezTo>
                      <a:pt x="369" y="279"/>
                      <a:pt x="370" y="278"/>
                      <a:pt x="370" y="278"/>
                    </a:cubicBezTo>
                    <a:cubicBezTo>
                      <a:pt x="370" y="278"/>
                      <a:pt x="370" y="278"/>
                      <a:pt x="370" y="278"/>
                    </a:cubicBezTo>
                    <a:cubicBezTo>
                      <a:pt x="370" y="278"/>
                      <a:pt x="371" y="277"/>
                      <a:pt x="371" y="277"/>
                    </a:cubicBezTo>
                    <a:cubicBezTo>
                      <a:pt x="371" y="277"/>
                      <a:pt x="371" y="276"/>
                      <a:pt x="371" y="276"/>
                    </a:cubicBezTo>
                    <a:cubicBezTo>
                      <a:pt x="371" y="276"/>
                      <a:pt x="371" y="276"/>
                      <a:pt x="371" y="276"/>
                    </a:cubicBezTo>
                    <a:cubicBezTo>
                      <a:pt x="372" y="275"/>
                      <a:pt x="372" y="275"/>
                      <a:pt x="372" y="275"/>
                    </a:cubicBezTo>
                    <a:cubicBezTo>
                      <a:pt x="372" y="275"/>
                      <a:pt x="372" y="275"/>
                      <a:pt x="372" y="274"/>
                    </a:cubicBezTo>
                    <a:cubicBezTo>
                      <a:pt x="372" y="274"/>
                      <a:pt x="372" y="274"/>
                      <a:pt x="372" y="274"/>
                    </a:cubicBezTo>
                    <a:cubicBezTo>
                      <a:pt x="373" y="274"/>
                      <a:pt x="373" y="274"/>
                      <a:pt x="373" y="274"/>
                    </a:cubicBezTo>
                    <a:cubicBezTo>
                      <a:pt x="373" y="275"/>
                      <a:pt x="373" y="275"/>
                      <a:pt x="373" y="275"/>
                    </a:cubicBezTo>
                    <a:cubicBezTo>
                      <a:pt x="373" y="274"/>
                      <a:pt x="374" y="274"/>
                      <a:pt x="374" y="273"/>
                    </a:cubicBezTo>
                    <a:cubicBezTo>
                      <a:pt x="374" y="273"/>
                      <a:pt x="374" y="273"/>
                      <a:pt x="374" y="273"/>
                    </a:cubicBezTo>
                    <a:cubicBezTo>
                      <a:pt x="374" y="273"/>
                      <a:pt x="374" y="273"/>
                      <a:pt x="374" y="273"/>
                    </a:cubicBezTo>
                    <a:cubicBezTo>
                      <a:pt x="374" y="273"/>
                      <a:pt x="374" y="273"/>
                      <a:pt x="375" y="273"/>
                    </a:cubicBezTo>
                    <a:cubicBezTo>
                      <a:pt x="375" y="272"/>
                      <a:pt x="375" y="272"/>
                      <a:pt x="375" y="272"/>
                    </a:cubicBezTo>
                    <a:cubicBezTo>
                      <a:pt x="372" y="271"/>
                      <a:pt x="372" y="271"/>
                      <a:pt x="372" y="271"/>
                    </a:cubicBezTo>
                    <a:cubicBezTo>
                      <a:pt x="373" y="270"/>
                      <a:pt x="373" y="270"/>
                      <a:pt x="373" y="270"/>
                    </a:cubicBezTo>
                    <a:cubicBezTo>
                      <a:pt x="371" y="269"/>
                      <a:pt x="371" y="269"/>
                      <a:pt x="371" y="269"/>
                    </a:cubicBezTo>
                    <a:cubicBezTo>
                      <a:pt x="372" y="267"/>
                      <a:pt x="372" y="267"/>
                      <a:pt x="372" y="267"/>
                    </a:cubicBezTo>
                    <a:cubicBezTo>
                      <a:pt x="369" y="266"/>
                      <a:pt x="369" y="266"/>
                      <a:pt x="369" y="266"/>
                    </a:cubicBezTo>
                    <a:cubicBezTo>
                      <a:pt x="368" y="265"/>
                      <a:pt x="368" y="265"/>
                      <a:pt x="368" y="265"/>
                    </a:cubicBezTo>
                    <a:cubicBezTo>
                      <a:pt x="369" y="266"/>
                      <a:pt x="369" y="266"/>
                      <a:pt x="369" y="266"/>
                    </a:cubicBezTo>
                    <a:cubicBezTo>
                      <a:pt x="372" y="267"/>
                      <a:pt x="372" y="267"/>
                      <a:pt x="372" y="267"/>
                    </a:cubicBezTo>
                    <a:cubicBezTo>
                      <a:pt x="371" y="269"/>
                      <a:pt x="371" y="269"/>
                      <a:pt x="371" y="269"/>
                    </a:cubicBezTo>
                    <a:cubicBezTo>
                      <a:pt x="373" y="270"/>
                      <a:pt x="373" y="270"/>
                      <a:pt x="373" y="270"/>
                    </a:cubicBezTo>
                    <a:cubicBezTo>
                      <a:pt x="372" y="271"/>
                      <a:pt x="372" y="271"/>
                      <a:pt x="372" y="271"/>
                    </a:cubicBezTo>
                    <a:cubicBezTo>
                      <a:pt x="375" y="272"/>
                      <a:pt x="375" y="272"/>
                      <a:pt x="375" y="272"/>
                    </a:cubicBezTo>
                    <a:cubicBezTo>
                      <a:pt x="376" y="272"/>
                      <a:pt x="376" y="272"/>
                      <a:pt x="376" y="272"/>
                    </a:cubicBezTo>
                    <a:cubicBezTo>
                      <a:pt x="376" y="272"/>
                      <a:pt x="376" y="272"/>
                      <a:pt x="376" y="272"/>
                    </a:cubicBezTo>
                    <a:cubicBezTo>
                      <a:pt x="376" y="272"/>
                      <a:pt x="377" y="271"/>
                      <a:pt x="377" y="271"/>
                    </a:cubicBezTo>
                    <a:cubicBezTo>
                      <a:pt x="377" y="271"/>
                      <a:pt x="377" y="271"/>
                      <a:pt x="377" y="271"/>
                    </a:cubicBezTo>
                    <a:cubicBezTo>
                      <a:pt x="377" y="271"/>
                      <a:pt x="377" y="271"/>
                      <a:pt x="378" y="271"/>
                    </a:cubicBezTo>
                    <a:cubicBezTo>
                      <a:pt x="378" y="272"/>
                      <a:pt x="378" y="272"/>
                      <a:pt x="378" y="272"/>
                    </a:cubicBezTo>
                    <a:cubicBezTo>
                      <a:pt x="379" y="272"/>
                      <a:pt x="379" y="272"/>
                      <a:pt x="379" y="272"/>
                    </a:cubicBezTo>
                    <a:cubicBezTo>
                      <a:pt x="379" y="272"/>
                      <a:pt x="379" y="272"/>
                      <a:pt x="379" y="272"/>
                    </a:cubicBezTo>
                    <a:cubicBezTo>
                      <a:pt x="379" y="272"/>
                      <a:pt x="379" y="272"/>
                      <a:pt x="379" y="272"/>
                    </a:cubicBezTo>
                    <a:cubicBezTo>
                      <a:pt x="379" y="272"/>
                      <a:pt x="380" y="272"/>
                      <a:pt x="380" y="272"/>
                    </a:cubicBezTo>
                    <a:cubicBezTo>
                      <a:pt x="380" y="272"/>
                      <a:pt x="380" y="272"/>
                      <a:pt x="380" y="272"/>
                    </a:cubicBezTo>
                    <a:cubicBezTo>
                      <a:pt x="381" y="271"/>
                      <a:pt x="381" y="271"/>
                      <a:pt x="381" y="271"/>
                    </a:cubicBezTo>
                    <a:cubicBezTo>
                      <a:pt x="381" y="272"/>
                      <a:pt x="382" y="272"/>
                      <a:pt x="382" y="272"/>
                    </a:cubicBezTo>
                    <a:cubicBezTo>
                      <a:pt x="382" y="272"/>
                      <a:pt x="382" y="272"/>
                      <a:pt x="382" y="272"/>
                    </a:cubicBezTo>
                    <a:cubicBezTo>
                      <a:pt x="382" y="273"/>
                      <a:pt x="382" y="273"/>
                      <a:pt x="382" y="273"/>
                    </a:cubicBezTo>
                    <a:cubicBezTo>
                      <a:pt x="382" y="273"/>
                      <a:pt x="382" y="273"/>
                      <a:pt x="382" y="273"/>
                    </a:cubicBezTo>
                    <a:cubicBezTo>
                      <a:pt x="381" y="273"/>
                      <a:pt x="381" y="273"/>
                      <a:pt x="381" y="273"/>
                    </a:cubicBezTo>
                    <a:cubicBezTo>
                      <a:pt x="381" y="273"/>
                      <a:pt x="381" y="274"/>
                      <a:pt x="381" y="274"/>
                    </a:cubicBezTo>
                    <a:cubicBezTo>
                      <a:pt x="381" y="274"/>
                      <a:pt x="381" y="274"/>
                      <a:pt x="381" y="274"/>
                    </a:cubicBezTo>
                    <a:cubicBezTo>
                      <a:pt x="381" y="274"/>
                      <a:pt x="381" y="274"/>
                      <a:pt x="381" y="274"/>
                    </a:cubicBezTo>
                    <a:cubicBezTo>
                      <a:pt x="381" y="275"/>
                      <a:pt x="381" y="275"/>
                      <a:pt x="381" y="275"/>
                    </a:cubicBezTo>
                    <a:cubicBezTo>
                      <a:pt x="381" y="275"/>
                      <a:pt x="381" y="275"/>
                      <a:pt x="381" y="275"/>
                    </a:cubicBezTo>
                    <a:cubicBezTo>
                      <a:pt x="381" y="276"/>
                      <a:pt x="382" y="276"/>
                      <a:pt x="382" y="276"/>
                    </a:cubicBezTo>
                    <a:cubicBezTo>
                      <a:pt x="382" y="276"/>
                      <a:pt x="382" y="276"/>
                      <a:pt x="382" y="276"/>
                    </a:cubicBezTo>
                    <a:cubicBezTo>
                      <a:pt x="382" y="277"/>
                      <a:pt x="382" y="277"/>
                      <a:pt x="383" y="277"/>
                    </a:cubicBezTo>
                    <a:cubicBezTo>
                      <a:pt x="383" y="277"/>
                      <a:pt x="384" y="277"/>
                      <a:pt x="384" y="277"/>
                    </a:cubicBezTo>
                    <a:cubicBezTo>
                      <a:pt x="384" y="276"/>
                      <a:pt x="384" y="276"/>
                      <a:pt x="384" y="276"/>
                    </a:cubicBezTo>
                    <a:cubicBezTo>
                      <a:pt x="384" y="275"/>
                      <a:pt x="384" y="275"/>
                      <a:pt x="384" y="275"/>
                    </a:cubicBezTo>
                    <a:cubicBezTo>
                      <a:pt x="384" y="276"/>
                      <a:pt x="384" y="276"/>
                      <a:pt x="383" y="276"/>
                    </a:cubicBezTo>
                    <a:cubicBezTo>
                      <a:pt x="383" y="276"/>
                      <a:pt x="383" y="275"/>
                      <a:pt x="383" y="275"/>
                    </a:cubicBezTo>
                    <a:cubicBezTo>
                      <a:pt x="383" y="275"/>
                      <a:pt x="383" y="275"/>
                      <a:pt x="383" y="275"/>
                    </a:cubicBezTo>
                    <a:cubicBezTo>
                      <a:pt x="383" y="275"/>
                      <a:pt x="383" y="275"/>
                      <a:pt x="383" y="275"/>
                    </a:cubicBezTo>
                    <a:cubicBezTo>
                      <a:pt x="383" y="274"/>
                      <a:pt x="383" y="274"/>
                      <a:pt x="383" y="274"/>
                    </a:cubicBezTo>
                    <a:cubicBezTo>
                      <a:pt x="383" y="274"/>
                      <a:pt x="383" y="274"/>
                      <a:pt x="383" y="274"/>
                    </a:cubicBezTo>
                    <a:cubicBezTo>
                      <a:pt x="383" y="274"/>
                      <a:pt x="383" y="273"/>
                      <a:pt x="383" y="273"/>
                    </a:cubicBezTo>
                    <a:cubicBezTo>
                      <a:pt x="384" y="273"/>
                      <a:pt x="384" y="273"/>
                      <a:pt x="384" y="273"/>
                    </a:cubicBezTo>
                    <a:cubicBezTo>
                      <a:pt x="384" y="273"/>
                      <a:pt x="384" y="273"/>
                      <a:pt x="384" y="273"/>
                    </a:cubicBezTo>
                    <a:cubicBezTo>
                      <a:pt x="384" y="272"/>
                      <a:pt x="384" y="272"/>
                      <a:pt x="384" y="272"/>
                    </a:cubicBezTo>
                    <a:cubicBezTo>
                      <a:pt x="384" y="272"/>
                      <a:pt x="384" y="272"/>
                      <a:pt x="384" y="272"/>
                    </a:cubicBezTo>
                    <a:cubicBezTo>
                      <a:pt x="385" y="272"/>
                      <a:pt x="386" y="272"/>
                      <a:pt x="386" y="272"/>
                    </a:cubicBezTo>
                    <a:cubicBezTo>
                      <a:pt x="386" y="272"/>
                      <a:pt x="386" y="272"/>
                      <a:pt x="386" y="272"/>
                    </a:cubicBezTo>
                    <a:cubicBezTo>
                      <a:pt x="387" y="272"/>
                      <a:pt x="387" y="272"/>
                      <a:pt x="387" y="272"/>
                    </a:cubicBezTo>
                    <a:cubicBezTo>
                      <a:pt x="388" y="271"/>
                      <a:pt x="388" y="271"/>
                      <a:pt x="388" y="271"/>
                    </a:cubicBezTo>
                    <a:cubicBezTo>
                      <a:pt x="389" y="271"/>
                      <a:pt x="389" y="271"/>
                      <a:pt x="389" y="271"/>
                    </a:cubicBezTo>
                    <a:cubicBezTo>
                      <a:pt x="389" y="271"/>
                      <a:pt x="389" y="271"/>
                      <a:pt x="390" y="271"/>
                    </a:cubicBezTo>
                    <a:cubicBezTo>
                      <a:pt x="390" y="271"/>
                      <a:pt x="390" y="271"/>
                      <a:pt x="390" y="271"/>
                    </a:cubicBezTo>
                    <a:cubicBezTo>
                      <a:pt x="390" y="271"/>
                      <a:pt x="390" y="271"/>
                      <a:pt x="390" y="271"/>
                    </a:cubicBezTo>
                    <a:cubicBezTo>
                      <a:pt x="390" y="271"/>
                      <a:pt x="390" y="271"/>
                      <a:pt x="390" y="271"/>
                    </a:cubicBezTo>
                    <a:cubicBezTo>
                      <a:pt x="391" y="270"/>
                      <a:pt x="391" y="270"/>
                      <a:pt x="391" y="270"/>
                    </a:cubicBezTo>
                    <a:cubicBezTo>
                      <a:pt x="391" y="271"/>
                      <a:pt x="391" y="271"/>
                      <a:pt x="391" y="271"/>
                    </a:cubicBezTo>
                    <a:cubicBezTo>
                      <a:pt x="392" y="271"/>
                      <a:pt x="392" y="270"/>
                      <a:pt x="392" y="270"/>
                    </a:cubicBezTo>
                    <a:cubicBezTo>
                      <a:pt x="392" y="270"/>
                      <a:pt x="392" y="270"/>
                      <a:pt x="392" y="270"/>
                    </a:cubicBezTo>
                    <a:cubicBezTo>
                      <a:pt x="392" y="269"/>
                      <a:pt x="392" y="269"/>
                      <a:pt x="392" y="269"/>
                    </a:cubicBezTo>
                    <a:cubicBezTo>
                      <a:pt x="392" y="269"/>
                      <a:pt x="392" y="269"/>
                      <a:pt x="393" y="270"/>
                    </a:cubicBezTo>
                    <a:cubicBezTo>
                      <a:pt x="393" y="270"/>
                      <a:pt x="393" y="270"/>
                      <a:pt x="393" y="270"/>
                    </a:cubicBezTo>
                    <a:cubicBezTo>
                      <a:pt x="393" y="270"/>
                      <a:pt x="393" y="270"/>
                      <a:pt x="393" y="270"/>
                    </a:cubicBezTo>
                    <a:cubicBezTo>
                      <a:pt x="393" y="270"/>
                      <a:pt x="393" y="270"/>
                      <a:pt x="393" y="270"/>
                    </a:cubicBezTo>
                    <a:cubicBezTo>
                      <a:pt x="393" y="270"/>
                      <a:pt x="393" y="270"/>
                      <a:pt x="393" y="270"/>
                    </a:cubicBezTo>
                    <a:cubicBezTo>
                      <a:pt x="393" y="270"/>
                      <a:pt x="393" y="270"/>
                      <a:pt x="393" y="270"/>
                    </a:cubicBezTo>
                    <a:cubicBezTo>
                      <a:pt x="393" y="270"/>
                      <a:pt x="393" y="270"/>
                      <a:pt x="393" y="270"/>
                    </a:cubicBezTo>
                    <a:cubicBezTo>
                      <a:pt x="393" y="270"/>
                      <a:pt x="393" y="270"/>
                      <a:pt x="393" y="270"/>
                    </a:cubicBezTo>
                    <a:cubicBezTo>
                      <a:pt x="393" y="270"/>
                      <a:pt x="393" y="269"/>
                      <a:pt x="393" y="269"/>
                    </a:cubicBezTo>
                    <a:cubicBezTo>
                      <a:pt x="393" y="269"/>
                      <a:pt x="394" y="268"/>
                      <a:pt x="393" y="268"/>
                    </a:cubicBezTo>
                    <a:cubicBezTo>
                      <a:pt x="393" y="267"/>
                      <a:pt x="393" y="267"/>
                      <a:pt x="393" y="267"/>
                    </a:cubicBezTo>
                    <a:cubicBezTo>
                      <a:pt x="393" y="267"/>
                      <a:pt x="393" y="267"/>
                      <a:pt x="393" y="267"/>
                    </a:cubicBezTo>
                    <a:cubicBezTo>
                      <a:pt x="393" y="267"/>
                      <a:pt x="393" y="267"/>
                      <a:pt x="393" y="267"/>
                    </a:cubicBezTo>
                    <a:cubicBezTo>
                      <a:pt x="393" y="267"/>
                      <a:pt x="393" y="266"/>
                      <a:pt x="393" y="266"/>
                    </a:cubicBezTo>
                    <a:cubicBezTo>
                      <a:pt x="393" y="266"/>
                      <a:pt x="393" y="266"/>
                      <a:pt x="393" y="265"/>
                    </a:cubicBezTo>
                    <a:cubicBezTo>
                      <a:pt x="393" y="265"/>
                      <a:pt x="393" y="265"/>
                      <a:pt x="394" y="265"/>
                    </a:cubicBezTo>
                    <a:cubicBezTo>
                      <a:pt x="394" y="265"/>
                      <a:pt x="394" y="266"/>
                      <a:pt x="394" y="266"/>
                    </a:cubicBezTo>
                    <a:cubicBezTo>
                      <a:pt x="394" y="266"/>
                      <a:pt x="394" y="266"/>
                      <a:pt x="394" y="266"/>
                    </a:cubicBezTo>
                    <a:cubicBezTo>
                      <a:pt x="393" y="266"/>
                      <a:pt x="393" y="266"/>
                      <a:pt x="393" y="266"/>
                    </a:cubicBezTo>
                    <a:cubicBezTo>
                      <a:pt x="394" y="267"/>
                      <a:pt x="394" y="267"/>
                      <a:pt x="395" y="267"/>
                    </a:cubicBezTo>
                    <a:cubicBezTo>
                      <a:pt x="394" y="268"/>
                      <a:pt x="394" y="268"/>
                      <a:pt x="394" y="268"/>
                    </a:cubicBezTo>
                    <a:cubicBezTo>
                      <a:pt x="394" y="268"/>
                      <a:pt x="394" y="268"/>
                      <a:pt x="394" y="268"/>
                    </a:cubicBezTo>
                    <a:cubicBezTo>
                      <a:pt x="395" y="268"/>
                      <a:pt x="395" y="269"/>
                      <a:pt x="395" y="269"/>
                    </a:cubicBezTo>
                    <a:cubicBezTo>
                      <a:pt x="396" y="269"/>
                      <a:pt x="396" y="269"/>
                      <a:pt x="396" y="269"/>
                    </a:cubicBezTo>
                    <a:cubicBezTo>
                      <a:pt x="396" y="269"/>
                      <a:pt x="396" y="268"/>
                      <a:pt x="396" y="268"/>
                    </a:cubicBezTo>
                    <a:cubicBezTo>
                      <a:pt x="396" y="268"/>
                      <a:pt x="397" y="268"/>
                      <a:pt x="397" y="267"/>
                    </a:cubicBezTo>
                    <a:cubicBezTo>
                      <a:pt x="397" y="267"/>
                      <a:pt x="398" y="267"/>
                      <a:pt x="398" y="267"/>
                    </a:cubicBezTo>
                    <a:cubicBezTo>
                      <a:pt x="398" y="267"/>
                      <a:pt x="399" y="267"/>
                      <a:pt x="399" y="266"/>
                    </a:cubicBezTo>
                    <a:cubicBezTo>
                      <a:pt x="399" y="266"/>
                      <a:pt x="400" y="267"/>
                      <a:pt x="400" y="267"/>
                    </a:cubicBezTo>
                    <a:cubicBezTo>
                      <a:pt x="400" y="267"/>
                      <a:pt x="402" y="267"/>
                      <a:pt x="402" y="267"/>
                    </a:cubicBezTo>
                    <a:cubicBezTo>
                      <a:pt x="402" y="266"/>
                      <a:pt x="403" y="267"/>
                      <a:pt x="403" y="267"/>
                    </a:cubicBezTo>
                    <a:cubicBezTo>
                      <a:pt x="403" y="266"/>
                      <a:pt x="403" y="266"/>
                      <a:pt x="403" y="266"/>
                    </a:cubicBezTo>
                    <a:cubicBezTo>
                      <a:pt x="403" y="266"/>
                      <a:pt x="403" y="266"/>
                      <a:pt x="404" y="265"/>
                    </a:cubicBezTo>
                    <a:cubicBezTo>
                      <a:pt x="404" y="265"/>
                      <a:pt x="404" y="265"/>
                      <a:pt x="404" y="264"/>
                    </a:cubicBezTo>
                    <a:cubicBezTo>
                      <a:pt x="404" y="264"/>
                      <a:pt x="405" y="264"/>
                      <a:pt x="405" y="264"/>
                    </a:cubicBezTo>
                    <a:cubicBezTo>
                      <a:pt x="405" y="264"/>
                      <a:pt x="405" y="264"/>
                      <a:pt x="405" y="263"/>
                    </a:cubicBezTo>
                    <a:cubicBezTo>
                      <a:pt x="406" y="263"/>
                      <a:pt x="406" y="263"/>
                      <a:pt x="406" y="263"/>
                    </a:cubicBezTo>
                    <a:cubicBezTo>
                      <a:pt x="407" y="262"/>
                      <a:pt x="407" y="262"/>
                      <a:pt x="408" y="262"/>
                    </a:cubicBezTo>
                    <a:cubicBezTo>
                      <a:pt x="408" y="261"/>
                      <a:pt x="408" y="261"/>
                      <a:pt x="408" y="261"/>
                    </a:cubicBezTo>
                    <a:cubicBezTo>
                      <a:pt x="408" y="261"/>
                      <a:pt x="408" y="261"/>
                      <a:pt x="408" y="261"/>
                    </a:cubicBezTo>
                    <a:cubicBezTo>
                      <a:pt x="408" y="261"/>
                      <a:pt x="408" y="261"/>
                      <a:pt x="408" y="261"/>
                    </a:cubicBezTo>
                    <a:cubicBezTo>
                      <a:pt x="407" y="261"/>
                      <a:pt x="407" y="261"/>
                      <a:pt x="408" y="260"/>
                    </a:cubicBezTo>
                    <a:cubicBezTo>
                      <a:pt x="408" y="260"/>
                      <a:pt x="408" y="260"/>
                      <a:pt x="408" y="260"/>
                    </a:cubicBezTo>
                    <a:cubicBezTo>
                      <a:pt x="407" y="260"/>
                      <a:pt x="407" y="260"/>
                      <a:pt x="407" y="260"/>
                    </a:cubicBezTo>
                    <a:cubicBezTo>
                      <a:pt x="407" y="260"/>
                      <a:pt x="407" y="260"/>
                      <a:pt x="407" y="260"/>
                    </a:cubicBezTo>
                    <a:cubicBezTo>
                      <a:pt x="407" y="260"/>
                      <a:pt x="408" y="259"/>
                      <a:pt x="408" y="259"/>
                    </a:cubicBezTo>
                    <a:cubicBezTo>
                      <a:pt x="408" y="259"/>
                      <a:pt x="408" y="259"/>
                      <a:pt x="408" y="259"/>
                    </a:cubicBezTo>
                    <a:cubicBezTo>
                      <a:pt x="408" y="260"/>
                      <a:pt x="409" y="260"/>
                      <a:pt x="410" y="260"/>
                    </a:cubicBezTo>
                    <a:cubicBezTo>
                      <a:pt x="410" y="260"/>
                      <a:pt x="410" y="260"/>
                      <a:pt x="410" y="260"/>
                    </a:cubicBezTo>
                    <a:cubicBezTo>
                      <a:pt x="410" y="260"/>
                      <a:pt x="410" y="260"/>
                      <a:pt x="410" y="260"/>
                    </a:cubicBezTo>
                    <a:cubicBezTo>
                      <a:pt x="410" y="260"/>
                      <a:pt x="410" y="259"/>
                      <a:pt x="410" y="259"/>
                    </a:cubicBezTo>
                    <a:cubicBezTo>
                      <a:pt x="410" y="259"/>
                      <a:pt x="410" y="259"/>
                      <a:pt x="410" y="259"/>
                    </a:cubicBezTo>
                    <a:cubicBezTo>
                      <a:pt x="410" y="259"/>
                      <a:pt x="411" y="259"/>
                      <a:pt x="411" y="258"/>
                    </a:cubicBezTo>
                    <a:cubicBezTo>
                      <a:pt x="411" y="258"/>
                      <a:pt x="411" y="258"/>
                      <a:pt x="411" y="258"/>
                    </a:cubicBezTo>
                    <a:cubicBezTo>
                      <a:pt x="411" y="258"/>
                      <a:pt x="411" y="258"/>
                      <a:pt x="411" y="258"/>
                    </a:cubicBezTo>
                    <a:cubicBezTo>
                      <a:pt x="411" y="258"/>
                      <a:pt x="411" y="258"/>
                      <a:pt x="411" y="257"/>
                    </a:cubicBezTo>
                    <a:cubicBezTo>
                      <a:pt x="411" y="257"/>
                      <a:pt x="411" y="257"/>
                      <a:pt x="411" y="257"/>
                    </a:cubicBezTo>
                    <a:cubicBezTo>
                      <a:pt x="411" y="257"/>
                      <a:pt x="412" y="257"/>
                      <a:pt x="412" y="257"/>
                    </a:cubicBezTo>
                    <a:cubicBezTo>
                      <a:pt x="412" y="257"/>
                      <a:pt x="412" y="257"/>
                      <a:pt x="412" y="257"/>
                    </a:cubicBezTo>
                    <a:cubicBezTo>
                      <a:pt x="412" y="257"/>
                      <a:pt x="412" y="256"/>
                      <a:pt x="412" y="256"/>
                    </a:cubicBezTo>
                    <a:cubicBezTo>
                      <a:pt x="412" y="256"/>
                      <a:pt x="412" y="256"/>
                      <a:pt x="412" y="256"/>
                    </a:cubicBezTo>
                    <a:cubicBezTo>
                      <a:pt x="412" y="256"/>
                      <a:pt x="412" y="256"/>
                      <a:pt x="412" y="256"/>
                    </a:cubicBezTo>
                    <a:cubicBezTo>
                      <a:pt x="412" y="256"/>
                      <a:pt x="413" y="255"/>
                      <a:pt x="413" y="254"/>
                    </a:cubicBezTo>
                    <a:cubicBezTo>
                      <a:pt x="413" y="254"/>
                      <a:pt x="413" y="254"/>
                      <a:pt x="413" y="254"/>
                    </a:cubicBezTo>
                    <a:cubicBezTo>
                      <a:pt x="413" y="254"/>
                      <a:pt x="413" y="254"/>
                      <a:pt x="413" y="254"/>
                    </a:cubicBezTo>
                    <a:cubicBezTo>
                      <a:pt x="413" y="254"/>
                      <a:pt x="413" y="254"/>
                      <a:pt x="413" y="254"/>
                    </a:cubicBezTo>
                    <a:cubicBezTo>
                      <a:pt x="413" y="254"/>
                      <a:pt x="413" y="254"/>
                      <a:pt x="413" y="254"/>
                    </a:cubicBezTo>
                    <a:cubicBezTo>
                      <a:pt x="413" y="253"/>
                      <a:pt x="413" y="253"/>
                      <a:pt x="413" y="253"/>
                    </a:cubicBezTo>
                    <a:cubicBezTo>
                      <a:pt x="413" y="253"/>
                      <a:pt x="414" y="252"/>
                      <a:pt x="415" y="252"/>
                    </a:cubicBezTo>
                    <a:cubicBezTo>
                      <a:pt x="415" y="252"/>
                      <a:pt x="415" y="252"/>
                      <a:pt x="415" y="252"/>
                    </a:cubicBezTo>
                    <a:cubicBezTo>
                      <a:pt x="415" y="252"/>
                      <a:pt x="415" y="251"/>
                      <a:pt x="415" y="250"/>
                    </a:cubicBezTo>
                    <a:cubicBezTo>
                      <a:pt x="415" y="250"/>
                      <a:pt x="415" y="250"/>
                      <a:pt x="415" y="250"/>
                    </a:cubicBezTo>
                    <a:cubicBezTo>
                      <a:pt x="415" y="250"/>
                      <a:pt x="416" y="249"/>
                      <a:pt x="416" y="249"/>
                    </a:cubicBezTo>
                    <a:cubicBezTo>
                      <a:pt x="416" y="249"/>
                      <a:pt x="416" y="248"/>
                      <a:pt x="416" y="247"/>
                    </a:cubicBezTo>
                    <a:cubicBezTo>
                      <a:pt x="417" y="246"/>
                      <a:pt x="417" y="246"/>
                      <a:pt x="417" y="246"/>
                    </a:cubicBezTo>
                    <a:cubicBezTo>
                      <a:pt x="417" y="245"/>
                      <a:pt x="417" y="245"/>
                      <a:pt x="417" y="245"/>
                    </a:cubicBezTo>
                    <a:cubicBezTo>
                      <a:pt x="417" y="245"/>
                      <a:pt x="418" y="245"/>
                      <a:pt x="418" y="245"/>
                    </a:cubicBezTo>
                    <a:cubicBezTo>
                      <a:pt x="418" y="245"/>
                      <a:pt x="418" y="245"/>
                      <a:pt x="418" y="245"/>
                    </a:cubicBezTo>
                    <a:cubicBezTo>
                      <a:pt x="418" y="245"/>
                      <a:pt x="419" y="245"/>
                      <a:pt x="419" y="245"/>
                    </a:cubicBezTo>
                    <a:cubicBezTo>
                      <a:pt x="419" y="245"/>
                      <a:pt x="419" y="245"/>
                      <a:pt x="419" y="245"/>
                    </a:cubicBezTo>
                    <a:cubicBezTo>
                      <a:pt x="419" y="245"/>
                      <a:pt x="419" y="245"/>
                      <a:pt x="419" y="245"/>
                    </a:cubicBezTo>
                    <a:cubicBezTo>
                      <a:pt x="419" y="244"/>
                      <a:pt x="419" y="244"/>
                      <a:pt x="419" y="243"/>
                    </a:cubicBezTo>
                    <a:cubicBezTo>
                      <a:pt x="419" y="243"/>
                      <a:pt x="419" y="243"/>
                      <a:pt x="419" y="243"/>
                    </a:cubicBezTo>
                    <a:cubicBezTo>
                      <a:pt x="419" y="243"/>
                      <a:pt x="419" y="243"/>
                      <a:pt x="419" y="243"/>
                    </a:cubicBezTo>
                    <a:cubicBezTo>
                      <a:pt x="419" y="243"/>
                      <a:pt x="420" y="242"/>
                      <a:pt x="420" y="242"/>
                    </a:cubicBezTo>
                    <a:cubicBezTo>
                      <a:pt x="420" y="242"/>
                      <a:pt x="420" y="242"/>
                      <a:pt x="420" y="242"/>
                    </a:cubicBezTo>
                    <a:cubicBezTo>
                      <a:pt x="420" y="242"/>
                      <a:pt x="420" y="242"/>
                      <a:pt x="419" y="241"/>
                    </a:cubicBezTo>
                    <a:cubicBezTo>
                      <a:pt x="419" y="241"/>
                      <a:pt x="419" y="241"/>
                      <a:pt x="419" y="241"/>
                    </a:cubicBezTo>
                    <a:cubicBezTo>
                      <a:pt x="419" y="241"/>
                      <a:pt x="419" y="241"/>
                      <a:pt x="419" y="241"/>
                    </a:cubicBezTo>
                    <a:cubicBezTo>
                      <a:pt x="420" y="241"/>
                      <a:pt x="420" y="241"/>
                      <a:pt x="420" y="241"/>
                    </a:cubicBezTo>
                    <a:cubicBezTo>
                      <a:pt x="420" y="241"/>
                      <a:pt x="420" y="241"/>
                      <a:pt x="420" y="241"/>
                    </a:cubicBezTo>
                    <a:cubicBezTo>
                      <a:pt x="420" y="241"/>
                      <a:pt x="420" y="241"/>
                      <a:pt x="420" y="241"/>
                    </a:cubicBezTo>
                    <a:cubicBezTo>
                      <a:pt x="420" y="240"/>
                      <a:pt x="420" y="240"/>
                      <a:pt x="420" y="240"/>
                    </a:cubicBezTo>
                    <a:cubicBezTo>
                      <a:pt x="419" y="240"/>
                      <a:pt x="419" y="240"/>
                      <a:pt x="419" y="239"/>
                    </a:cubicBezTo>
                    <a:cubicBezTo>
                      <a:pt x="420" y="239"/>
                      <a:pt x="420" y="239"/>
                      <a:pt x="420" y="239"/>
                    </a:cubicBezTo>
                    <a:cubicBezTo>
                      <a:pt x="421" y="238"/>
                      <a:pt x="421" y="238"/>
                      <a:pt x="421" y="238"/>
                    </a:cubicBezTo>
                    <a:cubicBezTo>
                      <a:pt x="421" y="238"/>
                      <a:pt x="421" y="238"/>
                      <a:pt x="421" y="238"/>
                    </a:cubicBezTo>
                    <a:cubicBezTo>
                      <a:pt x="420" y="238"/>
                      <a:pt x="420" y="238"/>
                      <a:pt x="420" y="238"/>
                    </a:cubicBezTo>
                    <a:cubicBezTo>
                      <a:pt x="420" y="238"/>
                      <a:pt x="420" y="238"/>
                      <a:pt x="420" y="238"/>
                    </a:cubicBezTo>
                    <a:cubicBezTo>
                      <a:pt x="420" y="238"/>
                      <a:pt x="420" y="238"/>
                      <a:pt x="420" y="238"/>
                    </a:cubicBezTo>
                    <a:cubicBezTo>
                      <a:pt x="420" y="238"/>
                      <a:pt x="420" y="238"/>
                      <a:pt x="420" y="238"/>
                    </a:cubicBezTo>
                    <a:cubicBezTo>
                      <a:pt x="419" y="237"/>
                      <a:pt x="419" y="237"/>
                      <a:pt x="419" y="237"/>
                    </a:cubicBezTo>
                    <a:cubicBezTo>
                      <a:pt x="419" y="237"/>
                      <a:pt x="418" y="236"/>
                      <a:pt x="418" y="236"/>
                    </a:cubicBezTo>
                    <a:cubicBezTo>
                      <a:pt x="418" y="236"/>
                      <a:pt x="418" y="236"/>
                      <a:pt x="418" y="236"/>
                    </a:cubicBezTo>
                    <a:cubicBezTo>
                      <a:pt x="418" y="237"/>
                      <a:pt x="417" y="237"/>
                      <a:pt x="417" y="237"/>
                    </a:cubicBezTo>
                    <a:cubicBezTo>
                      <a:pt x="417" y="237"/>
                      <a:pt x="417" y="237"/>
                      <a:pt x="417" y="237"/>
                    </a:cubicBezTo>
                    <a:cubicBezTo>
                      <a:pt x="417" y="237"/>
                      <a:pt x="416" y="237"/>
                      <a:pt x="416" y="237"/>
                    </a:cubicBezTo>
                    <a:cubicBezTo>
                      <a:pt x="416" y="236"/>
                      <a:pt x="416" y="236"/>
                      <a:pt x="416" y="236"/>
                    </a:cubicBezTo>
                    <a:cubicBezTo>
                      <a:pt x="416" y="236"/>
                      <a:pt x="416" y="236"/>
                      <a:pt x="416" y="236"/>
                    </a:cubicBezTo>
                    <a:cubicBezTo>
                      <a:pt x="416" y="236"/>
                      <a:pt x="417" y="236"/>
                      <a:pt x="417" y="236"/>
                    </a:cubicBezTo>
                    <a:cubicBezTo>
                      <a:pt x="417" y="236"/>
                      <a:pt x="418" y="236"/>
                      <a:pt x="418" y="236"/>
                    </a:cubicBezTo>
                    <a:cubicBezTo>
                      <a:pt x="418" y="236"/>
                      <a:pt x="418" y="235"/>
                      <a:pt x="418" y="235"/>
                    </a:cubicBezTo>
                    <a:cubicBezTo>
                      <a:pt x="418" y="235"/>
                      <a:pt x="418" y="235"/>
                      <a:pt x="418" y="235"/>
                    </a:cubicBezTo>
                    <a:cubicBezTo>
                      <a:pt x="419" y="234"/>
                      <a:pt x="419" y="234"/>
                      <a:pt x="420" y="234"/>
                    </a:cubicBezTo>
                    <a:cubicBezTo>
                      <a:pt x="420" y="234"/>
                      <a:pt x="420" y="234"/>
                      <a:pt x="420" y="234"/>
                    </a:cubicBezTo>
                    <a:cubicBezTo>
                      <a:pt x="420" y="234"/>
                      <a:pt x="420" y="234"/>
                      <a:pt x="420" y="234"/>
                    </a:cubicBezTo>
                    <a:cubicBezTo>
                      <a:pt x="420" y="234"/>
                      <a:pt x="420" y="234"/>
                      <a:pt x="420" y="234"/>
                    </a:cubicBezTo>
                    <a:cubicBezTo>
                      <a:pt x="420" y="234"/>
                      <a:pt x="420" y="233"/>
                      <a:pt x="420" y="233"/>
                    </a:cubicBezTo>
                    <a:cubicBezTo>
                      <a:pt x="420" y="233"/>
                      <a:pt x="420" y="233"/>
                      <a:pt x="420" y="233"/>
                    </a:cubicBezTo>
                    <a:cubicBezTo>
                      <a:pt x="420" y="233"/>
                      <a:pt x="418" y="231"/>
                      <a:pt x="418" y="231"/>
                    </a:cubicBezTo>
                    <a:cubicBezTo>
                      <a:pt x="418" y="230"/>
                      <a:pt x="417" y="230"/>
                      <a:pt x="417" y="230"/>
                    </a:cubicBezTo>
                    <a:cubicBezTo>
                      <a:pt x="417" y="230"/>
                      <a:pt x="417" y="230"/>
                      <a:pt x="417" y="230"/>
                    </a:cubicBezTo>
                    <a:cubicBezTo>
                      <a:pt x="416" y="230"/>
                      <a:pt x="416" y="229"/>
                      <a:pt x="416" y="229"/>
                    </a:cubicBezTo>
                    <a:cubicBezTo>
                      <a:pt x="415" y="229"/>
                      <a:pt x="416" y="229"/>
                      <a:pt x="416" y="229"/>
                    </a:cubicBezTo>
                    <a:cubicBezTo>
                      <a:pt x="416" y="229"/>
                      <a:pt x="417" y="229"/>
                      <a:pt x="417" y="229"/>
                    </a:cubicBezTo>
                    <a:cubicBezTo>
                      <a:pt x="417" y="229"/>
                      <a:pt x="418" y="230"/>
                      <a:pt x="418" y="230"/>
                    </a:cubicBezTo>
                    <a:cubicBezTo>
                      <a:pt x="418" y="230"/>
                      <a:pt x="418" y="230"/>
                      <a:pt x="418" y="230"/>
                    </a:cubicBezTo>
                    <a:cubicBezTo>
                      <a:pt x="418" y="230"/>
                      <a:pt x="419" y="230"/>
                      <a:pt x="420" y="231"/>
                    </a:cubicBezTo>
                    <a:cubicBezTo>
                      <a:pt x="420" y="230"/>
                      <a:pt x="420" y="230"/>
                      <a:pt x="420" y="230"/>
                    </a:cubicBezTo>
                    <a:cubicBezTo>
                      <a:pt x="420" y="230"/>
                      <a:pt x="420" y="230"/>
                      <a:pt x="420" y="229"/>
                    </a:cubicBezTo>
                    <a:cubicBezTo>
                      <a:pt x="420" y="229"/>
                      <a:pt x="419" y="229"/>
                      <a:pt x="419" y="229"/>
                    </a:cubicBezTo>
                    <a:cubicBezTo>
                      <a:pt x="419" y="229"/>
                      <a:pt x="419" y="228"/>
                      <a:pt x="419" y="228"/>
                    </a:cubicBezTo>
                    <a:cubicBezTo>
                      <a:pt x="419" y="227"/>
                      <a:pt x="418" y="228"/>
                      <a:pt x="418" y="227"/>
                    </a:cubicBezTo>
                    <a:cubicBezTo>
                      <a:pt x="418" y="227"/>
                      <a:pt x="418" y="227"/>
                      <a:pt x="418" y="227"/>
                    </a:cubicBezTo>
                    <a:cubicBezTo>
                      <a:pt x="417" y="227"/>
                      <a:pt x="417" y="226"/>
                      <a:pt x="417" y="226"/>
                    </a:cubicBezTo>
                    <a:cubicBezTo>
                      <a:pt x="417" y="226"/>
                      <a:pt x="417" y="226"/>
                      <a:pt x="417" y="225"/>
                    </a:cubicBezTo>
                    <a:cubicBezTo>
                      <a:pt x="417" y="225"/>
                      <a:pt x="417" y="225"/>
                      <a:pt x="417" y="225"/>
                    </a:cubicBezTo>
                    <a:cubicBezTo>
                      <a:pt x="417" y="225"/>
                      <a:pt x="417" y="225"/>
                      <a:pt x="417" y="225"/>
                    </a:cubicBezTo>
                    <a:cubicBezTo>
                      <a:pt x="417" y="224"/>
                      <a:pt x="416" y="222"/>
                      <a:pt x="415" y="220"/>
                    </a:cubicBezTo>
                    <a:cubicBezTo>
                      <a:pt x="415" y="220"/>
                      <a:pt x="415" y="220"/>
                      <a:pt x="415" y="219"/>
                    </a:cubicBezTo>
                    <a:cubicBezTo>
                      <a:pt x="415" y="219"/>
                      <a:pt x="415" y="219"/>
                      <a:pt x="414" y="219"/>
                    </a:cubicBezTo>
                    <a:cubicBezTo>
                      <a:pt x="412" y="218"/>
                      <a:pt x="413" y="218"/>
                      <a:pt x="413" y="218"/>
                    </a:cubicBezTo>
                    <a:cubicBezTo>
                      <a:pt x="413" y="218"/>
                      <a:pt x="412" y="218"/>
                      <a:pt x="412" y="217"/>
                    </a:cubicBezTo>
                    <a:cubicBezTo>
                      <a:pt x="411" y="216"/>
                      <a:pt x="413" y="215"/>
                      <a:pt x="413" y="215"/>
                    </a:cubicBezTo>
                    <a:cubicBezTo>
                      <a:pt x="413" y="215"/>
                      <a:pt x="414" y="214"/>
                      <a:pt x="414" y="213"/>
                    </a:cubicBezTo>
                    <a:cubicBezTo>
                      <a:pt x="414" y="213"/>
                      <a:pt x="415" y="212"/>
                      <a:pt x="415" y="212"/>
                    </a:cubicBezTo>
                    <a:cubicBezTo>
                      <a:pt x="415" y="212"/>
                      <a:pt x="416" y="212"/>
                      <a:pt x="416" y="212"/>
                    </a:cubicBezTo>
                    <a:cubicBezTo>
                      <a:pt x="416" y="212"/>
                      <a:pt x="417" y="212"/>
                      <a:pt x="417" y="212"/>
                    </a:cubicBezTo>
                    <a:cubicBezTo>
                      <a:pt x="417" y="212"/>
                      <a:pt x="417" y="212"/>
                      <a:pt x="417" y="212"/>
                    </a:cubicBezTo>
                    <a:cubicBezTo>
                      <a:pt x="417" y="211"/>
                      <a:pt x="417" y="211"/>
                      <a:pt x="417" y="211"/>
                    </a:cubicBezTo>
                    <a:cubicBezTo>
                      <a:pt x="417" y="210"/>
                      <a:pt x="417" y="210"/>
                      <a:pt x="417" y="210"/>
                    </a:cubicBezTo>
                    <a:cubicBezTo>
                      <a:pt x="417" y="210"/>
                      <a:pt x="417" y="210"/>
                      <a:pt x="417" y="210"/>
                    </a:cubicBezTo>
                    <a:cubicBezTo>
                      <a:pt x="417" y="210"/>
                      <a:pt x="417" y="210"/>
                      <a:pt x="417" y="210"/>
                    </a:cubicBezTo>
                    <a:cubicBezTo>
                      <a:pt x="418" y="210"/>
                      <a:pt x="418" y="209"/>
                      <a:pt x="419" y="209"/>
                    </a:cubicBezTo>
                    <a:cubicBezTo>
                      <a:pt x="420" y="208"/>
                      <a:pt x="420" y="208"/>
                      <a:pt x="420" y="208"/>
                    </a:cubicBezTo>
                    <a:cubicBezTo>
                      <a:pt x="421" y="208"/>
                      <a:pt x="420" y="209"/>
                      <a:pt x="421" y="208"/>
                    </a:cubicBezTo>
                    <a:cubicBezTo>
                      <a:pt x="422" y="208"/>
                      <a:pt x="421" y="209"/>
                      <a:pt x="422" y="209"/>
                    </a:cubicBezTo>
                    <a:cubicBezTo>
                      <a:pt x="423" y="209"/>
                      <a:pt x="422" y="208"/>
                      <a:pt x="422" y="208"/>
                    </a:cubicBezTo>
                    <a:cubicBezTo>
                      <a:pt x="422" y="207"/>
                      <a:pt x="422" y="208"/>
                      <a:pt x="422" y="208"/>
                    </a:cubicBezTo>
                    <a:cubicBezTo>
                      <a:pt x="423" y="207"/>
                      <a:pt x="423" y="207"/>
                      <a:pt x="422" y="207"/>
                    </a:cubicBezTo>
                    <a:cubicBezTo>
                      <a:pt x="422" y="206"/>
                      <a:pt x="422" y="206"/>
                      <a:pt x="422" y="206"/>
                    </a:cubicBezTo>
                    <a:cubicBezTo>
                      <a:pt x="421" y="206"/>
                      <a:pt x="421" y="206"/>
                      <a:pt x="421" y="206"/>
                    </a:cubicBezTo>
                    <a:cubicBezTo>
                      <a:pt x="421" y="206"/>
                      <a:pt x="421" y="206"/>
                      <a:pt x="421" y="206"/>
                    </a:cubicBezTo>
                    <a:cubicBezTo>
                      <a:pt x="420" y="206"/>
                      <a:pt x="420" y="206"/>
                      <a:pt x="420" y="206"/>
                    </a:cubicBezTo>
                    <a:cubicBezTo>
                      <a:pt x="420" y="205"/>
                      <a:pt x="420" y="206"/>
                      <a:pt x="419" y="206"/>
                    </a:cubicBezTo>
                    <a:cubicBezTo>
                      <a:pt x="419" y="206"/>
                      <a:pt x="418" y="206"/>
                      <a:pt x="418" y="205"/>
                    </a:cubicBezTo>
                    <a:cubicBezTo>
                      <a:pt x="417" y="204"/>
                      <a:pt x="417" y="205"/>
                      <a:pt x="416" y="205"/>
                    </a:cubicBezTo>
                    <a:cubicBezTo>
                      <a:pt x="415" y="205"/>
                      <a:pt x="415" y="205"/>
                      <a:pt x="415" y="205"/>
                    </a:cubicBezTo>
                    <a:cubicBezTo>
                      <a:pt x="415" y="206"/>
                      <a:pt x="415" y="206"/>
                      <a:pt x="414" y="206"/>
                    </a:cubicBezTo>
                    <a:cubicBezTo>
                      <a:pt x="414" y="206"/>
                      <a:pt x="414" y="207"/>
                      <a:pt x="414" y="207"/>
                    </a:cubicBezTo>
                    <a:cubicBezTo>
                      <a:pt x="413" y="208"/>
                      <a:pt x="413" y="207"/>
                      <a:pt x="412" y="207"/>
                    </a:cubicBezTo>
                    <a:cubicBezTo>
                      <a:pt x="411" y="207"/>
                      <a:pt x="411" y="207"/>
                      <a:pt x="411" y="207"/>
                    </a:cubicBezTo>
                    <a:cubicBezTo>
                      <a:pt x="411" y="207"/>
                      <a:pt x="411" y="206"/>
                      <a:pt x="411" y="206"/>
                    </a:cubicBezTo>
                    <a:cubicBezTo>
                      <a:pt x="411" y="205"/>
                      <a:pt x="411" y="205"/>
                      <a:pt x="411" y="205"/>
                    </a:cubicBezTo>
                    <a:cubicBezTo>
                      <a:pt x="412" y="205"/>
                      <a:pt x="411" y="205"/>
                      <a:pt x="411" y="204"/>
                    </a:cubicBezTo>
                    <a:cubicBezTo>
                      <a:pt x="411" y="203"/>
                      <a:pt x="410" y="203"/>
                      <a:pt x="410" y="203"/>
                    </a:cubicBezTo>
                    <a:cubicBezTo>
                      <a:pt x="409" y="203"/>
                      <a:pt x="409" y="203"/>
                      <a:pt x="409" y="203"/>
                    </a:cubicBezTo>
                    <a:cubicBezTo>
                      <a:pt x="408" y="203"/>
                      <a:pt x="408" y="203"/>
                      <a:pt x="408" y="203"/>
                    </a:cubicBezTo>
                    <a:cubicBezTo>
                      <a:pt x="408" y="203"/>
                      <a:pt x="408" y="203"/>
                      <a:pt x="407" y="202"/>
                    </a:cubicBezTo>
                    <a:cubicBezTo>
                      <a:pt x="407" y="202"/>
                      <a:pt x="407" y="202"/>
                      <a:pt x="407" y="202"/>
                    </a:cubicBezTo>
                    <a:cubicBezTo>
                      <a:pt x="406" y="201"/>
                      <a:pt x="407" y="201"/>
                      <a:pt x="407" y="201"/>
                    </a:cubicBezTo>
                    <a:cubicBezTo>
                      <a:pt x="406" y="200"/>
                      <a:pt x="407" y="200"/>
                      <a:pt x="407" y="199"/>
                    </a:cubicBezTo>
                    <a:cubicBezTo>
                      <a:pt x="407" y="199"/>
                      <a:pt x="407" y="199"/>
                      <a:pt x="408" y="198"/>
                    </a:cubicBezTo>
                    <a:cubicBezTo>
                      <a:pt x="409" y="198"/>
                      <a:pt x="408" y="199"/>
                      <a:pt x="409" y="199"/>
                    </a:cubicBezTo>
                    <a:cubicBezTo>
                      <a:pt x="410" y="200"/>
                      <a:pt x="409" y="199"/>
                      <a:pt x="409" y="199"/>
                    </a:cubicBezTo>
                    <a:cubicBezTo>
                      <a:pt x="410" y="199"/>
                      <a:pt x="410" y="199"/>
                      <a:pt x="410" y="199"/>
                    </a:cubicBezTo>
                    <a:cubicBezTo>
                      <a:pt x="410" y="199"/>
                      <a:pt x="411" y="199"/>
                      <a:pt x="411" y="199"/>
                    </a:cubicBezTo>
                    <a:cubicBezTo>
                      <a:pt x="411" y="198"/>
                      <a:pt x="412" y="198"/>
                      <a:pt x="412" y="198"/>
                    </a:cubicBezTo>
                    <a:cubicBezTo>
                      <a:pt x="412" y="198"/>
                      <a:pt x="412" y="197"/>
                      <a:pt x="412" y="197"/>
                    </a:cubicBezTo>
                    <a:cubicBezTo>
                      <a:pt x="412" y="196"/>
                      <a:pt x="412" y="196"/>
                      <a:pt x="414" y="195"/>
                    </a:cubicBezTo>
                    <a:cubicBezTo>
                      <a:pt x="415" y="194"/>
                      <a:pt x="415" y="194"/>
                      <a:pt x="416" y="194"/>
                    </a:cubicBezTo>
                    <a:cubicBezTo>
                      <a:pt x="416" y="194"/>
                      <a:pt x="416" y="193"/>
                      <a:pt x="416" y="193"/>
                    </a:cubicBezTo>
                    <a:cubicBezTo>
                      <a:pt x="416" y="193"/>
                      <a:pt x="417" y="192"/>
                      <a:pt x="417" y="192"/>
                    </a:cubicBezTo>
                    <a:cubicBezTo>
                      <a:pt x="417" y="192"/>
                      <a:pt x="417" y="192"/>
                      <a:pt x="417" y="191"/>
                    </a:cubicBezTo>
                    <a:cubicBezTo>
                      <a:pt x="418" y="191"/>
                      <a:pt x="419" y="191"/>
                      <a:pt x="419" y="191"/>
                    </a:cubicBezTo>
                    <a:cubicBezTo>
                      <a:pt x="419" y="191"/>
                      <a:pt x="419" y="191"/>
                      <a:pt x="419" y="191"/>
                    </a:cubicBezTo>
                    <a:cubicBezTo>
                      <a:pt x="419" y="191"/>
                      <a:pt x="420" y="191"/>
                      <a:pt x="420" y="191"/>
                    </a:cubicBezTo>
                    <a:cubicBezTo>
                      <a:pt x="420" y="191"/>
                      <a:pt x="420" y="191"/>
                      <a:pt x="420" y="192"/>
                    </a:cubicBezTo>
                    <a:cubicBezTo>
                      <a:pt x="420" y="192"/>
                      <a:pt x="421" y="192"/>
                      <a:pt x="422" y="193"/>
                    </a:cubicBezTo>
                    <a:cubicBezTo>
                      <a:pt x="422" y="193"/>
                      <a:pt x="421" y="193"/>
                      <a:pt x="421" y="194"/>
                    </a:cubicBezTo>
                    <a:cubicBezTo>
                      <a:pt x="421" y="194"/>
                      <a:pt x="421" y="194"/>
                      <a:pt x="421" y="194"/>
                    </a:cubicBezTo>
                    <a:cubicBezTo>
                      <a:pt x="421" y="195"/>
                      <a:pt x="420" y="195"/>
                      <a:pt x="420" y="195"/>
                    </a:cubicBezTo>
                    <a:cubicBezTo>
                      <a:pt x="419" y="196"/>
                      <a:pt x="419" y="196"/>
                      <a:pt x="419" y="196"/>
                    </a:cubicBezTo>
                    <a:cubicBezTo>
                      <a:pt x="419" y="196"/>
                      <a:pt x="419" y="196"/>
                      <a:pt x="419" y="196"/>
                    </a:cubicBezTo>
                    <a:cubicBezTo>
                      <a:pt x="419" y="196"/>
                      <a:pt x="419" y="196"/>
                      <a:pt x="419" y="197"/>
                    </a:cubicBezTo>
                    <a:cubicBezTo>
                      <a:pt x="418" y="197"/>
                      <a:pt x="418" y="197"/>
                      <a:pt x="419" y="197"/>
                    </a:cubicBezTo>
                    <a:cubicBezTo>
                      <a:pt x="419" y="197"/>
                      <a:pt x="419" y="198"/>
                      <a:pt x="419" y="198"/>
                    </a:cubicBezTo>
                    <a:cubicBezTo>
                      <a:pt x="419" y="198"/>
                      <a:pt x="420" y="198"/>
                      <a:pt x="420" y="198"/>
                    </a:cubicBezTo>
                    <a:cubicBezTo>
                      <a:pt x="419" y="198"/>
                      <a:pt x="420" y="198"/>
                      <a:pt x="420" y="198"/>
                    </a:cubicBezTo>
                    <a:cubicBezTo>
                      <a:pt x="420" y="198"/>
                      <a:pt x="419" y="199"/>
                      <a:pt x="418" y="199"/>
                    </a:cubicBezTo>
                    <a:cubicBezTo>
                      <a:pt x="418" y="199"/>
                      <a:pt x="418" y="199"/>
                      <a:pt x="418" y="199"/>
                    </a:cubicBezTo>
                    <a:cubicBezTo>
                      <a:pt x="417" y="199"/>
                      <a:pt x="418" y="199"/>
                      <a:pt x="418" y="200"/>
                    </a:cubicBezTo>
                    <a:cubicBezTo>
                      <a:pt x="418" y="200"/>
                      <a:pt x="418" y="200"/>
                      <a:pt x="419" y="200"/>
                    </a:cubicBezTo>
                    <a:cubicBezTo>
                      <a:pt x="419" y="200"/>
                      <a:pt x="419" y="200"/>
                      <a:pt x="420" y="200"/>
                    </a:cubicBezTo>
                    <a:cubicBezTo>
                      <a:pt x="420" y="199"/>
                      <a:pt x="420" y="199"/>
                      <a:pt x="420" y="199"/>
                    </a:cubicBezTo>
                    <a:cubicBezTo>
                      <a:pt x="420" y="199"/>
                      <a:pt x="420" y="199"/>
                      <a:pt x="420" y="199"/>
                    </a:cubicBezTo>
                    <a:cubicBezTo>
                      <a:pt x="421" y="199"/>
                      <a:pt x="421" y="199"/>
                      <a:pt x="421" y="199"/>
                    </a:cubicBezTo>
                    <a:cubicBezTo>
                      <a:pt x="421" y="199"/>
                      <a:pt x="421" y="198"/>
                      <a:pt x="421" y="198"/>
                    </a:cubicBezTo>
                    <a:cubicBezTo>
                      <a:pt x="421" y="198"/>
                      <a:pt x="421" y="198"/>
                      <a:pt x="421" y="198"/>
                    </a:cubicBezTo>
                    <a:cubicBezTo>
                      <a:pt x="421" y="198"/>
                      <a:pt x="422" y="198"/>
                      <a:pt x="422" y="198"/>
                    </a:cubicBezTo>
                    <a:cubicBezTo>
                      <a:pt x="422" y="198"/>
                      <a:pt x="422" y="198"/>
                      <a:pt x="422" y="197"/>
                    </a:cubicBezTo>
                    <a:cubicBezTo>
                      <a:pt x="422" y="197"/>
                      <a:pt x="422" y="197"/>
                      <a:pt x="422" y="197"/>
                    </a:cubicBezTo>
                    <a:cubicBezTo>
                      <a:pt x="423" y="197"/>
                      <a:pt x="423" y="197"/>
                      <a:pt x="423" y="197"/>
                    </a:cubicBezTo>
                    <a:cubicBezTo>
                      <a:pt x="423" y="197"/>
                      <a:pt x="423" y="197"/>
                      <a:pt x="423" y="197"/>
                    </a:cubicBezTo>
                    <a:cubicBezTo>
                      <a:pt x="423" y="197"/>
                      <a:pt x="424" y="197"/>
                      <a:pt x="424" y="197"/>
                    </a:cubicBezTo>
                    <a:cubicBezTo>
                      <a:pt x="424" y="197"/>
                      <a:pt x="424" y="197"/>
                      <a:pt x="424" y="197"/>
                    </a:cubicBezTo>
                    <a:cubicBezTo>
                      <a:pt x="424" y="197"/>
                      <a:pt x="424" y="197"/>
                      <a:pt x="424" y="197"/>
                    </a:cubicBezTo>
                    <a:cubicBezTo>
                      <a:pt x="424" y="196"/>
                      <a:pt x="425" y="196"/>
                      <a:pt x="425" y="196"/>
                    </a:cubicBezTo>
                    <a:cubicBezTo>
                      <a:pt x="425" y="196"/>
                      <a:pt x="425" y="196"/>
                      <a:pt x="426" y="196"/>
                    </a:cubicBezTo>
                    <a:cubicBezTo>
                      <a:pt x="426" y="196"/>
                      <a:pt x="426" y="196"/>
                      <a:pt x="426" y="196"/>
                    </a:cubicBezTo>
                    <a:cubicBezTo>
                      <a:pt x="426" y="196"/>
                      <a:pt x="426" y="196"/>
                      <a:pt x="426" y="196"/>
                    </a:cubicBezTo>
                    <a:cubicBezTo>
                      <a:pt x="426" y="196"/>
                      <a:pt x="426" y="196"/>
                      <a:pt x="427" y="196"/>
                    </a:cubicBezTo>
                    <a:cubicBezTo>
                      <a:pt x="427" y="196"/>
                      <a:pt x="427" y="196"/>
                      <a:pt x="427" y="196"/>
                    </a:cubicBezTo>
                    <a:cubicBezTo>
                      <a:pt x="427" y="196"/>
                      <a:pt x="427" y="196"/>
                      <a:pt x="428" y="196"/>
                    </a:cubicBezTo>
                    <a:cubicBezTo>
                      <a:pt x="428" y="196"/>
                      <a:pt x="428" y="196"/>
                      <a:pt x="428" y="196"/>
                    </a:cubicBezTo>
                    <a:cubicBezTo>
                      <a:pt x="428" y="195"/>
                      <a:pt x="428" y="195"/>
                      <a:pt x="428" y="195"/>
                    </a:cubicBezTo>
                    <a:cubicBezTo>
                      <a:pt x="429" y="196"/>
                      <a:pt x="429" y="196"/>
                      <a:pt x="429" y="196"/>
                    </a:cubicBezTo>
                    <a:cubicBezTo>
                      <a:pt x="430" y="196"/>
                      <a:pt x="430" y="196"/>
                      <a:pt x="430" y="197"/>
                    </a:cubicBezTo>
                    <a:cubicBezTo>
                      <a:pt x="430" y="197"/>
                      <a:pt x="430" y="197"/>
                      <a:pt x="430" y="197"/>
                    </a:cubicBezTo>
                    <a:cubicBezTo>
                      <a:pt x="430" y="197"/>
                      <a:pt x="431" y="197"/>
                      <a:pt x="431" y="197"/>
                    </a:cubicBezTo>
                    <a:cubicBezTo>
                      <a:pt x="431" y="198"/>
                      <a:pt x="432" y="198"/>
                      <a:pt x="432" y="198"/>
                    </a:cubicBezTo>
                    <a:cubicBezTo>
                      <a:pt x="432" y="198"/>
                      <a:pt x="431" y="199"/>
                      <a:pt x="431" y="199"/>
                    </a:cubicBezTo>
                    <a:cubicBezTo>
                      <a:pt x="431" y="199"/>
                      <a:pt x="431" y="199"/>
                      <a:pt x="431" y="199"/>
                    </a:cubicBezTo>
                    <a:cubicBezTo>
                      <a:pt x="431" y="200"/>
                      <a:pt x="431" y="200"/>
                      <a:pt x="431" y="200"/>
                    </a:cubicBezTo>
                    <a:cubicBezTo>
                      <a:pt x="431" y="200"/>
                      <a:pt x="431" y="201"/>
                      <a:pt x="431" y="201"/>
                    </a:cubicBezTo>
                    <a:cubicBezTo>
                      <a:pt x="431" y="201"/>
                      <a:pt x="431" y="201"/>
                      <a:pt x="431" y="201"/>
                    </a:cubicBezTo>
                    <a:cubicBezTo>
                      <a:pt x="431" y="201"/>
                      <a:pt x="430" y="201"/>
                      <a:pt x="430" y="202"/>
                    </a:cubicBezTo>
                    <a:cubicBezTo>
                      <a:pt x="430" y="202"/>
                      <a:pt x="430" y="202"/>
                      <a:pt x="430" y="202"/>
                    </a:cubicBezTo>
                    <a:cubicBezTo>
                      <a:pt x="429" y="203"/>
                      <a:pt x="429" y="203"/>
                      <a:pt x="429" y="203"/>
                    </a:cubicBezTo>
                    <a:cubicBezTo>
                      <a:pt x="429" y="203"/>
                      <a:pt x="429" y="203"/>
                      <a:pt x="429" y="203"/>
                    </a:cubicBezTo>
                    <a:cubicBezTo>
                      <a:pt x="429" y="203"/>
                      <a:pt x="430" y="203"/>
                      <a:pt x="431" y="203"/>
                    </a:cubicBezTo>
                    <a:cubicBezTo>
                      <a:pt x="431" y="203"/>
                      <a:pt x="431" y="203"/>
                      <a:pt x="431" y="203"/>
                    </a:cubicBezTo>
                    <a:cubicBezTo>
                      <a:pt x="431" y="204"/>
                      <a:pt x="431" y="204"/>
                      <a:pt x="430" y="204"/>
                    </a:cubicBezTo>
                    <a:cubicBezTo>
                      <a:pt x="430" y="204"/>
                      <a:pt x="431" y="205"/>
                      <a:pt x="432" y="205"/>
                    </a:cubicBezTo>
                    <a:cubicBezTo>
                      <a:pt x="432" y="205"/>
                      <a:pt x="432" y="204"/>
                      <a:pt x="432" y="204"/>
                    </a:cubicBezTo>
                    <a:cubicBezTo>
                      <a:pt x="432" y="204"/>
                      <a:pt x="432" y="203"/>
                      <a:pt x="432" y="203"/>
                    </a:cubicBezTo>
                    <a:cubicBezTo>
                      <a:pt x="432" y="203"/>
                      <a:pt x="433" y="204"/>
                      <a:pt x="433" y="204"/>
                    </a:cubicBezTo>
                    <a:cubicBezTo>
                      <a:pt x="434" y="205"/>
                      <a:pt x="434" y="205"/>
                      <a:pt x="434" y="205"/>
                    </a:cubicBezTo>
                    <a:cubicBezTo>
                      <a:pt x="434" y="205"/>
                      <a:pt x="434" y="204"/>
                      <a:pt x="435" y="204"/>
                    </a:cubicBezTo>
                    <a:cubicBezTo>
                      <a:pt x="435" y="204"/>
                      <a:pt x="435" y="204"/>
                      <a:pt x="435" y="204"/>
                    </a:cubicBezTo>
                    <a:cubicBezTo>
                      <a:pt x="435" y="204"/>
                      <a:pt x="435" y="205"/>
                      <a:pt x="435" y="205"/>
                    </a:cubicBezTo>
                    <a:cubicBezTo>
                      <a:pt x="435" y="205"/>
                      <a:pt x="435" y="205"/>
                      <a:pt x="435" y="205"/>
                    </a:cubicBezTo>
                    <a:cubicBezTo>
                      <a:pt x="435" y="205"/>
                      <a:pt x="435" y="205"/>
                      <a:pt x="435" y="205"/>
                    </a:cubicBezTo>
                    <a:cubicBezTo>
                      <a:pt x="435" y="206"/>
                      <a:pt x="436" y="207"/>
                      <a:pt x="436" y="207"/>
                    </a:cubicBezTo>
                    <a:cubicBezTo>
                      <a:pt x="436" y="207"/>
                      <a:pt x="436" y="207"/>
                      <a:pt x="436" y="207"/>
                    </a:cubicBezTo>
                    <a:cubicBezTo>
                      <a:pt x="436" y="207"/>
                      <a:pt x="437" y="208"/>
                      <a:pt x="437" y="208"/>
                    </a:cubicBezTo>
                    <a:cubicBezTo>
                      <a:pt x="437" y="209"/>
                      <a:pt x="436" y="209"/>
                      <a:pt x="436" y="209"/>
                    </a:cubicBezTo>
                    <a:cubicBezTo>
                      <a:pt x="436" y="209"/>
                      <a:pt x="436" y="208"/>
                      <a:pt x="436" y="208"/>
                    </a:cubicBezTo>
                    <a:cubicBezTo>
                      <a:pt x="436" y="208"/>
                      <a:pt x="435" y="208"/>
                      <a:pt x="435" y="208"/>
                    </a:cubicBezTo>
                    <a:cubicBezTo>
                      <a:pt x="435" y="208"/>
                      <a:pt x="434" y="208"/>
                      <a:pt x="434" y="208"/>
                    </a:cubicBezTo>
                    <a:cubicBezTo>
                      <a:pt x="434" y="208"/>
                      <a:pt x="434" y="209"/>
                      <a:pt x="434" y="209"/>
                    </a:cubicBezTo>
                    <a:cubicBezTo>
                      <a:pt x="434" y="209"/>
                      <a:pt x="434" y="209"/>
                      <a:pt x="434" y="209"/>
                    </a:cubicBezTo>
                    <a:cubicBezTo>
                      <a:pt x="434" y="209"/>
                      <a:pt x="435" y="209"/>
                      <a:pt x="435" y="210"/>
                    </a:cubicBezTo>
                    <a:cubicBezTo>
                      <a:pt x="435" y="210"/>
                      <a:pt x="435" y="210"/>
                      <a:pt x="435" y="211"/>
                    </a:cubicBezTo>
                    <a:cubicBezTo>
                      <a:pt x="435" y="211"/>
                      <a:pt x="435" y="211"/>
                      <a:pt x="435" y="211"/>
                    </a:cubicBezTo>
                    <a:cubicBezTo>
                      <a:pt x="435" y="212"/>
                      <a:pt x="435" y="212"/>
                      <a:pt x="435" y="212"/>
                    </a:cubicBezTo>
                    <a:cubicBezTo>
                      <a:pt x="435" y="212"/>
                      <a:pt x="436" y="213"/>
                      <a:pt x="435" y="213"/>
                    </a:cubicBezTo>
                    <a:cubicBezTo>
                      <a:pt x="435" y="213"/>
                      <a:pt x="435" y="213"/>
                      <a:pt x="435" y="213"/>
                    </a:cubicBezTo>
                    <a:cubicBezTo>
                      <a:pt x="435" y="213"/>
                      <a:pt x="435" y="214"/>
                      <a:pt x="435" y="214"/>
                    </a:cubicBezTo>
                    <a:cubicBezTo>
                      <a:pt x="435" y="214"/>
                      <a:pt x="435" y="214"/>
                      <a:pt x="435" y="215"/>
                    </a:cubicBezTo>
                    <a:cubicBezTo>
                      <a:pt x="435" y="215"/>
                      <a:pt x="434" y="216"/>
                      <a:pt x="435" y="216"/>
                    </a:cubicBezTo>
                    <a:cubicBezTo>
                      <a:pt x="435" y="217"/>
                      <a:pt x="436" y="217"/>
                      <a:pt x="435" y="217"/>
                    </a:cubicBezTo>
                    <a:cubicBezTo>
                      <a:pt x="434" y="218"/>
                      <a:pt x="435" y="218"/>
                      <a:pt x="435" y="218"/>
                    </a:cubicBezTo>
                    <a:cubicBezTo>
                      <a:pt x="435" y="219"/>
                      <a:pt x="435" y="219"/>
                      <a:pt x="436" y="219"/>
                    </a:cubicBezTo>
                    <a:cubicBezTo>
                      <a:pt x="436" y="219"/>
                      <a:pt x="436" y="219"/>
                      <a:pt x="436" y="218"/>
                    </a:cubicBezTo>
                    <a:cubicBezTo>
                      <a:pt x="437" y="218"/>
                      <a:pt x="437" y="218"/>
                      <a:pt x="437" y="218"/>
                    </a:cubicBezTo>
                    <a:cubicBezTo>
                      <a:pt x="437" y="218"/>
                      <a:pt x="438" y="218"/>
                      <a:pt x="438" y="218"/>
                    </a:cubicBezTo>
                    <a:cubicBezTo>
                      <a:pt x="439" y="218"/>
                      <a:pt x="439" y="218"/>
                      <a:pt x="439" y="217"/>
                    </a:cubicBezTo>
                    <a:cubicBezTo>
                      <a:pt x="438" y="217"/>
                      <a:pt x="439" y="217"/>
                      <a:pt x="439" y="216"/>
                    </a:cubicBezTo>
                    <a:cubicBezTo>
                      <a:pt x="440" y="216"/>
                      <a:pt x="440" y="217"/>
                      <a:pt x="441" y="217"/>
                    </a:cubicBezTo>
                    <a:cubicBezTo>
                      <a:pt x="441" y="217"/>
                      <a:pt x="441" y="217"/>
                      <a:pt x="441" y="216"/>
                    </a:cubicBezTo>
                    <a:cubicBezTo>
                      <a:pt x="442" y="215"/>
                      <a:pt x="442" y="216"/>
                      <a:pt x="443" y="216"/>
                    </a:cubicBezTo>
                    <a:cubicBezTo>
                      <a:pt x="443" y="217"/>
                      <a:pt x="443" y="216"/>
                      <a:pt x="444" y="215"/>
                    </a:cubicBezTo>
                    <a:cubicBezTo>
                      <a:pt x="445" y="214"/>
                      <a:pt x="445" y="214"/>
                      <a:pt x="445" y="213"/>
                    </a:cubicBezTo>
                    <a:cubicBezTo>
                      <a:pt x="445" y="211"/>
                      <a:pt x="445" y="212"/>
                      <a:pt x="445" y="212"/>
                    </a:cubicBezTo>
                    <a:cubicBezTo>
                      <a:pt x="444" y="212"/>
                      <a:pt x="444" y="211"/>
                      <a:pt x="444" y="210"/>
                    </a:cubicBezTo>
                    <a:cubicBezTo>
                      <a:pt x="445" y="209"/>
                      <a:pt x="445" y="209"/>
                      <a:pt x="444" y="208"/>
                    </a:cubicBezTo>
                    <a:cubicBezTo>
                      <a:pt x="444" y="207"/>
                      <a:pt x="444" y="208"/>
                      <a:pt x="444" y="206"/>
                    </a:cubicBezTo>
                    <a:cubicBezTo>
                      <a:pt x="444" y="204"/>
                      <a:pt x="444" y="205"/>
                      <a:pt x="443" y="205"/>
                    </a:cubicBezTo>
                    <a:cubicBezTo>
                      <a:pt x="442" y="204"/>
                      <a:pt x="442" y="204"/>
                      <a:pt x="441" y="202"/>
                    </a:cubicBezTo>
                    <a:cubicBezTo>
                      <a:pt x="441" y="201"/>
                      <a:pt x="441" y="201"/>
                      <a:pt x="441" y="201"/>
                    </a:cubicBezTo>
                    <a:cubicBezTo>
                      <a:pt x="441" y="201"/>
                      <a:pt x="440" y="200"/>
                      <a:pt x="439" y="199"/>
                    </a:cubicBezTo>
                    <a:cubicBezTo>
                      <a:pt x="439" y="198"/>
                      <a:pt x="439" y="199"/>
                      <a:pt x="438" y="199"/>
                    </a:cubicBezTo>
                    <a:cubicBezTo>
                      <a:pt x="437" y="198"/>
                      <a:pt x="438" y="198"/>
                      <a:pt x="438" y="197"/>
                    </a:cubicBezTo>
                    <a:cubicBezTo>
                      <a:pt x="438" y="196"/>
                      <a:pt x="438" y="196"/>
                      <a:pt x="439" y="195"/>
                    </a:cubicBezTo>
                    <a:cubicBezTo>
                      <a:pt x="440" y="194"/>
                      <a:pt x="440" y="195"/>
                      <a:pt x="441" y="195"/>
                    </a:cubicBezTo>
                    <a:cubicBezTo>
                      <a:pt x="441" y="195"/>
                      <a:pt x="442" y="194"/>
                      <a:pt x="442" y="194"/>
                    </a:cubicBezTo>
                    <a:cubicBezTo>
                      <a:pt x="442" y="193"/>
                      <a:pt x="443" y="193"/>
                      <a:pt x="443" y="193"/>
                    </a:cubicBezTo>
                    <a:cubicBezTo>
                      <a:pt x="443" y="192"/>
                      <a:pt x="443" y="193"/>
                      <a:pt x="444" y="192"/>
                    </a:cubicBezTo>
                    <a:cubicBezTo>
                      <a:pt x="445" y="190"/>
                      <a:pt x="445" y="192"/>
                      <a:pt x="445" y="192"/>
                    </a:cubicBezTo>
                    <a:cubicBezTo>
                      <a:pt x="446" y="191"/>
                      <a:pt x="446" y="191"/>
                      <a:pt x="445" y="191"/>
                    </a:cubicBezTo>
                    <a:cubicBezTo>
                      <a:pt x="445" y="190"/>
                      <a:pt x="445" y="190"/>
                      <a:pt x="446" y="189"/>
                    </a:cubicBezTo>
                    <a:cubicBezTo>
                      <a:pt x="446" y="189"/>
                      <a:pt x="446" y="189"/>
                      <a:pt x="446" y="189"/>
                    </a:cubicBezTo>
                    <a:cubicBezTo>
                      <a:pt x="446" y="189"/>
                      <a:pt x="445" y="189"/>
                      <a:pt x="445" y="189"/>
                    </a:cubicBezTo>
                    <a:cubicBezTo>
                      <a:pt x="445" y="188"/>
                      <a:pt x="445" y="188"/>
                      <a:pt x="445" y="188"/>
                    </a:cubicBezTo>
                    <a:cubicBezTo>
                      <a:pt x="445" y="188"/>
                      <a:pt x="445" y="188"/>
                      <a:pt x="445" y="188"/>
                    </a:cubicBezTo>
                    <a:cubicBezTo>
                      <a:pt x="445" y="187"/>
                      <a:pt x="445" y="187"/>
                      <a:pt x="446" y="187"/>
                    </a:cubicBezTo>
                    <a:cubicBezTo>
                      <a:pt x="446" y="187"/>
                      <a:pt x="446" y="187"/>
                      <a:pt x="446" y="187"/>
                    </a:cubicBezTo>
                    <a:cubicBezTo>
                      <a:pt x="446" y="187"/>
                      <a:pt x="446" y="186"/>
                      <a:pt x="446" y="186"/>
                    </a:cubicBezTo>
                    <a:cubicBezTo>
                      <a:pt x="446" y="186"/>
                      <a:pt x="447" y="186"/>
                      <a:pt x="447" y="186"/>
                    </a:cubicBezTo>
                    <a:cubicBezTo>
                      <a:pt x="447" y="186"/>
                      <a:pt x="447" y="186"/>
                      <a:pt x="447" y="185"/>
                    </a:cubicBezTo>
                    <a:cubicBezTo>
                      <a:pt x="447" y="185"/>
                      <a:pt x="448" y="185"/>
                      <a:pt x="448" y="185"/>
                    </a:cubicBezTo>
                    <a:cubicBezTo>
                      <a:pt x="448" y="185"/>
                      <a:pt x="449" y="185"/>
                      <a:pt x="449" y="185"/>
                    </a:cubicBezTo>
                    <a:cubicBezTo>
                      <a:pt x="449" y="185"/>
                      <a:pt x="449" y="185"/>
                      <a:pt x="449" y="185"/>
                    </a:cubicBezTo>
                    <a:cubicBezTo>
                      <a:pt x="449" y="184"/>
                      <a:pt x="449" y="184"/>
                      <a:pt x="448" y="184"/>
                    </a:cubicBezTo>
                    <a:cubicBezTo>
                      <a:pt x="448" y="183"/>
                      <a:pt x="448" y="183"/>
                      <a:pt x="448" y="183"/>
                    </a:cubicBezTo>
                    <a:cubicBezTo>
                      <a:pt x="448" y="183"/>
                      <a:pt x="448" y="183"/>
                      <a:pt x="448" y="183"/>
                    </a:cubicBezTo>
                    <a:cubicBezTo>
                      <a:pt x="449" y="183"/>
                      <a:pt x="449" y="184"/>
                      <a:pt x="450" y="184"/>
                    </a:cubicBezTo>
                    <a:cubicBezTo>
                      <a:pt x="450" y="184"/>
                      <a:pt x="450" y="184"/>
                      <a:pt x="450" y="184"/>
                    </a:cubicBezTo>
                    <a:cubicBezTo>
                      <a:pt x="450" y="183"/>
                      <a:pt x="451" y="183"/>
                      <a:pt x="451" y="182"/>
                    </a:cubicBezTo>
                    <a:cubicBezTo>
                      <a:pt x="451" y="182"/>
                      <a:pt x="451" y="182"/>
                      <a:pt x="451" y="182"/>
                    </a:cubicBezTo>
                    <a:cubicBezTo>
                      <a:pt x="451" y="182"/>
                      <a:pt x="452" y="181"/>
                      <a:pt x="452" y="181"/>
                    </a:cubicBezTo>
                    <a:cubicBezTo>
                      <a:pt x="452" y="181"/>
                      <a:pt x="452" y="181"/>
                      <a:pt x="452" y="181"/>
                    </a:cubicBezTo>
                    <a:cubicBezTo>
                      <a:pt x="452" y="180"/>
                      <a:pt x="452" y="181"/>
                      <a:pt x="452" y="181"/>
                    </a:cubicBezTo>
                    <a:cubicBezTo>
                      <a:pt x="452" y="181"/>
                      <a:pt x="452" y="181"/>
                      <a:pt x="452" y="181"/>
                    </a:cubicBezTo>
                    <a:cubicBezTo>
                      <a:pt x="452" y="181"/>
                      <a:pt x="452" y="181"/>
                      <a:pt x="452" y="181"/>
                    </a:cubicBezTo>
                    <a:cubicBezTo>
                      <a:pt x="452" y="181"/>
                      <a:pt x="453" y="181"/>
                      <a:pt x="453" y="181"/>
                    </a:cubicBezTo>
                    <a:cubicBezTo>
                      <a:pt x="453" y="181"/>
                      <a:pt x="453" y="181"/>
                      <a:pt x="454" y="181"/>
                    </a:cubicBezTo>
                    <a:cubicBezTo>
                      <a:pt x="454" y="182"/>
                      <a:pt x="454" y="182"/>
                      <a:pt x="454" y="182"/>
                    </a:cubicBezTo>
                    <a:cubicBezTo>
                      <a:pt x="454" y="182"/>
                      <a:pt x="454" y="182"/>
                      <a:pt x="454" y="182"/>
                    </a:cubicBezTo>
                    <a:cubicBezTo>
                      <a:pt x="454" y="183"/>
                      <a:pt x="454" y="182"/>
                      <a:pt x="455" y="182"/>
                    </a:cubicBezTo>
                    <a:cubicBezTo>
                      <a:pt x="455" y="182"/>
                      <a:pt x="455" y="182"/>
                      <a:pt x="455" y="183"/>
                    </a:cubicBezTo>
                    <a:cubicBezTo>
                      <a:pt x="455" y="183"/>
                      <a:pt x="456" y="183"/>
                      <a:pt x="456" y="183"/>
                    </a:cubicBezTo>
                    <a:cubicBezTo>
                      <a:pt x="456" y="183"/>
                      <a:pt x="456" y="183"/>
                      <a:pt x="456" y="183"/>
                    </a:cubicBezTo>
                    <a:cubicBezTo>
                      <a:pt x="456" y="183"/>
                      <a:pt x="456" y="183"/>
                      <a:pt x="457" y="183"/>
                    </a:cubicBezTo>
                    <a:cubicBezTo>
                      <a:pt x="458" y="183"/>
                      <a:pt x="458" y="182"/>
                      <a:pt x="459" y="182"/>
                    </a:cubicBezTo>
                    <a:cubicBezTo>
                      <a:pt x="460" y="181"/>
                      <a:pt x="461" y="181"/>
                      <a:pt x="462" y="180"/>
                    </a:cubicBezTo>
                    <a:cubicBezTo>
                      <a:pt x="464" y="179"/>
                      <a:pt x="463" y="179"/>
                      <a:pt x="463" y="179"/>
                    </a:cubicBezTo>
                    <a:cubicBezTo>
                      <a:pt x="463" y="179"/>
                      <a:pt x="463" y="178"/>
                      <a:pt x="463" y="178"/>
                    </a:cubicBezTo>
                    <a:cubicBezTo>
                      <a:pt x="463" y="178"/>
                      <a:pt x="463" y="178"/>
                      <a:pt x="463" y="178"/>
                    </a:cubicBezTo>
                    <a:cubicBezTo>
                      <a:pt x="463" y="178"/>
                      <a:pt x="464" y="178"/>
                      <a:pt x="464" y="177"/>
                    </a:cubicBezTo>
                    <a:cubicBezTo>
                      <a:pt x="464" y="177"/>
                      <a:pt x="464" y="177"/>
                      <a:pt x="464" y="177"/>
                    </a:cubicBezTo>
                    <a:cubicBezTo>
                      <a:pt x="464" y="177"/>
                      <a:pt x="465" y="176"/>
                      <a:pt x="465" y="176"/>
                    </a:cubicBezTo>
                    <a:cubicBezTo>
                      <a:pt x="465" y="176"/>
                      <a:pt x="465" y="175"/>
                      <a:pt x="465" y="175"/>
                    </a:cubicBezTo>
                    <a:cubicBezTo>
                      <a:pt x="466" y="174"/>
                      <a:pt x="467" y="174"/>
                      <a:pt x="467" y="174"/>
                    </a:cubicBezTo>
                    <a:cubicBezTo>
                      <a:pt x="467" y="174"/>
                      <a:pt x="467" y="173"/>
                      <a:pt x="467" y="173"/>
                    </a:cubicBezTo>
                    <a:cubicBezTo>
                      <a:pt x="467" y="173"/>
                      <a:pt x="469" y="171"/>
                      <a:pt x="469" y="171"/>
                    </a:cubicBezTo>
                    <a:cubicBezTo>
                      <a:pt x="470" y="171"/>
                      <a:pt x="472" y="168"/>
                      <a:pt x="472" y="168"/>
                    </a:cubicBezTo>
                    <a:cubicBezTo>
                      <a:pt x="473" y="167"/>
                      <a:pt x="473" y="166"/>
                      <a:pt x="474" y="164"/>
                    </a:cubicBezTo>
                    <a:cubicBezTo>
                      <a:pt x="474" y="163"/>
                      <a:pt x="475" y="163"/>
                      <a:pt x="475" y="162"/>
                    </a:cubicBezTo>
                    <a:cubicBezTo>
                      <a:pt x="475" y="162"/>
                      <a:pt x="475" y="161"/>
                      <a:pt x="475" y="161"/>
                    </a:cubicBezTo>
                    <a:cubicBezTo>
                      <a:pt x="475" y="160"/>
                      <a:pt x="477" y="159"/>
                      <a:pt x="477" y="159"/>
                    </a:cubicBezTo>
                    <a:cubicBezTo>
                      <a:pt x="477" y="159"/>
                      <a:pt x="478" y="158"/>
                      <a:pt x="478" y="158"/>
                    </a:cubicBezTo>
                    <a:cubicBezTo>
                      <a:pt x="478" y="158"/>
                      <a:pt x="479" y="157"/>
                      <a:pt x="479" y="156"/>
                    </a:cubicBezTo>
                    <a:cubicBezTo>
                      <a:pt x="480" y="154"/>
                      <a:pt x="479" y="154"/>
                      <a:pt x="480" y="154"/>
                    </a:cubicBezTo>
                    <a:cubicBezTo>
                      <a:pt x="480" y="154"/>
                      <a:pt x="480" y="151"/>
                      <a:pt x="480" y="150"/>
                    </a:cubicBezTo>
                    <a:cubicBezTo>
                      <a:pt x="480" y="150"/>
                      <a:pt x="480" y="150"/>
                      <a:pt x="480" y="150"/>
                    </a:cubicBezTo>
                    <a:cubicBezTo>
                      <a:pt x="480" y="150"/>
                      <a:pt x="480" y="149"/>
                      <a:pt x="480" y="149"/>
                    </a:cubicBezTo>
                    <a:cubicBezTo>
                      <a:pt x="480" y="148"/>
                      <a:pt x="480" y="148"/>
                      <a:pt x="480" y="148"/>
                    </a:cubicBezTo>
                    <a:cubicBezTo>
                      <a:pt x="480" y="147"/>
                      <a:pt x="480" y="148"/>
                      <a:pt x="480" y="147"/>
                    </a:cubicBezTo>
                    <a:cubicBezTo>
                      <a:pt x="480" y="146"/>
                      <a:pt x="480" y="146"/>
                      <a:pt x="480" y="146"/>
                    </a:cubicBezTo>
                    <a:cubicBezTo>
                      <a:pt x="480" y="145"/>
                      <a:pt x="480" y="145"/>
                      <a:pt x="480" y="145"/>
                    </a:cubicBezTo>
                    <a:cubicBezTo>
                      <a:pt x="480" y="145"/>
                      <a:pt x="480" y="145"/>
                      <a:pt x="480" y="144"/>
                    </a:cubicBezTo>
                    <a:cubicBezTo>
                      <a:pt x="480" y="144"/>
                      <a:pt x="480" y="144"/>
                      <a:pt x="480" y="144"/>
                    </a:cubicBezTo>
                    <a:cubicBezTo>
                      <a:pt x="481" y="143"/>
                      <a:pt x="481" y="143"/>
                      <a:pt x="481" y="143"/>
                    </a:cubicBezTo>
                    <a:cubicBezTo>
                      <a:pt x="481" y="143"/>
                      <a:pt x="481" y="142"/>
                      <a:pt x="481" y="142"/>
                    </a:cubicBezTo>
                    <a:cubicBezTo>
                      <a:pt x="481" y="142"/>
                      <a:pt x="482" y="141"/>
                      <a:pt x="482" y="141"/>
                    </a:cubicBezTo>
                    <a:cubicBezTo>
                      <a:pt x="483" y="141"/>
                      <a:pt x="483" y="141"/>
                      <a:pt x="482" y="140"/>
                    </a:cubicBezTo>
                    <a:cubicBezTo>
                      <a:pt x="482" y="140"/>
                      <a:pt x="482" y="140"/>
                      <a:pt x="483" y="140"/>
                    </a:cubicBezTo>
                    <a:cubicBezTo>
                      <a:pt x="483" y="140"/>
                      <a:pt x="483" y="139"/>
                      <a:pt x="483" y="139"/>
                    </a:cubicBezTo>
                    <a:cubicBezTo>
                      <a:pt x="482" y="139"/>
                      <a:pt x="482" y="139"/>
                      <a:pt x="482" y="139"/>
                    </a:cubicBezTo>
                    <a:cubicBezTo>
                      <a:pt x="482" y="139"/>
                      <a:pt x="482" y="138"/>
                      <a:pt x="482" y="138"/>
                    </a:cubicBezTo>
                    <a:cubicBezTo>
                      <a:pt x="482" y="138"/>
                      <a:pt x="482" y="138"/>
                      <a:pt x="482" y="138"/>
                    </a:cubicBezTo>
                    <a:cubicBezTo>
                      <a:pt x="482" y="138"/>
                      <a:pt x="482" y="137"/>
                      <a:pt x="482" y="137"/>
                    </a:cubicBezTo>
                    <a:cubicBezTo>
                      <a:pt x="482" y="137"/>
                      <a:pt x="482" y="137"/>
                      <a:pt x="482" y="137"/>
                    </a:cubicBezTo>
                    <a:cubicBezTo>
                      <a:pt x="482" y="136"/>
                      <a:pt x="482" y="136"/>
                      <a:pt x="481" y="136"/>
                    </a:cubicBezTo>
                    <a:cubicBezTo>
                      <a:pt x="481" y="136"/>
                      <a:pt x="481" y="135"/>
                      <a:pt x="481" y="135"/>
                    </a:cubicBezTo>
                    <a:cubicBezTo>
                      <a:pt x="481" y="135"/>
                      <a:pt x="481" y="135"/>
                      <a:pt x="481" y="135"/>
                    </a:cubicBezTo>
                    <a:cubicBezTo>
                      <a:pt x="481" y="135"/>
                      <a:pt x="481" y="135"/>
                      <a:pt x="482" y="135"/>
                    </a:cubicBezTo>
                    <a:cubicBezTo>
                      <a:pt x="482" y="136"/>
                      <a:pt x="482" y="136"/>
                      <a:pt x="482" y="136"/>
                    </a:cubicBezTo>
                    <a:cubicBezTo>
                      <a:pt x="482" y="136"/>
                      <a:pt x="482" y="135"/>
                      <a:pt x="482" y="135"/>
                    </a:cubicBezTo>
                    <a:cubicBezTo>
                      <a:pt x="483" y="135"/>
                      <a:pt x="483" y="134"/>
                      <a:pt x="482" y="134"/>
                    </a:cubicBezTo>
                    <a:cubicBezTo>
                      <a:pt x="482" y="134"/>
                      <a:pt x="482" y="134"/>
                      <a:pt x="482" y="134"/>
                    </a:cubicBezTo>
                    <a:cubicBezTo>
                      <a:pt x="482" y="134"/>
                      <a:pt x="482" y="133"/>
                      <a:pt x="481" y="133"/>
                    </a:cubicBezTo>
                    <a:cubicBezTo>
                      <a:pt x="481" y="133"/>
                      <a:pt x="481" y="132"/>
                      <a:pt x="480" y="132"/>
                    </a:cubicBezTo>
                    <a:cubicBezTo>
                      <a:pt x="480" y="132"/>
                      <a:pt x="480" y="132"/>
                      <a:pt x="480" y="131"/>
                    </a:cubicBezTo>
                    <a:cubicBezTo>
                      <a:pt x="480" y="131"/>
                      <a:pt x="479" y="131"/>
                      <a:pt x="479" y="130"/>
                    </a:cubicBezTo>
                    <a:cubicBezTo>
                      <a:pt x="479" y="130"/>
                      <a:pt x="479" y="130"/>
                      <a:pt x="479" y="130"/>
                    </a:cubicBezTo>
                    <a:cubicBezTo>
                      <a:pt x="479" y="130"/>
                      <a:pt x="478" y="129"/>
                      <a:pt x="477" y="129"/>
                    </a:cubicBezTo>
                    <a:cubicBezTo>
                      <a:pt x="477" y="129"/>
                      <a:pt x="477" y="129"/>
                      <a:pt x="477" y="129"/>
                    </a:cubicBezTo>
                    <a:cubicBezTo>
                      <a:pt x="476" y="129"/>
                      <a:pt x="476" y="130"/>
                      <a:pt x="476" y="130"/>
                    </a:cubicBezTo>
                    <a:cubicBezTo>
                      <a:pt x="476" y="130"/>
                      <a:pt x="476" y="130"/>
                      <a:pt x="476" y="130"/>
                    </a:cubicBezTo>
                    <a:cubicBezTo>
                      <a:pt x="476" y="130"/>
                      <a:pt x="475" y="130"/>
                      <a:pt x="475" y="129"/>
                    </a:cubicBezTo>
                    <a:cubicBezTo>
                      <a:pt x="475" y="129"/>
                      <a:pt x="474" y="129"/>
                      <a:pt x="474" y="129"/>
                    </a:cubicBezTo>
                    <a:cubicBezTo>
                      <a:pt x="474" y="129"/>
                      <a:pt x="474" y="129"/>
                      <a:pt x="474" y="129"/>
                    </a:cubicBezTo>
                    <a:cubicBezTo>
                      <a:pt x="474" y="129"/>
                      <a:pt x="474" y="129"/>
                      <a:pt x="474" y="130"/>
                    </a:cubicBezTo>
                    <a:cubicBezTo>
                      <a:pt x="475" y="131"/>
                      <a:pt x="474" y="131"/>
                      <a:pt x="474" y="131"/>
                    </a:cubicBezTo>
                    <a:cubicBezTo>
                      <a:pt x="474" y="132"/>
                      <a:pt x="474" y="132"/>
                      <a:pt x="474" y="132"/>
                    </a:cubicBezTo>
                    <a:cubicBezTo>
                      <a:pt x="474" y="132"/>
                      <a:pt x="473" y="133"/>
                      <a:pt x="473" y="133"/>
                    </a:cubicBezTo>
                    <a:cubicBezTo>
                      <a:pt x="473" y="132"/>
                      <a:pt x="473" y="132"/>
                      <a:pt x="474" y="132"/>
                    </a:cubicBezTo>
                    <a:cubicBezTo>
                      <a:pt x="473" y="131"/>
                      <a:pt x="473" y="131"/>
                      <a:pt x="473" y="131"/>
                    </a:cubicBezTo>
                    <a:cubicBezTo>
                      <a:pt x="473" y="129"/>
                      <a:pt x="473" y="131"/>
                      <a:pt x="473" y="132"/>
                    </a:cubicBezTo>
                    <a:cubicBezTo>
                      <a:pt x="472" y="133"/>
                      <a:pt x="472" y="132"/>
                      <a:pt x="471" y="133"/>
                    </a:cubicBezTo>
                    <a:cubicBezTo>
                      <a:pt x="470" y="133"/>
                      <a:pt x="470" y="133"/>
                      <a:pt x="470" y="133"/>
                    </a:cubicBezTo>
                    <a:cubicBezTo>
                      <a:pt x="470" y="132"/>
                      <a:pt x="470" y="132"/>
                      <a:pt x="470" y="132"/>
                    </a:cubicBezTo>
                    <a:cubicBezTo>
                      <a:pt x="471" y="132"/>
                      <a:pt x="471" y="131"/>
                      <a:pt x="471" y="131"/>
                    </a:cubicBezTo>
                    <a:cubicBezTo>
                      <a:pt x="472" y="131"/>
                      <a:pt x="471" y="131"/>
                      <a:pt x="471" y="131"/>
                    </a:cubicBezTo>
                    <a:cubicBezTo>
                      <a:pt x="470" y="131"/>
                      <a:pt x="470" y="131"/>
                      <a:pt x="470" y="130"/>
                    </a:cubicBezTo>
                    <a:cubicBezTo>
                      <a:pt x="470" y="130"/>
                      <a:pt x="470" y="130"/>
                      <a:pt x="470" y="130"/>
                    </a:cubicBezTo>
                    <a:cubicBezTo>
                      <a:pt x="471" y="129"/>
                      <a:pt x="470" y="129"/>
                      <a:pt x="470" y="129"/>
                    </a:cubicBezTo>
                    <a:cubicBezTo>
                      <a:pt x="470" y="129"/>
                      <a:pt x="470" y="130"/>
                      <a:pt x="469" y="130"/>
                    </a:cubicBezTo>
                    <a:cubicBezTo>
                      <a:pt x="469" y="131"/>
                      <a:pt x="469" y="131"/>
                      <a:pt x="469" y="132"/>
                    </a:cubicBezTo>
                    <a:cubicBezTo>
                      <a:pt x="468" y="132"/>
                      <a:pt x="468" y="132"/>
                      <a:pt x="468" y="131"/>
                    </a:cubicBezTo>
                    <a:cubicBezTo>
                      <a:pt x="467" y="130"/>
                      <a:pt x="468" y="130"/>
                      <a:pt x="468" y="130"/>
                    </a:cubicBezTo>
                    <a:cubicBezTo>
                      <a:pt x="468" y="130"/>
                      <a:pt x="468" y="128"/>
                      <a:pt x="468" y="128"/>
                    </a:cubicBezTo>
                    <a:cubicBezTo>
                      <a:pt x="468" y="127"/>
                      <a:pt x="468" y="128"/>
                      <a:pt x="467" y="128"/>
                    </a:cubicBezTo>
                    <a:cubicBezTo>
                      <a:pt x="466" y="128"/>
                      <a:pt x="466" y="128"/>
                      <a:pt x="465" y="128"/>
                    </a:cubicBezTo>
                    <a:cubicBezTo>
                      <a:pt x="464" y="127"/>
                      <a:pt x="463" y="128"/>
                      <a:pt x="463" y="127"/>
                    </a:cubicBezTo>
                    <a:cubicBezTo>
                      <a:pt x="462" y="126"/>
                      <a:pt x="464" y="125"/>
                      <a:pt x="466" y="125"/>
                    </a:cubicBezTo>
                    <a:cubicBezTo>
                      <a:pt x="468" y="124"/>
                      <a:pt x="466" y="124"/>
                      <a:pt x="467" y="123"/>
                    </a:cubicBezTo>
                    <a:cubicBezTo>
                      <a:pt x="467" y="123"/>
                      <a:pt x="468" y="122"/>
                      <a:pt x="469" y="122"/>
                    </a:cubicBezTo>
                    <a:cubicBezTo>
                      <a:pt x="469" y="122"/>
                      <a:pt x="470" y="121"/>
                      <a:pt x="470" y="121"/>
                    </a:cubicBezTo>
                    <a:cubicBezTo>
                      <a:pt x="471" y="120"/>
                      <a:pt x="471" y="120"/>
                      <a:pt x="471" y="120"/>
                    </a:cubicBezTo>
                    <a:cubicBezTo>
                      <a:pt x="471" y="119"/>
                      <a:pt x="472" y="118"/>
                      <a:pt x="472" y="118"/>
                    </a:cubicBezTo>
                    <a:cubicBezTo>
                      <a:pt x="473" y="118"/>
                      <a:pt x="473" y="118"/>
                      <a:pt x="473" y="118"/>
                    </a:cubicBezTo>
                    <a:cubicBezTo>
                      <a:pt x="473" y="117"/>
                      <a:pt x="473" y="118"/>
                      <a:pt x="473" y="117"/>
                    </a:cubicBezTo>
                    <a:cubicBezTo>
                      <a:pt x="474" y="116"/>
                      <a:pt x="474" y="116"/>
                      <a:pt x="474" y="116"/>
                    </a:cubicBezTo>
                    <a:cubicBezTo>
                      <a:pt x="475" y="116"/>
                      <a:pt x="475" y="116"/>
                      <a:pt x="475" y="115"/>
                    </a:cubicBezTo>
                    <a:cubicBezTo>
                      <a:pt x="475" y="115"/>
                      <a:pt x="475" y="115"/>
                      <a:pt x="476" y="115"/>
                    </a:cubicBezTo>
                    <a:cubicBezTo>
                      <a:pt x="476" y="114"/>
                      <a:pt x="476" y="114"/>
                      <a:pt x="476" y="114"/>
                    </a:cubicBezTo>
                    <a:cubicBezTo>
                      <a:pt x="476" y="114"/>
                      <a:pt x="477" y="113"/>
                      <a:pt x="478" y="113"/>
                    </a:cubicBezTo>
                    <a:cubicBezTo>
                      <a:pt x="478" y="113"/>
                      <a:pt x="478" y="113"/>
                      <a:pt x="478" y="113"/>
                    </a:cubicBezTo>
                    <a:cubicBezTo>
                      <a:pt x="478" y="113"/>
                      <a:pt x="478" y="112"/>
                      <a:pt x="480" y="112"/>
                    </a:cubicBezTo>
                    <a:cubicBezTo>
                      <a:pt x="481" y="112"/>
                      <a:pt x="480" y="112"/>
                      <a:pt x="480" y="110"/>
                    </a:cubicBezTo>
                    <a:cubicBezTo>
                      <a:pt x="481" y="109"/>
                      <a:pt x="481" y="110"/>
                      <a:pt x="481" y="109"/>
                    </a:cubicBezTo>
                    <a:cubicBezTo>
                      <a:pt x="482" y="108"/>
                      <a:pt x="483" y="108"/>
                      <a:pt x="484" y="108"/>
                    </a:cubicBezTo>
                    <a:cubicBezTo>
                      <a:pt x="484" y="107"/>
                      <a:pt x="484" y="107"/>
                      <a:pt x="484" y="106"/>
                    </a:cubicBezTo>
                    <a:cubicBezTo>
                      <a:pt x="485" y="105"/>
                      <a:pt x="485" y="105"/>
                      <a:pt x="486" y="105"/>
                    </a:cubicBezTo>
                    <a:cubicBezTo>
                      <a:pt x="487" y="104"/>
                      <a:pt x="488" y="104"/>
                      <a:pt x="488" y="104"/>
                    </a:cubicBezTo>
                    <a:cubicBezTo>
                      <a:pt x="489" y="103"/>
                      <a:pt x="489" y="104"/>
                      <a:pt x="490" y="104"/>
                    </a:cubicBezTo>
                    <a:cubicBezTo>
                      <a:pt x="491" y="104"/>
                      <a:pt x="490" y="104"/>
                      <a:pt x="491" y="104"/>
                    </a:cubicBezTo>
                    <a:cubicBezTo>
                      <a:pt x="492" y="103"/>
                      <a:pt x="492" y="104"/>
                      <a:pt x="493" y="104"/>
                    </a:cubicBezTo>
                    <a:cubicBezTo>
                      <a:pt x="494" y="104"/>
                      <a:pt x="495" y="104"/>
                      <a:pt x="496" y="104"/>
                    </a:cubicBezTo>
                    <a:cubicBezTo>
                      <a:pt x="496" y="103"/>
                      <a:pt x="496" y="104"/>
                      <a:pt x="497" y="104"/>
                    </a:cubicBezTo>
                    <a:cubicBezTo>
                      <a:pt x="498" y="104"/>
                      <a:pt x="497" y="104"/>
                      <a:pt x="497" y="104"/>
                    </a:cubicBezTo>
                    <a:cubicBezTo>
                      <a:pt x="498" y="105"/>
                      <a:pt x="498" y="105"/>
                      <a:pt x="498" y="105"/>
                    </a:cubicBezTo>
                    <a:cubicBezTo>
                      <a:pt x="498" y="105"/>
                      <a:pt x="498" y="105"/>
                      <a:pt x="498" y="104"/>
                    </a:cubicBezTo>
                    <a:cubicBezTo>
                      <a:pt x="498" y="104"/>
                      <a:pt x="498" y="104"/>
                      <a:pt x="499" y="104"/>
                    </a:cubicBezTo>
                    <a:cubicBezTo>
                      <a:pt x="500" y="103"/>
                      <a:pt x="500" y="104"/>
                      <a:pt x="500" y="104"/>
                    </a:cubicBezTo>
                    <a:cubicBezTo>
                      <a:pt x="500" y="104"/>
                      <a:pt x="501" y="104"/>
                      <a:pt x="501" y="104"/>
                    </a:cubicBezTo>
                    <a:cubicBezTo>
                      <a:pt x="502" y="104"/>
                      <a:pt x="502" y="104"/>
                      <a:pt x="502" y="104"/>
                    </a:cubicBezTo>
                    <a:cubicBezTo>
                      <a:pt x="503" y="104"/>
                      <a:pt x="503" y="104"/>
                      <a:pt x="503" y="104"/>
                    </a:cubicBezTo>
                    <a:cubicBezTo>
                      <a:pt x="503" y="104"/>
                      <a:pt x="503" y="104"/>
                      <a:pt x="503" y="104"/>
                    </a:cubicBezTo>
                    <a:cubicBezTo>
                      <a:pt x="503" y="104"/>
                      <a:pt x="504" y="104"/>
                      <a:pt x="504" y="104"/>
                    </a:cubicBezTo>
                    <a:cubicBezTo>
                      <a:pt x="504" y="104"/>
                      <a:pt x="504" y="104"/>
                      <a:pt x="504" y="104"/>
                    </a:cubicBezTo>
                    <a:cubicBezTo>
                      <a:pt x="505" y="104"/>
                      <a:pt x="505" y="104"/>
                      <a:pt x="505" y="104"/>
                    </a:cubicBezTo>
                    <a:cubicBezTo>
                      <a:pt x="505" y="104"/>
                      <a:pt x="506" y="105"/>
                      <a:pt x="506" y="105"/>
                    </a:cubicBezTo>
                    <a:cubicBezTo>
                      <a:pt x="506" y="105"/>
                      <a:pt x="506" y="105"/>
                      <a:pt x="506" y="105"/>
                    </a:cubicBezTo>
                    <a:cubicBezTo>
                      <a:pt x="507" y="105"/>
                      <a:pt x="507" y="104"/>
                      <a:pt x="507" y="104"/>
                    </a:cubicBezTo>
                    <a:cubicBezTo>
                      <a:pt x="507" y="104"/>
                      <a:pt x="507" y="104"/>
                      <a:pt x="506" y="104"/>
                    </a:cubicBezTo>
                    <a:cubicBezTo>
                      <a:pt x="506" y="104"/>
                      <a:pt x="506" y="104"/>
                      <a:pt x="506" y="104"/>
                    </a:cubicBezTo>
                    <a:cubicBezTo>
                      <a:pt x="506" y="103"/>
                      <a:pt x="506" y="103"/>
                      <a:pt x="506" y="103"/>
                    </a:cubicBezTo>
                    <a:cubicBezTo>
                      <a:pt x="506" y="102"/>
                      <a:pt x="506" y="102"/>
                      <a:pt x="506" y="102"/>
                    </a:cubicBezTo>
                    <a:cubicBezTo>
                      <a:pt x="506" y="103"/>
                      <a:pt x="507" y="103"/>
                      <a:pt x="507" y="103"/>
                    </a:cubicBezTo>
                    <a:cubicBezTo>
                      <a:pt x="507" y="103"/>
                      <a:pt x="507" y="103"/>
                      <a:pt x="507" y="103"/>
                    </a:cubicBezTo>
                    <a:cubicBezTo>
                      <a:pt x="507" y="102"/>
                      <a:pt x="507" y="102"/>
                      <a:pt x="507" y="102"/>
                    </a:cubicBezTo>
                    <a:cubicBezTo>
                      <a:pt x="507" y="102"/>
                      <a:pt x="507" y="102"/>
                      <a:pt x="507" y="102"/>
                    </a:cubicBezTo>
                    <a:cubicBezTo>
                      <a:pt x="508" y="102"/>
                      <a:pt x="508" y="102"/>
                      <a:pt x="508" y="102"/>
                    </a:cubicBezTo>
                    <a:cubicBezTo>
                      <a:pt x="509" y="102"/>
                      <a:pt x="510" y="102"/>
                      <a:pt x="510" y="102"/>
                    </a:cubicBezTo>
                    <a:cubicBezTo>
                      <a:pt x="511" y="102"/>
                      <a:pt x="511" y="102"/>
                      <a:pt x="512" y="103"/>
                    </a:cubicBezTo>
                    <a:cubicBezTo>
                      <a:pt x="512" y="103"/>
                      <a:pt x="512" y="103"/>
                      <a:pt x="512" y="103"/>
                    </a:cubicBezTo>
                    <a:cubicBezTo>
                      <a:pt x="512" y="103"/>
                      <a:pt x="512" y="103"/>
                      <a:pt x="512" y="103"/>
                    </a:cubicBezTo>
                    <a:cubicBezTo>
                      <a:pt x="513" y="103"/>
                      <a:pt x="513" y="103"/>
                      <a:pt x="513" y="103"/>
                    </a:cubicBezTo>
                    <a:cubicBezTo>
                      <a:pt x="513" y="102"/>
                      <a:pt x="513" y="102"/>
                      <a:pt x="513" y="102"/>
                    </a:cubicBezTo>
                    <a:cubicBezTo>
                      <a:pt x="513" y="102"/>
                      <a:pt x="515" y="103"/>
                      <a:pt x="515" y="103"/>
                    </a:cubicBezTo>
                    <a:cubicBezTo>
                      <a:pt x="515" y="103"/>
                      <a:pt x="516" y="104"/>
                      <a:pt x="516" y="104"/>
                    </a:cubicBezTo>
                    <a:cubicBezTo>
                      <a:pt x="516" y="104"/>
                      <a:pt x="518" y="104"/>
                      <a:pt x="517" y="104"/>
                    </a:cubicBezTo>
                    <a:cubicBezTo>
                      <a:pt x="517" y="105"/>
                      <a:pt x="517" y="105"/>
                      <a:pt x="515" y="105"/>
                    </a:cubicBezTo>
                    <a:cubicBezTo>
                      <a:pt x="513" y="105"/>
                      <a:pt x="514" y="105"/>
                      <a:pt x="514" y="106"/>
                    </a:cubicBezTo>
                    <a:cubicBezTo>
                      <a:pt x="514" y="106"/>
                      <a:pt x="514" y="106"/>
                      <a:pt x="515" y="106"/>
                    </a:cubicBezTo>
                    <a:cubicBezTo>
                      <a:pt x="515" y="107"/>
                      <a:pt x="516" y="106"/>
                      <a:pt x="516" y="106"/>
                    </a:cubicBezTo>
                    <a:cubicBezTo>
                      <a:pt x="517" y="106"/>
                      <a:pt x="517" y="106"/>
                      <a:pt x="517" y="106"/>
                    </a:cubicBezTo>
                    <a:cubicBezTo>
                      <a:pt x="517" y="105"/>
                      <a:pt x="517" y="106"/>
                      <a:pt x="518" y="106"/>
                    </a:cubicBezTo>
                    <a:cubicBezTo>
                      <a:pt x="519" y="106"/>
                      <a:pt x="519" y="106"/>
                      <a:pt x="519" y="106"/>
                    </a:cubicBezTo>
                    <a:cubicBezTo>
                      <a:pt x="520" y="105"/>
                      <a:pt x="520" y="105"/>
                      <a:pt x="520" y="105"/>
                    </a:cubicBezTo>
                    <a:cubicBezTo>
                      <a:pt x="520" y="105"/>
                      <a:pt x="520" y="105"/>
                      <a:pt x="521" y="105"/>
                    </a:cubicBezTo>
                    <a:cubicBezTo>
                      <a:pt x="521" y="105"/>
                      <a:pt x="521" y="105"/>
                      <a:pt x="521" y="104"/>
                    </a:cubicBezTo>
                    <a:cubicBezTo>
                      <a:pt x="521" y="104"/>
                      <a:pt x="521" y="104"/>
                      <a:pt x="521" y="104"/>
                    </a:cubicBezTo>
                    <a:cubicBezTo>
                      <a:pt x="521" y="104"/>
                      <a:pt x="522" y="105"/>
                      <a:pt x="522" y="105"/>
                    </a:cubicBezTo>
                    <a:cubicBezTo>
                      <a:pt x="522" y="105"/>
                      <a:pt x="522" y="105"/>
                      <a:pt x="522" y="105"/>
                    </a:cubicBezTo>
                    <a:cubicBezTo>
                      <a:pt x="523" y="105"/>
                      <a:pt x="523" y="105"/>
                      <a:pt x="523" y="105"/>
                    </a:cubicBezTo>
                    <a:cubicBezTo>
                      <a:pt x="524" y="105"/>
                      <a:pt x="524" y="105"/>
                      <a:pt x="524" y="105"/>
                    </a:cubicBezTo>
                    <a:cubicBezTo>
                      <a:pt x="524" y="105"/>
                      <a:pt x="524" y="105"/>
                      <a:pt x="524" y="105"/>
                    </a:cubicBezTo>
                    <a:cubicBezTo>
                      <a:pt x="524" y="105"/>
                      <a:pt x="525" y="105"/>
                      <a:pt x="525" y="105"/>
                    </a:cubicBezTo>
                    <a:cubicBezTo>
                      <a:pt x="525" y="105"/>
                      <a:pt x="526" y="105"/>
                      <a:pt x="526" y="105"/>
                    </a:cubicBezTo>
                    <a:cubicBezTo>
                      <a:pt x="526" y="105"/>
                      <a:pt x="526" y="105"/>
                      <a:pt x="526" y="105"/>
                    </a:cubicBezTo>
                    <a:cubicBezTo>
                      <a:pt x="527" y="105"/>
                      <a:pt x="527" y="104"/>
                      <a:pt x="527" y="104"/>
                    </a:cubicBezTo>
                    <a:cubicBezTo>
                      <a:pt x="527" y="104"/>
                      <a:pt x="527" y="104"/>
                      <a:pt x="527" y="104"/>
                    </a:cubicBezTo>
                    <a:cubicBezTo>
                      <a:pt x="527" y="104"/>
                      <a:pt x="527" y="104"/>
                      <a:pt x="526" y="103"/>
                    </a:cubicBezTo>
                    <a:cubicBezTo>
                      <a:pt x="526" y="103"/>
                      <a:pt x="526" y="103"/>
                      <a:pt x="526" y="103"/>
                    </a:cubicBezTo>
                    <a:cubicBezTo>
                      <a:pt x="525" y="103"/>
                      <a:pt x="525" y="103"/>
                      <a:pt x="525" y="103"/>
                    </a:cubicBezTo>
                    <a:cubicBezTo>
                      <a:pt x="525" y="103"/>
                      <a:pt x="525" y="103"/>
                      <a:pt x="525" y="103"/>
                    </a:cubicBezTo>
                    <a:cubicBezTo>
                      <a:pt x="525" y="103"/>
                      <a:pt x="525" y="103"/>
                      <a:pt x="525" y="103"/>
                    </a:cubicBezTo>
                    <a:cubicBezTo>
                      <a:pt x="525" y="103"/>
                      <a:pt x="524" y="103"/>
                      <a:pt x="524" y="103"/>
                    </a:cubicBezTo>
                    <a:cubicBezTo>
                      <a:pt x="524" y="103"/>
                      <a:pt x="524" y="103"/>
                      <a:pt x="523" y="104"/>
                    </a:cubicBezTo>
                    <a:cubicBezTo>
                      <a:pt x="523" y="103"/>
                      <a:pt x="523" y="103"/>
                      <a:pt x="523" y="103"/>
                    </a:cubicBezTo>
                    <a:cubicBezTo>
                      <a:pt x="523" y="103"/>
                      <a:pt x="523" y="103"/>
                      <a:pt x="523" y="103"/>
                    </a:cubicBezTo>
                    <a:cubicBezTo>
                      <a:pt x="523" y="103"/>
                      <a:pt x="523" y="103"/>
                      <a:pt x="524" y="103"/>
                    </a:cubicBezTo>
                    <a:cubicBezTo>
                      <a:pt x="524" y="103"/>
                      <a:pt x="524" y="102"/>
                      <a:pt x="524" y="102"/>
                    </a:cubicBezTo>
                    <a:cubicBezTo>
                      <a:pt x="524" y="102"/>
                      <a:pt x="524" y="102"/>
                      <a:pt x="524" y="102"/>
                    </a:cubicBezTo>
                    <a:cubicBezTo>
                      <a:pt x="524" y="101"/>
                      <a:pt x="524" y="101"/>
                      <a:pt x="524" y="101"/>
                    </a:cubicBezTo>
                    <a:cubicBezTo>
                      <a:pt x="524" y="101"/>
                      <a:pt x="524" y="101"/>
                      <a:pt x="524" y="101"/>
                    </a:cubicBezTo>
                    <a:cubicBezTo>
                      <a:pt x="525" y="101"/>
                      <a:pt x="525" y="101"/>
                      <a:pt x="524" y="101"/>
                    </a:cubicBezTo>
                    <a:cubicBezTo>
                      <a:pt x="525" y="100"/>
                      <a:pt x="525" y="100"/>
                      <a:pt x="525" y="100"/>
                    </a:cubicBezTo>
                    <a:cubicBezTo>
                      <a:pt x="526" y="98"/>
                      <a:pt x="526" y="99"/>
                      <a:pt x="526" y="98"/>
                    </a:cubicBezTo>
                    <a:cubicBezTo>
                      <a:pt x="526" y="98"/>
                      <a:pt x="526" y="98"/>
                      <a:pt x="526" y="98"/>
                    </a:cubicBezTo>
                    <a:cubicBezTo>
                      <a:pt x="527" y="98"/>
                      <a:pt x="528" y="98"/>
                      <a:pt x="528" y="98"/>
                    </a:cubicBezTo>
                    <a:cubicBezTo>
                      <a:pt x="528" y="98"/>
                      <a:pt x="528" y="97"/>
                      <a:pt x="528" y="97"/>
                    </a:cubicBezTo>
                    <a:cubicBezTo>
                      <a:pt x="529" y="97"/>
                      <a:pt x="529" y="97"/>
                      <a:pt x="529" y="97"/>
                    </a:cubicBezTo>
                    <a:cubicBezTo>
                      <a:pt x="529" y="97"/>
                      <a:pt x="529" y="97"/>
                      <a:pt x="529" y="97"/>
                    </a:cubicBezTo>
                    <a:cubicBezTo>
                      <a:pt x="529" y="97"/>
                      <a:pt x="529" y="96"/>
                      <a:pt x="529" y="96"/>
                    </a:cubicBezTo>
                    <a:cubicBezTo>
                      <a:pt x="530" y="95"/>
                      <a:pt x="530" y="95"/>
                      <a:pt x="530" y="95"/>
                    </a:cubicBezTo>
                    <a:cubicBezTo>
                      <a:pt x="530" y="95"/>
                      <a:pt x="531" y="94"/>
                      <a:pt x="531" y="94"/>
                    </a:cubicBezTo>
                    <a:cubicBezTo>
                      <a:pt x="531" y="94"/>
                      <a:pt x="531" y="94"/>
                      <a:pt x="531" y="94"/>
                    </a:cubicBezTo>
                    <a:cubicBezTo>
                      <a:pt x="531" y="94"/>
                      <a:pt x="531" y="94"/>
                      <a:pt x="531" y="93"/>
                    </a:cubicBezTo>
                    <a:cubicBezTo>
                      <a:pt x="531" y="93"/>
                      <a:pt x="531" y="93"/>
                      <a:pt x="531" y="93"/>
                    </a:cubicBezTo>
                    <a:cubicBezTo>
                      <a:pt x="531" y="93"/>
                      <a:pt x="531" y="93"/>
                      <a:pt x="532" y="93"/>
                    </a:cubicBezTo>
                    <a:cubicBezTo>
                      <a:pt x="532" y="93"/>
                      <a:pt x="532" y="93"/>
                      <a:pt x="532" y="92"/>
                    </a:cubicBezTo>
                    <a:cubicBezTo>
                      <a:pt x="532" y="92"/>
                      <a:pt x="533" y="92"/>
                      <a:pt x="533" y="92"/>
                    </a:cubicBezTo>
                    <a:cubicBezTo>
                      <a:pt x="534" y="92"/>
                      <a:pt x="534" y="92"/>
                      <a:pt x="534" y="91"/>
                    </a:cubicBezTo>
                    <a:cubicBezTo>
                      <a:pt x="534" y="91"/>
                      <a:pt x="534" y="91"/>
                      <a:pt x="535" y="92"/>
                    </a:cubicBezTo>
                    <a:cubicBezTo>
                      <a:pt x="536" y="92"/>
                      <a:pt x="536" y="91"/>
                      <a:pt x="537" y="91"/>
                    </a:cubicBezTo>
                    <a:cubicBezTo>
                      <a:pt x="538" y="91"/>
                      <a:pt x="538" y="91"/>
                      <a:pt x="539" y="91"/>
                    </a:cubicBezTo>
                    <a:cubicBezTo>
                      <a:pt x="539" y="92"/>
                      <a:pt x="539" y="92"/>
                      <a:pt x="539" y="92"/>
                    </a:cubicBezTo>
                    <a:cubicBezTo>
                      <a:pt x="539" y="91"/>
                      <a:pt x="539" y="91"/>
                      <a:pt x="540" y="91"/>
                    </a:cubicBezTo>
                    <a:cubicBezTo>
                      <a:pt x="540" y="91"/>
                      <a:pt x="540" y="91"/>
                      <a:pt x="540" y="91"/>
                    </a:cubicBezTo>
                    <a:cubicBezTo>
                      <a:pt x="540" y="91"/>
                      <a:pt x="540" y="91"/>
                      <a:pt x="541" y="92"/>
                    </a:cubicBezTo>
                    <a:cubicBezTo>
                      <a:pt x="541" y="92"/>
                      <a:pt x="541" y="92"/>
                      <a:pt x="541" y="92"/>
                    </a:cubicBezTo>
                    <a:cubicBezTo>
                      <a:pt x="541" y="92"/>
                      <a:pt x="543" y="90"/>
                      <a:pt x="543" y="90"/>
                    </a:cubicBezTo>
                    <a:cubicBezTo>
                      <a:pt x="543" y="91"/>
                      <a:pt x="543" y="91"/>
                      <a:pt x="543" y="91"/>
                    </a:cubicBezTo>
                    <a:cubicBezTo>
                      <a:pt x="543" y="92"/>
                      <a:pt x="543" y="92"/>
                      <a:pt x="543" y="92"/>
                    </a:cubicBezTo>
                    <a:cubicBezTo>
                      <a:pt x="543" y="92"/>
                      <a:pt x="543" y="93"/>
                      <a:pt x="542" y="93"/>
                    </a:cubicBezTo>
                    <a:cubicBezTo>
                      <a:pt x="542" y="93"/>
                      <a:pt x="542" y="94"/>
                      <a:pt x="542" y="94"/>
                    </a:cubicBezTo>
                    <a:cubicBezTo>
                      <a:pt x="542" y="95"/>
                      <a:pt x="541" y="95"/>
                      <a:pt x="542" y="95"/>
                    </a:cubicBezTo>
                    <a:cubicBezTo>
                      <a:pt x="543" y="96"/>
                      <a:pt x="542" y="95"/>
                      <a:pt x="543" y="95"/>
                    </a:cubicBezTo>
                    <a:cubicBezTo>
                      <a:pt x="543" y="95"/>
                      <a:pt x="543" y="96"/>
                      <a:pt x="543" y="96"/>
                    </a:cubicBezTo>
                    <a:cubicBezTo>
                      <a:pt x="543" y="96"/>
                      <a:pt x="542" y="96"/>
                      <a:pt x="542" y="97"/>
                    </a:cubicBezTo>
                    <a:cubicBezTo>
                      <a:pt x="542" y="99"/>
                      <a:pt x="542" y="98"/>
                      <a:pt x="544" y="97"/>
                    </a:cubicBezTo>
                    <a:cubicBezTo>
                      <a:pt x="545" y="96"/>
                      <a:pt x="544" y="97"/>
                      <a:pt x="545" y="97"/>
                    </a:cubicBezTo>
                    <a:cubicBezTo>
                      <a:pt x="546" y="97"/>
                      <a:pt x="545" y="96"/>
                      <a:pt x="546" y="96"/>
                    </a:cubicBezTo>
                    <a:cubicBezTo>
                      <a:pt x="546" y="95"/>
                      <a:pt x="547" y="94"/>
                      <a:pt x="547" y="94"/>
                    </a:cubicBezTo>
                    <a:cubicBezTo>
                      <a:pt x="548" y="93"/>
                      <a:pt x="548" y="94"/>
                      <a:pt x="548" y="94"/>
                    </a:cubicBezTo>
                    <a:cubicBezTo>
                      <a:pt x="548" y="93"/>
                      <a:pt x="549" y="93"/>
                      <a:pt x="549" y="93"/>
                    </a:cubicBezTo>
                    <a:cubicBezTo>
                      <a:pt x="549" y="93"/>
                      <a:pt x="549" y="92"/>
                      <a:pt x="550" y="92"/>
                    </a:cubicBezTo>
                    <a:cubicBezTo>
                      <a:pt x="550" y="92"/>
                      <a:pt x="550" y="92"/>
                      <a:pt x="550" y="92"/>
                    </a:cubicBezTo>
                    <a:cubicBezTo>
                      <a:pt x="550" y="92"/>
                      <a:pt x="551" y="92"/>
                      <a:pt x="551" y="92"/>
                    </a:cubicBezTo>
                    <a:cubicBezTo>
                      <a:pt x="551" y="92"/>
                      <a:pt x="551" y="92"/>
                      <a:pt x="551" y="92"/>
                    </a:cubicBezTo>
                    <a:cubicBezTo>
                      <a:pt x="551" y="92"/>
                      <a:pt x="551" y="92"/>
                      <a:pt x="551" y="92"/>
                    </a:cubicBezTo>
                    <a:cubicBezTo>
                      <a:pt x="551" y="92"/>
                      <a:pt x="551" y="92"/>
                      <a:pt x="552" y="93"/>
                    </a:cubicBezTo>
                    <a:cubicBezTo>
                      <a:pt x="552" y="93"/>
                      <a:pt x="552" y="92"/>
                      <a:pt x="552" y="92"/>
                    </a:cubicBezTo>
                    <a:cubicBezTo>
                      <a:pt x="553" y="92"/>
                      <a:pt x="553" y="92"/>
                      <a:pt x="552" y="92"/>
                    </a:cubicBezTo>
                    <a:cubicBezTo>
                      <a:pt x="552" y="91"/>
                      <a:pt x="552" y="91"/>
                      <a:pt x="552" y="91"/>
                    </a:cubicBezTo>
                    <a:cubicBezTo>
                      <a:pt x="552" y="91"/>
                      <a:pt x="552" y="90"/>
                      <a:pt x="552" y="90"/>
                    </a:cubicBezTo>
                    <a:cubicBezTo>
                      <a:pt x="553" y="90"/>
                      <a:pt x="552" y="89"/>
                      <a:pt x="552" y="89"/>
                    </a:cubicBezTo>
                    <a:cubicBezTo>
                      <a:pt x="552" y="88"/>
                      <a:pt x="552" y="89"/>
                      <a:pt x="553" y="88"/>
                    </a:cubicBezTo>
                    <a:cubicBezTo>
                      <a:pt x="554" y="88"/>
                      <a:pt x="552" y="88"/>
                      <a:pt x="553" y="87"/>
                    </a:cubicBezTo>
                    <a:cubicBezTo>
                      <a:pt x="553" y="87"/>
                      <a:pt x="554" y="87"/>
                      <a:pt x="555" y="87"/>
                    </a:cubicBezTo>
                    <a:cubicBezTo>
                      <a:pt x="556" y="87"/>
                      <a:pt x="556" y="86"/>
                      <a:pt x="557" y="86"/>
                    </a:cubicBezTo>
                    <a:cubicBezTo>
                      <a:pt x="557" y="86"/>
                      <a:pt x="557" y="87"/>
                      <a:pt x="558" y="87"/>
                    </a:cubicBezTo>
                    <a:cubicBezTo>
                      <a:pt x="558" y="87"/>
                      <a:pt x="559" y="87"/>
                      <a:pt x="559" y="88"/>
                    </a:cubicBezTo>
                    <a:cubicBezTo>
                      <a:pt x="558" y="89"/>
                      <a:pt x="558" y="88"/>
                      <a:pt x="558" y="88"/>
                    </a:cubicBezTo>
                    <a:cubicBezTo>
                      <a:pt x="558" y="88"/>
                      <a:pt x="556" y="88"/>
                      <a:pt x="556" y="89"/>
                    </a:cubicBezTo>
                    <a:cubicBezTo>
                      <a:pt x="555" y="90"/>
                      <a:pt x="556" y="91"/>
                      <a:pt x="555" y="92"/>
                    </a:cubicBezTo>
                    <a:cubicBezTo>
                      <a:pt x="554" y="93"/>
                      <a:pt x="555" y="92"/>
                      <a:pt x="554" y="93"/>
                    </a:cubicBezTo>
                    <a:cubicBezTo>
                      <a:pt x="554" y="93"/>
                      <a:pt x="555" y="93"/>
                      <a:pt x="555" y="93"/>
                    </a:cubicBezTo>
                    <a:cubicBezTo>
                      <a:pt x="555" y="93"/>
                      <a:pt x="555" y="94"/>
                      <a:pt x="555" y="94"/>
                    </a:cubicBezTo>
                    <a:cubicBezTo>
                      <a:pt x="555" y="94"/>
                      <a:pt x="554" y="94"/>
                      <a:pt x="554" y="95"/>
                    </a:cubicBezTo>
                    <a:cubicBezTo>
                      <a:pt x="553" y="95"/>
                      <a:pt x="553" y="95"/>
                      <a:pt x="553" y="95"/>
                    </a:cubicBezTo>
                    <a:cubicBezTo>
                      <a:pt x="554" y="96"/>
                      <a:pt x="554" y="96"/>
                      <a:pt x="554" y="96"/>
                    </a:cubicBezTo>
                    <a:cubicBezTo>
                      <a:pt x="554" y="96"/>
                      <a:pt x="554" y="96"/>
                      <a:pt x="554" y="96"/>
                    </a:cubicBezTo>
                    <a:cubicBezTo>
                      <a:pt x="554" y="96"/>
                      <a:pt x="554" y="96"/>
                      <a:pt x="553" y="96"/>
                    </a:cubicBezTo>
                    <a:cubicBezTo>
                      <a:pt x="553" y="97"/>
                      <a:pt x="553" y="97"/>
                      <a:pt x="553" y="97"/>
                    </a:cubicBezTo>
                    <a:cubicBezTo>
                      <a:pt x="552" y="97"/>
                      <a:pt x="552" y="97"/>
                      <a:pt x="552" y="97"/>
                    </a:cubicBezTo>
                    <a:cubicBezTo>
                      <a:pt x="552" y="97"/>
                      <a:pt x="552" y="96"/>
                      <a:pt x="552" y="96"/>
                    </a:cubicBezTo>
                    <a:cubicBezTo>
                      <a:pt x="551" y="97"/>
                      <a:pt x="551" y="97"/>
                      <a:pt x="551" y="97"/>
                    </a:cubicBezTo>
                    <a:cubicBezTo>
                      <a:pt x="551" y="98"/>
                      <a:pt x="551" y="97"/>
                      <a:pt x="551" y="97"/>
                    </a:cubicBezTo>
                    <a:cubicBezTo>
                      <a:pt x="550" y="97"/>
                      <a:pt x="549" y="98"/>
                      <a:pt x="548" y="98"/>
                    </a:cubicBezTo>
                    <a:cubicBezTo>
                      <a:pt x="548" y="98"/>
                      <a:pt x="548" y="99"/>
                      <a:pt x="548" y="99"/>
                    </a:cubicBezTo>
                    <a:cubicBezTo>
                      <a:pt x="548" y="100"/>
                      <a:pt x="548" y="100"/>
                      <a:pt x="547" y="100"/>
                    </a:cubicBezTo>
                    <a:cubicBezTo>
                      <a:pt x="547" y="100"/>
                      <a:pt x="547" y="101"/>
                      <a:pt x="547" y="101"/>
                    </a:cubicBezTo>
                    <a:cubicBezTo>
                      <a:pt x="547" y="101"/>
                      <a:pt x="545" y="102"/>
                      <a:pt x="544" y="102"/>
                    </a:cubicBezTo>
                    <a:cubicBezTo>
                      <a:pt x="543" y="102"/>
                      <a:pt x="544" y="103"/>
                      <a:pt x="543" y="104"/>
                    </a:cubicBezTo>
                    <a:cubicBezTo>
                      <a:pt x="542" y="105"/>
                      <a:pt x="543" y="104"/>
                      <a:pt x="542" y="105"/>
                    </a:cubicBezTo>
                    <a:cubicBezTo>
                      <a:pt x="541" y="105"/>
                      <a:pt x="540" y="107"/>
                      <a:pt x="540" y="108"/>
                    </a:cubicBezTo>
                    <a:cubicBezTo>
                      <a:pt x="539" y="109"/>
                      <a:pt x="539" y="109"/>
                      <a:pt x="538" y="109"/>
                    </a:cubicBezTo>
                    <a:cubicBezTo>
                      <a:pt x="537" y="110"/>
                      <a:pt x="537" y="110"/>
                      <a:pt x="537" y="111"/>
                    </a:cubicBezTo>
                    <a:cubicBezTo>
                      <a:pt x="536" y="111"/>
                      <a:pt x="536" y="111"/>
                      <a:pt x="536" y="111"/>
                    </a:cubicBezTo>
                    <a:cubicBezTo>
                      <a:pt x="535" y="110"/>
                      <a:pt x="535" y="110"/>
                      <a:pt x="534" y="111"/>
                    </a:cubicBezTo>
                    <a:cubicBezTo>
                      <a:pt x="534" y="112"/>
                      <a:pt x="534" y="112"/>
                      <a:pt x="533" y="112"/>
                    </a:cubicBezTo>
                    <a:cubicBezTo>
                      <a:pt x="532" y="112"/>
                      <a:pt x="532" y="112"/>
                      <a:pt x="532" y="112"/>
                    </a:cubicBezTo>
                    <a:cubicBezTo>
                      <a:pt x="532" y="113"/>
                      <a:pt x="533" y="112"/>
                      <a:pt x="532" y="114"/>
                    </a:cubicBezTo>
                    <a:cubicBezTo>
                      <a:pt x="532" y="116"/>
                      <a:pt x="532" y="115"/>
                      <a:pt x="531" y="115"/>
                    </a:cubicBezTo>
                    <a:cubicBezTo>
                      <a:pt x="531" y="116"/>
                      <a:pt x="531" y="116"/>
                      <a:pt x="530" y="117"/>
                    </a:cubicBezTo>
                    <a:cubicBezTo>
                      <a:pt x="529" y="118"/>
                      <a:pt x="529" y="118"/>
                      <a:pt x="529" y="119"/>
                    </a:cubicBezTo>
                    <a:cubicBezTo>
                      <a:pt x="529" y="120"/>
                      <a:pt x="529" y="120"/>
                      <a:pt x="529" y="120"/>
                    </a:cubicBezTo>
                    <a:cubicBezTo>
                      <a:pt x="529" y="120"/>
                      <a:pt x="529" y="121"/>
                      <a:pt x="528" y="122"/>
                    </a:cubicBezTo>
                    <a:cubicBezTo>
                      <a:pt x="528" y="122"/>
                      <a:pt x="528" y="123"/>
                      <a:pt x="528" y="124"/>
                    </a:cubicBezTo>
                    <a:cubicBezTo>
                      <a:pt x="528" y="125"/>
                      <a:pt x="528" y="127"/>
                      <a:pt x="529" y="129"/>
                    </a:cubicBezTo>
                    <a:cubicBezTo>
                      <a:pt x="529" y="129"/>
                      <a:pt x="529" y="130"/>
                      <a:pt x="529" y="131"/>
                    </a:cubicBezTo>
                    <a:cubicBezTo>
                      <a:pt x="529" y="132"/>
                      <a:pt x="530" y="135"/>
                      <a:pt x="530" y="136"/>
                    </a:cubicBezTo>
                    <a:cubicBezTo>
                      <a:pt x="530" y="137"/>
                      <a:pt x="530" y="137"/>
                      <a:pt x="531" y="139"/>
                    </a:cubicBezTo>
                    <a:cubicBezTo>
                      <a:pt x="531" y="140"/>
                      <a:pt x="531" y="140"/>
                      <a:pt x="531" y="142"/>
                    </a:cubicBezTo>
                    <a:cubicBezTo>
                      <a:pt x="531" y="143"/>
                      <a:pt x="531" y="143"/>
                      <a:pt x="531" y="144"/>
                    </a:cubicBezTo>
                    <a:cubicBezTo>
                      <a:pt x="531" y="144"/>
                      <a:pt x="531" y="144"/>
                      <a:pt x="531" y="144"/>
                    </a:cubicBezTo>
                    <a:cubicBezTo>
                      <a:pt x="532" y="144"/>
                      <a:pt x="532" y="145"/>
                      <a:pt x="532" y="145"/>
                    </a:cubicBezTo>
                    <a:cubicBezTo>
                      <a:pt x="532" y="145"/>
                      <a:pt x="532" y="145"/>
                      <a:pt x="533" y="144"/>
                    </a:cubicBezTo>
                    <a:cubicBezTo>
                      <a:pt x="533" y="144"/>
                      <a:pt x="534" y="143"/>
                      <a:pt x="534" y="143"/>
                    </a:cubicBezTo>
                    <a:cubicBezTo>
                      <a:pt x="535" y="143"/>
                      <a:pt x="533" y="143"/>
                      <a:pt x="535" y="142"/>
                    </a:cubicBezTo>
                    <a:cubicBezTo>
                      <a:pt x="536" y="142"/>
                      <a:pt x="536" y="142"/>
                      <a:pt x="536" y="142"/>
                    </a:cubicBezTo>
                    <a:cubicBezTo>
                      <a:pt x="536" y="142"/>
                      <a:pt x="536" y="141"/>
                      <a:pt x="537" y="140"/>
                    </a:cubicBezTo>
                    <a:cubicBezTo>
                      <a:pt x="537" y="139"/>
                      <a:pt x="537" y="139"/>
                      <a:pt x="537" y="138"/>
                    </a:cubicBezTo>
                    <a:cubicBezTo>
                      <a:pt x="537" y="138"/>
                      <a:pt x="537" y="138"/>
                      <a:pt x="537" y="138"/>
                    </a:cubicBezTo>
                    <a:cubicBezTo>
                      <a:pt x="538" y="137"/>
                      <a:pt x="538" y="137"/>
                      <a:pt x="538" y="137"/>
                    </a:cubicBezTo>
                    <a:cubicBezTo>
                      <a:pt x="538" y="137"/>
                      <a:pt x="538" y="137"/>
                      <a:pt x="538" y="137"/>
                    </a:cubicBezTo>
                    <a:cubicBezTo>
                      <a:pt x="538" y="137"/>
                      <a:pt x="537" y="136"/>
                      <a:pt x="537" y="136"/>
                    </a:cubicBezTo>
                    <a:cubicBezTo>
                      <a:pt x="537" y="136"/>
                      <a:pt x="538" y="136"/>
                      <a:pt x="538" y="136"/>
                    </a:cubicBezTo>
                    <a:cubicBezTo>
                      <a:pt x="538" y="136"/>
                      <a:pt x="538" y="136"/>
                      <a:pt x="538" y="136"/>
                    </a:cubicBezTo>
                    <a:cubicBezTo>
                      <a:pt x="538" y="136"/>
                      <a:pt x="539" y="135"/>
                      <a:pt x="539" y="135"/>
                    </a:cubicBezTo>
                    <a:cubicBezTo>
                      <a:pt x="539" y="135"/>
                      <a:pt x="539" y="135"/>
                      <a:pt x="539" y="135"/>
                    </a:cubicBezTo>
                    <a:cubicBezTo>
                      <a:pt x="539" y="135"/>
                      <a:pt x="541" y="134"/>
                      <a:pt x="542" y="134"/>
                    </a:cubicBezTo>
                    <a:cubicBezTo>
                      <a:pt x="543" y="133"/>
                      <a:pt x="542" y="133"/>
                      <a:pt x="542" y="133"/>
                    </a:cubicBezTo>
                    <a:cubicBezTo>
                      <a:pt x="542" y="132"/>
                      <a:pt x="542" y="132"/>
                      <a:pt x="542" y="132"/>
                    </a:cubicBezTo>
                    <a:cubicBezTo>
                      <a:pt x="542" y="132"/>
                      <a:pt x="542" y="131"/>
                      <a:pt x="542" y="130"/>
                    </a:cubicBezTo>
                    <a:cubicBezTo>
                      <a:pt x="543" y="128"/>
                      <a:pt x="544" y="129"/>
                      <a:pt x="545" y="128"/>
                    </a:cubicBezTo>
                    <a:cubicBezTo>
                      <a:pt x="546" y="128"/>
                      <a:pt x="546" y="128"/>
                      <a:pt x="546" y="128"/>
                    </a:cubicBezTo>
                    <a:cubicBezTo>
                      <a:pt x="546" y="128"/>
                      <a:pt x="546" y="128"/>
                      <a:pt x="546" y="128"/>
                    </a:cubicBezTo>
                    <a:cubicBezTo>
                      <a:pt x="547" y="128"/>
                      <a:pt x="547" y="128"/>
                      <a:pt x="547" y="128"/>
                    </a:cubicBezTo>
                    <a:cubicBezTo>
                      <a:pt x="547" y="129"/>
                      <a:pt x="548" y="128"/>
                      <a:pt x="549" y="127"/>
                    </a:cubicBezTo>
                    <a:cubicBezTo>
                      <a:pt x="550" y="127"/>
                      <a:pt x="549" y="126"/>
                      <a:pt x="549" y="126"/>
                    </a:cubicBezTo>
                    <a:cubicBezTo>
                      <a:pt x="549" y="126"/>
                      <a:pt x="548" y="125"/>
                      <a:pt x="548" y="125"/>
                    </a:cubicBezTo>
                    <a:cubicBezTo>
                      <a:pt x="548" y="124"/>
                      <a:pt x="548" y="124"/>
                      <a:pt x="548" y="124"/>
                    </a:cubicBezTo>
                    <a:cubicBezTo>
                      <a:pt x="548" y="124"/>
                      <a:pt x="548" y="123"/>
                      <a:pt x="548" y="123"/>
                    </a:cubicBezTo>
                    <a:cubicBezTo>
                      <a:pt x="548" y="122"/>
                      <a:pt x="548" y="122"/>
                      <a:pt x="548" y="121"/>
                    </a:cubicBezTo>
                    <a:cubicBezTo>
                      <a:pt x="549" y="120"/>
                      <a:pt x="549" y="120"/>
                      <a:pt x="549" y="120"/>
                    </a:cubicBezTo>
                    <a:cubicBezTo>
                      <a:pt x="550" y="119"/>
                      <a:pt x="550" y="120"/>
                      <a:pt x="550" y="120"/>
                    </a:cubicBezTo>
                    <a:cubicBezTo>
                      <a:pt x="551" y="120"/>
                      <a:pt x="551" y="120"/>
                      <a:pt x="551" y="120"/>
                    </a:cubicBezTo>
                    <a:cubicBezTo>
                      <a:pt x="551" y="120"/>
                      <a:pt x="551" y="120"/>
                      <a:pt x="552" y="121"/>
                    </a:cubicBezTo>
                    <a:cubicBezTo>
                      <a:pt x="552" y="121"/>
                      <a:pt x="552" y="120"/>
                      <a:pt x="553" y="120"/>
                    </a:cubicBezTo>
                    <a:cubicBezTo>
                      <a:pt x="554" y="119"/>
                      <a:pt x="554" y="119"/>
                      <a:pt x="554" y="119"/>
                    </a:cubicBezTo>
                    <a:cubicBezTo>
                      <a:pt x="553" y="119"/>
                      <a:pt x="553" y="118"/>
                      <a:pt x="552" y="118"/>
                    </a:cubicBezTo>
                    <a:cubicBezTo>
                      <a:pt x="552" y="117"/>
                      <a:pt x="552" y="117"/>
                      <a:pt x="552" y="117"/>
                    </a:cubicBezTo>
                    <a:cubicBezTo>
                      <a:pt x="552" y="117"/>
                      <a:pt x="552" y="117"/>
                      <a:pt x="552" y="117"/>
                    </a:cubicBezTo>
                    <a:cubicBezTo>
                      <a:pt x="552" y="117"/>
                      <a:pt x="551" y="117"/>
                      <a:pt x="551" y="117"/>
                    </a:cubicBezTo>
                    <a:cubicBezTo>
                      <a:pt x="551" y="117"/>
                      <a:pt x="551" y="116"/>
                      <a:pt x="551" y="115"/>
                    </a:cubicBezTo>
                    <a:cubicBezTo>
                      <a:pt x="551" y="115"/>
                      <a:pt x="551" y="114"/>
                      <a:pt x="551" y="114"/>
                    </a:cubicBezTo>
                    <a:cubicBezTo>
                      <a:pt x="551" y="114"/>
                      <a:pt x="552" y="113"/>
                      <a:pt x="552" y="113"/>
                    </a:cubicBezTo>
                    <a:cubicBezTo>
                      <a:pt x="552" y="113"/>
                      <a:pt x="552" y="113"/>
                      <a:pt x="553" y="113"/>
                    </a:cubicBezTo>
                    <a:cubicBezTo>
                      <a:pt x="553" y="112"/>
                      <a:pt x="553" y="112"/>
                      <a:pt x="552" y="112"/>
                    </a:cubicBezTo>
                    <a:cubicBezTo>
                      <a:pt x="552" y="111"/>
                      <a:pt x="552" y="111"/>
                      <a:pt x="552" y="111"/>
                    </a:cubicBezTo>
                    <a:cubicBezTo>
                      <a:pt x="552" y="111"/>
                      <a:pt x="552" y="112"/>
                      <a:pt x="552" y="112"/>
                    </a:cubicBezTo>
                    <a:cubicBezTo>
                      <a:pt x="552" y="112"/>
                      <a:pt x="552" y="112"/>
                      <a:pt x="552" y="112"/>
                    </a:cubicBezTo>
                    <a:cubicBezTo>
                      <a:pt x="551" y="111"/>
                      <a:pt x="551" y="111"/>
                      <a:pt x="551" y="111"/>
                    </a:cubicBezTo>
                    <a:cubicBezTo>
                      <a:pt x="551" y="111"/>
                      <a:pt x="551" y="111"/>
                      <a:pt x="551" y="111"/>
                    </a:cubicBezTo>
                    <a:cubicBezTo>
                      <a:pt x="551" y="111"/>
                      <a:pt x="551" y="111"/>
                      <a:pt x="550" y="111"/>
                    </a:cubicBezTo>
                    <a:cubicBezTo>
                      <a:pt x="550" y="111"/>
                      <a:pt x="550" y="112"/>
                      <a:pt x="550" y="112"/>
                    </a:cubicBezTo>
                    <a:cubicBezTo>
                      <a:pt x="550" y="112"/>
                      <a:pt x="549" y="112"/>
                      <a:pt x="549" y="111"/>
                    </a:cubicBezTo>
                    <a:cubicBezTo>
                      <a:pt x="549" y="111"/>
                      <a:pt x="549" y="111"/>
                      <a:pt x="549" y="111"/>
                    </a:cubicBezTo>
                    <a:cubicBezTo>
                      <a:pt x="549" y="111"/>
                      <a:pt x="548" y="110"/>
                      <a:pt x="548" y="110"/>
                    </a:cubicBezTo>
                    <a:cubicBezTo>
                      <a:pt x="548" y="110"/>
                      <a:pt x="548" y="110"/>
                      <a:pt x="548" y="110"/>
                    </a:cubicBezTo>
                    <a:cubicBezTo>
                      <a:pt x="549" y="109"/>
                      <a:pt x="549" y="108"/>
                      <a:pt x="550" y="108"/>
                    </a:cubicBezTo>
                    <a:cubicBezTo>
                      <a:pt x="550" y="108"/>
                      <a:pt x="550" y="108"/>
                      <a:pt x="550" y="108"/>
                    </a:cubicBezTo>
                    <a:cubicBezTo>
                      <a:pt x="550" y="107"/>
                      <a:pt x="550" y="107"/>
                      <a:pt x="550" y="107"/>
                    </a:cubicBezTo>
                    <a:cubicBezTo>
                      <a:pt x="550" y="107"/>
                      <a:pt x="551" y="106"/>
                      <a:pt x="551" y="106"/>
                    </a:cubicBezTo>
                    <a:cubicBezTo>
                      <a:pt x="552" y="106"/>
                      <a:pt x="552" y="106"/>
                      <a:pt x="552" y="106"/>
                    </a:cubicBezTo>
                    <a:cubicBezTo>
                      <a:pt x="552" y="105"/>
                      <a:pt x="552" y="105"/>
                      <a:pt x="552" y="105"/>
                    </a:cubicBezTo>
                    <a:cubicBezTo>
                      <a:pt x="552" y="105"/>
                      <a:pt x="552" y="105"/>
                      <a:pt x="552" y="105"/>
                    </a:cubicBezTo>
                    <a:cubicBezTo>
                      <a:pt x="552" y="104"/>
                      <a:pt x="552" y="104"/>
                      <a:pt x="552" y="104"/>
                    </a:cubicBezTo>
                    <a:cubicBezTo>
                      <a:pt x="552" y="104"/>
                      <a:pt x="553" y="104"/>
                      <a:pt x="553" y="104"/>
                    </a:cubicBezTo>
                    <a:cubicBezTo>
                      <a:pt x="553" y="104"/>
                      <a:pt x="553" y="104"/>
                      <a:pt x="553" y="104"/>
                    </a:cubicBezTo>
                    <a:cubicBezTo>
                      <a:pt x="552" y="103"/>
                      <a:pt x="552" y="103"/>
                      <a:pt x="553" y="103"/>
                    </a:cubicBezTo>
                    <a:cubicBezTo>
                      <a:pt x="553" y="103"/>
                      <a:pt x="553" y="102"/>
                      <a:pt x="553" y="102"/>
                    </a:cubicBezTo>
                    <a:cubicBezTo>
                      <a:pt x="553" y="102"/>
                      <a:pt x="553" y="102"/>
                      <a:pt x="553" y="101"/>
                    </a:cubicBezTo>
                    <a:cubicBezTo>
                      <a:pt x="554" y="101"/>
                      <a:pt x="554" y="101"/>
                      <a:pt x="554" y="101"/>
                    </a:cubicBezTo>
                    <a:cubicBezTo>
                      <a:pt x="554" y="101"/>
                      <a:pt x="554" y="101"/>
                      <a:pt x="553" y="100"/>
                    </a:cubicBezTo>
                    <a:cubicBezTo>
                      <a:pt x="553" y="100"/>
                      <a:pt x="554" y="100"/>
                      <a:pt x="555" y="100"/>
                    </a:cubicBezTo>
                    <a:cubicBezTo>
                      <a:pt x="555" y="100"/>
                      <a:pt x="555" y="101"/>
                      <a:pt x="555" y="101"/>
                    </a:cubicBezTo>
                    <a:cubicBezTo>
                      <a:pt x="556" y="101"/>
                      <a:pt x="556" y="100"/>
                      <a:pt x="556" y="100"/>
                    </a:cubicBezTo>
                    <a:cubicBezTo>
                      <a:pt x="556" y="100"/>
                      <a:pt x="556" y="100"/>
                      <a:pt x="557" y="100"/>
                    </a:cubicBezTo>
                    <a:cubicBezTo>
                      <a:pt x="557" y="100"/>
                      <a:pt x="557" y="100"/>
                      <a:pt x="557" y="101"/>
                    </a:cubicBezTo>
                    <a:cubicBezTo>
                      <a:pt x="557" y="101"/>
                      <a:pt x="557" y="101"/>
                      <a:pt x="558" y="102"/>
                    </a:cubicBezTo>
                    <a:cubicBezTo>
                      <a:pt x="558" y="102"/>
                      <a:pt x="558" y="102"/>
                      <a:pt x="558" y="102"/>
                    </a:cubicBezTo>
                    <a:cubicBezTo>
                      <a:pt x="558" y="102"/>
                      <a:pt x="559" y="101"/>
                      <a:pt x="559" y="101"/>
                    </a:cubicBezTo>
                    <a:cubicBezTo>
                      <a:pt x="559" y="101"/>
                      <a:pt x="559" y="101"/>
                      <a:pt x="559" y="101"/>
                    </a:cubicBezTo>
                    <a:cubicBezTo>
                      <a:pt x="559" y="101"/>
                      <a:pt x="559" y="101"/>
                      <a:pt x="559" y="101"/>
                    </a:cubicBezTo>
                    <a:cubicBezTo>
                      <a:pt x="559" y="100"/>
                      <a:pt x="559" y="100"/>
                      <a:pt x="559" y="100"/>
                    </a:cubicBezTo>
                    <a:cubicBezTo>
                      <a:pt x="559" y="100"/>
                      <a:pt x="559" y="100"/>
                      <a:pt x="559" y="100"/>
                    </a:cubicBezTo>
                    <a:cubicBezTo>
                      <a:pt x="559" y="100"/>
                      <a:pt x="559" y="100"/>
                      <a:pt x="559" y="100"/>
                    </a:cubicBezTo>
                    <a:cubicBezTo>
                      <a:pt x="559" y="100"/>
                      <a:pt x="559" y="100"/>
                      <a:pt x="559" y="100"/>
                    </a:cubicBezTo>
                    <a:cubicBezTo>
                      <a:pt x="559" y="100"/>
                      <a:pt x="559" y="100"/>
                      <a:pt x="560" y="100"/>
                    </a:cubicBezTo>
                    <a:cubicBezTo>
                      <a:pt x="560" y="99"/>
                      <a:pt x="560" y="99"/>
                      <a:pt x="560" y="99"/>
                    </a:cubicBezTo>
                    <a:cubicBezTo>
                      <a:pt x="560" y="99"/>
                      <a:pt x="560" y="99"/>
                      <a:pt x="560" y="99"/>
                    </a:cubicBezTo>
                    <a:cubicBezTo>
                      <a:pt x="560" y="99"/>
                      <a:pt x="561" y="99"/>
                      <a:pt x="561" y="99"/>
                    </a:cubicBezTo>
                    <a:cubicBezTo>
                      <a:pt x="561" y="98"/>
                      <a:pt x="562" y="98"/>
                      <a:pt x="562" y="98"/>
                    </a:cubicBezTo>
                    <a:cubicBezTo>
                      <a:pt x="563" y="98"/>
                      <a:pt x="563" y="99"/>
                      <a:pt x="563" y="99"/>
                    </a:cubicBezTo>
                    <a:cubicBezTo>
                      <a:pt x="563" y="99"/>
                      <a:pt x="563" y="99"/>
                      <a:pt x="563" y="99"/>
                    </a:cubicBezTo>
                    <a:cubicBezTo>
                      <a:pt x="562" y="99"/>
                      <a:pt x="562" y="100"/>
                      <a:pt x="562" y="100"/>
                    </a:cubicBezTo>
                    <a:cubicBezTo>
                      <a:pt x="562" y="100"/>
                      <a:pt x="562" y="100"/>
                      <a:pt x="562" y="101"/>
                    </a:cubicBezTo>
                    <a:cubicBezTo>
                      <a:pt x="562" y="101"/>
                      <a:pt x="562" y="102"/>
                      <a:pt x="563" y="101"/>
                    </a:cubicBezTo>
                    <a:cubicBezTo>
                      <a:pt x="563" y="101"/>
                      <a:pt x="563" y="101"/>
                      <a:pt x="563" y="101"/>
                    </a:cubicBezTo>
                    <a:cubicBezTo>
                      <a:pt x="563" y="101"/>
                      <a:pt x="563" y="101"/>
                      <a:pt x="563" y="101"/>
                    </a:cubicBezTo>
                    <a:cubicBezTo>
                      <a:pt x="563" y="101"/>
                      <a:pt x="564" y="100"/>
                      <a:pt x="564" y="99"/>
                    </a:cubicBezTo>
                    <a:cubicBezTo>
                      <a:pt x="564" y="99"/>
                      <a:pt x="565" y="99"/>
                      <a:pt x="565" y="99"/>
                    </a:cubicBezTo>
                    <a:cubicBezTo>
                      <a:pt x="565" y="99"/>
                      <a:pt x="566" y="98"/>
                      <a:pt x="567" y="98"/>
                    </a:cubicBezTo>
                    <a:cubicBezTo>
                      <a:pt x="567" y="98"/>
                      <a:pt x="567" y="98"/>
                      <a:pt x="567" y="98"/>
                    </a:cubicBezTo>
                    <a:cubicBezTo>
                      <a:pt x="567" y="98"/>
                      <a:pt x="567" y="98"/>
                      <a:pt x="567" y="98"/>
                    </a:cubicBezTo>
                    <a:cubicBezTo>
                      <a:pt x="568" y="98"/>
                      <a:pt x="569" y="98"/>
                      <a:pt x="570" y="98"/>
                    </a:cubicBezTo>
                    <a:cubicBezTo>
                      <a:pt x="570" y="98"/>
                      <a:pt x="571" y="98"/>
                      <a:pt x="571" y="98"/>
                    </a:cubicBezTo>
                    <a:cubicBezTo>
                      <a:pt x="572" y="98"/>
                      <a:pt x="572" y="98"/>
                      <a:pt x="573" y="98"/>
                    </a:cubicBezTo>
                    <a:cubicBezTo>
                      <a:pt x="573" y="98"/>
                      <a:pt x="573" y="99"/>
                      <a:pt x="573" y="99"/>
                    </a:cubicBezTo>
                    <a:cubicBezTo>
                      <a:pt x="573" y="99"/>
                      <a:pt x="573" y="99"/>
                      <a:pt x="574" y="99"/>
                    </a:cubicBezTo>
                    <a:cubicBezTo>
                      <a:pt x="574" y="99"/>
                      <a:pt x="574" y="99"/>
                      <a:pt x="574" y="100"/>
                    </a:cubicBezTo>
                    <a:cubicBezTo>
                      <a:pt x="574" y="100"/>
                      <a:pt x="574" y="100"/>
                      <a:pt x="574" y="100"/>
                    </a:cubicBezTo>
                    <a:cubicBezTo>
                      <a:pt x="574" y="100"/>
                      <a:pt x="575" y="101"/>
                      <a:pt x="575" y="101"/>
                    </a:cubicBezTo>
                    <a:cubicBezTo>
                      <a:pt x="575" y="101"/>
                      <a:pt x="575" y="101"/>
                      <a:pt x="575" y="101"/>
                    </a:cubicBezTo>
                    <a:cubicBezTo>
                      <a:pt x="576" y="101"/>
                      <a:pt x="576" y="101"/>
                      <a:pt x="576" y="101"/>
                    </a:cubicBezTo>
                    <a:cubicBezTo>
                      <a:pt x="576" y="101"/>
                      <a:pt x="576" y="100"/>
                      <a:pt x="576" y="100"/>
                    </a:cubicBezTo>
                    <a:cubicBezTo>
                      <a:pt x="576" y="100"/>
                      <a:pt x="576" y="100"/>
                      <a:pt x="576" y="100"/>
                    </a:cubicBezTo>
                    <a:cubicBezTo>
                      <a:pt x="576" y="99"/>
                      <a:pt x="576" y="99"/>
                      <a:pt x="576" y="99"/>
                    </a:cubicBezTo>
                    <a:cubicBezTo>
                      <a:pt x="576" y="99"/>
                      <a:pt x="576" y="98"/>
                      <a:pt x="576" y="98"/>
                    </a:cubicBezTo>
                    <a:cubicBezTo>
                      <a:pt x="576" y="98"/>
                      <a:pt x="577" y="98"/>
                      <a:pt x="578" y="97"/>
                    </a:cubicBezTo>
                    <a:cubicBezTo>
                      <a:pt x="578" y="97"/>
                      <a:pt x="578" y="97"/>
                      <a:pt x="578" y="97"/>
                    </a:cubicBezTo>
                    <a:cubicBezTo>
                      <a:pt x="579" y="97"/>
                      <a:pt x="579" y="97"/>
                      <a:pt x="579" y="97"/>
                    </a:cubicBezTo>
                    <a:cubicBezTo>
                      <a:pt x="579" y="97"/>
                      <a:pt x="579" y="97"/>
                      <a:pt x="579" y="97"/>
                    </a:cubicBezTo>
                    <a:cubicBezTo>
                      <a:pt x="579" y="97"/>
                      <a:pt x="579" y="96"/>
                      <a:pt x="580" y="96"/>
                    </a:cubicBezTo>
                    <a:cubicBezTo>
                      <a:pt x="580" y="96"/>
                      <a:pt x="580" y="96"/>
                      <a:pt x="580" y="96"/>
                    </a:cubicBezTo>
                    <a:cubicBezTo>
                      <a:pt x="580" y="96"/>
                      <a:pt x="581" y="96"/>
                      <a:pt x="581" y="96"/>
                    </a:cubicBezTo>
                    <a:cubicBezTo>
                      <a:pt x="581" y="96"/>
                      <a:pt x="581" y="96"/>
                      <a:pt x="581" y="96"/>
                    </a:cubicBezTo>
                    <a:cubicBezTo>
                      <a:pt x="581" y="96"/>
                      <a:pt x="581" y="95"/>
                      <a:pt x="581" y="95"/>
                    </a:cubicBezTo>
                    <a:cubicBezTo>
                      <a:pt x="581" y="94"/>
                      <a:pt x="581" y="94"/>
                      <a:pt x="581" y="94"/>
                    </a:cubicBezTo>
                    <a:cubicBezTo>
                      <a:pt x="581" y="95"/>
                      <a:pt x="581" y="95"/>
                      <a:pt x="582" y="95"/>
                    </a:cubicBezTo>
                    <a:cubicBezTo>
                      <a:pt x="582" y="95"/>
                      <a:pt x="582" y="95"/>
                      <a:pt x="582" y="95"/>
                    </a:cubicBezTo>
                    <a:cubicBezTo>
                      <a:pt x="582" y="95"/>
                      <a:pt x="582" y="95"/>
                      <a:pt x="582" y="94"/>
                    </a:cubicBezTo>
                    <a:cubicBezTo>
                      <a:pt x="582" y="94"/>
                      <a:pt x="582" y="94"/>
                      <a:pt x="582" y="94"/>
                    </a:cubicBezTo>
                    <a:cubicBezTo>
                      <a:pt x="582" y="95"/>
                      <a:pt x="583" y="94"/>
                      <a:pt x="583" y="94"/>
                    </a:cubicBezTo>
                    <a:cubicBezTo>
                      <a:pt x="583" y="94"/>
                      <a:pt x="583" y="94"/>
                      <a:pt x="583" y="94"/>
                    </a:cubicBezTo>
                    <a:cubicBezTo>
                      <a:pt x="583" y="94"/>
                      <a:pt x="583" y="94"/>
                      <a:pt x="583" y="94"/>
                    </a:cubicBezTo>
                    <a:cubicBezTo>
                      <a:pt x="583" y="94"/>
                      <a:pt x="583" y="94"/>
                      <a:pt x="583" y="93"/>
                    </a:cubicBezTo>
                    <a:cubicBezTo>
                      <a:pt x="583" y="93"/>
                      <a:pt x="583" y="93"/>
                      <a:pt x="583" y="93"/>
                    </a:cubicBezTo>
                    <a:cubicBezTo>
                      <a:pt x="584" y="93"/>
                      <a:pt x="584" y="93"/>
                      <a:pt x="584" y="93"/>
                    </a:cubicBezTo>
                    <a:cubicBezTo>
                      <a:pt x="584" y="93"/>
                      <a:pt x="584" y="93"/>
                      <a:pt x="584" y="93"/>
                    </a:cubicBezTo>
                    <a:cubicBezTo>
                      <a:pt x="584" y="93"/>
                      <a:pt x="584" y="93"/>
                      <a:pt x="585" y="93"/>
                    </a:cubicBezTo>
                    <a:cubicBezTo>
                      <a:pt x="585" y="93"/>
                      <a:pt x="585" y="93"/>
                      <a:pt x="585" y="93"/>
                    </a:cubicBezTo>
                    <a:cubicBezTo>
                      <a:pt x="585" y="93"/>
                      <a:pt x="585" y="92"/>
                      <a:pt x="585" y="92"/>
                    </a:cubicBezTo>
                    <a:cubicBezTo>
                      <a:pt x="585" y="92"/>
                      <a:pt x="586" y="92"/>
                      <a:pt x="586" y="92"/>
                    </a:cubicBezTo>
                    <a:cubicBezTo>
                      <a:pt x="586" y="92"/>
                      <a:pt x="586" y="92"/>
                      <a:pt x="586" y="92"/>
                    </a:cubicBezTo>
                    <a:cubicBezTo>
                      <a:pt x="586" y="92"/>
                      <a:pt x="587" y="92"/>
                      <a:pt x="587" y="92"/>
                    </a:cubicBezTo>
                    <a:cubicBezTo>
                      <a:pt x="587" y="91"/>
                      <a:pt x="587" y="91"/>
                      <a:pt x="587" y="91"/>
                    </a:cubicBezTo>
                    <a:cubicBezTo>
                      <a:pt x="587" y="91"/>
                      <a:pt x="587" y="91"/>
                      <a:pt x="587" y="91"/>
                    </a:cubicBezTo>
                    <a:cubicBezTo>
                      <a:pt x="587" y="91"/>
                      <a:pt x="588" y="91"/>
                      <a:pt x="588" y="91"/>
                    </a:cubicBezTo>
                    <a:cubicBezTo>
                      <a:pt x="588" y="91"/>
                      <a:pt x="589" y="91"/>
                      <a:pt x="589" y="91"/>
                    </a:cubicBezTo>
                    <a:cubicBezTo>
                      <a:pt x="589" y="91"/>
                      <a:pt x="589" y="91"/>
                      <a:pt x="589" y="91"/>
                    </a:cubicBezTo>
                    <a:cubicBezTo>
                      <a:pt x="589" y="91"/>
                      <a:pt x="589" y="90"/>
                      <a:pt x="589" y="91"/>
                    </a:cubicBezTo>
                    <a:cubicBezTo>
                      <a:pt x="590" y="91"/>
                      <a:pt x="590" y="91"/>
                      <a:pt x="590" y="91"/>
                    </a:cubicBezTo>
                    <a:cubicBezTo>
                      <a:pt x="590" y="91"/>
                      <a:pt x="590" y="90"/>
                      <a:pt x="590" y="90"/>
                    </a:cubicBezTo>
                    <a:cubicBezTo>
                      <a:pt x="590" y="90"/>
                      <a:pt x="590" y="90"/>
                      <a:pt x="590" y="90"/>
                    </a:cubicBezTo>
                    <a:cubicBezTo>
                      <a:pt x="590" y="90"/>
                      <a:pt x="591" y="90"/>
                      <a:pt x="591" y="90"/>
                    </a:cubicBezTo>
                    <a:cubicBezTo>
                      <a:pt x="591" y="90"/>
                      <a:pt x="591" y="90"/>
                      <a:pt x="591" y="90"/>
                    </a:cubicBezTo>
                    <a:cubicBezTo>
                      <a:pt x="591" y="90"/>
                      <a:pt x="592" y="90"/>
                      <a:pt x="592" y="89"/>
                    </a:cubicBezTo>
                    <a:cubicBezTo>
                      <a:pt x="592" y="89"/>
                      <a:pt x="592" y="89"/>
                      <a:pt x="592" y="89"/>
                    </a:cubicBezTo>
                    <a:cubicBezTo>
                      <a:pt x="592" y="89"/>
                      <a:pt x="592" y="89"/>
                      <a:pt x="592" y="89"/>
                    </a:cubicBezTo>
                    <a:cubicBezTo>
                      <a:pt x="593" y="89"/>
                      <a:pt x="593" y="89"/>
                      <a:pt x="594" y="89"/>
                    </a:cubicBezTo>
                    <a:cubicBezTo>
                      <a:pt x="594" y="89"/>
                      <a:pt x="594" y="89"/>
                      <a:pt x="594" y="88"/>
                    </a:cubicBezTo>
                    <a:cubicBezTo>
                      <a:pt x="595" y="88"/>
                      <a:pt x="595" y="88"/>
                      <a:pt x="595" y="88"/>
                    </a:cubicBezTo>
                    <a:cubicBezTo>
                      <a:pt x="595" y="88"/>
                      <a:pt x="596" y="88"/>
                      <a:pt x="596" y="88"/>
                    </a:cubicBezTo>
                    <a:cubicBezTo>
                      <a:pt x="596" y="87"/>
                      <a:pt x="596" y="87"/>
                      <a:pt x="596" y="87"/>
                    </a:cubicBezTo>
                    <a:cubicBezTo>
                      <a:pt x="597" y="87"/>
                      <a:pt x="597" y="87"/>
                      <a:pt x="597" y="87"/>
                    </a:cubicBezTo>
                    <a:cubicBezTo>
                      <a:pt x="597" y="87"/>
                      <a:pt x="596" y="86"/>
                      <a:pt x="596" y="86"/>
                    </a:cubicBezTo>
                    <a:cubicBezTo>
                      <a:pt x="596" y="86"/>
                      <a:pt x="597" y="86"/>
                      <a:pt x="597" y="86"/>
                    </a:cubicBezTo>
                    <a:cubicBezTo>
                      <a:pt x="597" y="86"/>
                      <a:pt x="597" y="86"/>
                      <a:pt x="597" y="86"/>
                    </a:cubicBezTo>
                    <a:cubicBezTo>
                      <a:pt x="598" y="86"/>
                      <a:pt x="598" y="86"/>
                      <a:pt x="598" y="86"/>
                    </a:cubicBezTo>
                    <a:cubicBezTo>
                      <a:pt x="598" y="86"/>
                      <a:pt x="598" y="87"/>
                      <a:pt x="598" y="87"/>
                    </a:cubicBezTo>
                    <a:cubicBezTo>
                      <a:pt x="598" y="87"/>
                      <a:pt x="598" y="87"/>
                      <a:pt x="599" y="88"/>
                    </a:cubicBezTo>
                    <a:cubicBezTo>
                      <a:pt x="600" y="88"/>
                      <a:pt x="600" y="88"/>
                      <a:pt x="600" y="88"/>
                    </a:cubicBezTo>
                    <a:cubicBezTo>
                      <a:pt x="600" y="88"/>
                      <a:pt x="602" y="88"/>
                      <a:pt x="602" y="88"/>
                    </a:cubicBezTo>
                    <a:cubicBezTo>
                      <a:pt x="602" y="88"/>
                      <a:pt x="603" y="89"/>
                      <a:pt x="603" y="89"/>
                    </a:cubicBezTo>
                    <a:cubicBezTo>
                      <a:pt x="603" y="89"/>
                      <a:pt x="603" y="89"/>
                      <a:pt x="603" y="89"/>
                    </a:cubicBezTo>
                    <a:cubicBezTo>
                      <a:pt x="603" y="88"/>
                      <a:pt x="604" y="88"/>
                      <a:pt x="603" y="88"/>
                    </a:cubicBezTo>
                    <a:cubicBezTo>
                      <a:pt x="603" y="88"/>
                      <a:pt x="604" y="88"/>
                      <a:pt x="604" y="88"/>
                    </a:cubicBezTo>
                    <a:cubicBezTo>
                      <a:pt x="604" y="87"/>
                      <a:pt x="604" y="87"/>
                      <a:pt x="604" y="87"/>
                    </a:cubicBezTo>
                    <a:cubicBezTo>
                      <a:pt x="604" y="87"/>
                      <a:pt x="604" y="87"/>
                      <a:pt x="604" y="87"/>
                    </a:cubicBezTo>
                    <a:cubicBezTo>
                      <a:pt x="604" y="87"/>
                      <a:pt x="605" y="87"/>
                      <a:pt x="605" y="87"/>
                    </a:cubicBezTo>
                    <a:cubicBezTo>
                      <a:pt x="605" y="87"/>
                      <a:pt x="605" y="87"/>
                      <a:pt x="605" y="87"/>
                    </a:cubicBezTo>
                    <a:cubicBezTo>
                      <a:pt x="605" y="86"/>
                      <a:pt x="605" y="86"/>
                      <a:pt x="605" y="86"/>
                    </a:cubicBezTo>
                    <a:cubicBezTo>
                      <a:pt x="605" y="86"/>
                      <a:pt x="605" y="86"/>
                      <a:pt x="605" y="86"/>
                    </a:cubicBezTo>
                    <a:cubicBezTo>
                      <a:pt x="604" y="85"/>
                      <a:pt x="604" y="85"/>
                      <a:pt x="604" y="85"/>
                    </a:cubicBezTo>
                    <a:cubicBezTo>
                      <a:pt x="604" y="85"/>
                      <a:pt x="604" y="85"/>
                      <a:pt x="604" y="84"/>
                    </a:cubicBezTo>
                    <a:cubicBezTo>
                      <a:pt x="604" y="84"/>
                      <a:pt x="604" y="84"/>
                      <a:pt x="604" y="84"/>
                    </a:cubicBezTo>
                    <a:cubicBezTo>
                      <a:pt x="604" y="84"/>
                      <a:pt x="604" y="84"/>
                      <a:pt x="603" y="83"/>
                    </a:cubicBezTo>
                    <a:cubicBezTo>
                      <a:pt x="603" y="83"/>
                      <a:pt x="602" y="82"/>
                      <a:pt x="602" y="82"/>
                    </a:cubicBezTo>
                    <a:cubicBezTo>
                      <a:pt x="602" y="81"/>
                      <a:pt x="602" y="81"/>
                      <a:pt x="602" y="81"/>
                    </a:cubicBezTo>
                    <a:cubicBezTo>
                      <a:pt x="602" y="81"/>
                      <a:pt x="602" y="81"/>
                      <a:pt x="602" y="81"/>
                    </a:cubicBezTo>
                    <a:cubicBezTo>
                      <a:pt x="602" y="81"/>
                      <a:pt x="602" y="80"/>
                      <a:pt x="602" y="80"/>
                    </a:cubicBezTo>
                    <a:cubicBezTo>
                      <a:pt x="602" y="80"/>
                      <a:pt x="601" y="79"/>
                      <a:pt x="601" y="79"/>
                    </a:cubicBezTo>
                    <a:cubicBezTo>
                      <a:pt x="601" y="78"/>
                      <a:pt x="601" y="78"/>
                      <a:pt x="601" y="78"/>
                    </a:cubicBezTo>
                    <a:cubicBezTo>
                      <a:pt x="601" y="78"/>
                      <a:pt x="601" y="78"/>
                      <a:pt x="601" y="78"/>
                    </a:cubicBezTo>
                    <a:cubicBezTo>
                      <a:pt x="601" y="78"/>
                      <a:pt x="601" y="78"/>
                      <a:pt x="601" y="78"/>
                    </a:cubicBezTo>
                    <a:cubicBezTo>
                      <a:pt x="601" y="78"/>
                      <a:pt x="601" y="78"/>
                      <a:pt x="601" y="78"/>
                    </a:cubicBezTo>
                    <a:cubicBezTo>
                      <a:pt x="600" y="78"/>
                      <a:pt x="599" y="78"/>
                      <a:pt x="599" y="78"/>
                    </a:cubicBezTo>
                    <a:cubicBezTo>
                      <a:pt x="599" y="78"/>
                      <a:pt x="599" y="78"/>
                      <a:pt x="599" y="78"/>
                    </a:cubicBezTo>
                    <a:cubicBezTo>
                      <a:pt x="599" y="78"/>
                      <a:pt x="599" y="78"/>
                      <a:pt x="599" y="78"/>
                    </a:cubicBezTo>
                    <a:cubicBezTo>
                      <a:pt x="598" y="77"/>
                      <a:pt x="598" y="77"/>
                      <a:pt x="598" y="77"/>
                    </a:cubicBezTo>
                    <a:cubicBezTo>
                      <a:pt x="598" y="77"/>
                      <a:pt x="598" y="76"/>
                      <a:pt x="598" y="76"/>
                    </a:cubicBezTo>
                    <a:cubicBezTo>
                      <a:pt x="598" y="76"/>
                      <a:pt x="598" y="76"/>
                      <a:pt x="598" y="76"/>
                    </a:cubicBezTo>
                    <a:cubicBezTo>
                      <a:pt x="597" y="76"/>
                      <a:pt x="597" y="76"/>
                      <a:pt x="597" y="76"/>
                    </a:cubicBezTo>
                    <a:cubicBezTo>
                      <a:pt x="597" y="76"/>
                      <a:pt x="597" y="76"/>
                      <a:pt x="597" y="76"/>
                    </a:cubicBezTo>
                    <a:cubicBezTo>
                      <a:pt x="597" y="76"/>
                      <a:pt x="596" y="76"/>
                      <a:pt x="596" y="76"/>
                    </a:cubicBezTo>
                    <a:cubicBezTo>
                      <a:pt x="596" y="76"/>
                      <a:pt x="596" y="76"/>
                      <a:pt x="596" y="76"/>
                    </a:cubicBezTo>
                    <a:cubicBezTo>
                      <a:pt x="596" y="76"/>
                      <a:pt x="596" y="76"/>
                      <a:pt x="596" y="76"/>
                    </a:cubicBezTo>
                    <a:cubicBezTo>
                      <a:pt x="596" y="76"/>
                      <a:pt x="595" y="76"/>
                      <a:pt x="595" y="76"/>
                    </a:cubicBezTo>
                    <a:cubicBezTo>
                      <a:pt x="595" y="76"/>
                      <a:pt x="594" y="75"/>
                      <a:pt x="594" y="75"/>
                    </a:cubicBezTo>
                    <a:cubicBezTo>
                      <a:pt x="593" y="75"/>
                      <a:pt x="593" y="75"/>
                      <a:pt x="594" y="75"/>
                    </a:cubicBezTo>
                    <a:cubicBezTo>
                      <a:pt x="594" y="75"/>
                      <a:pt x="595" y="75"/>
                      <a:pt x="595" y="75"/>
                    </a:cubicBezTo>
                    <a:cubicBezTo>
                      <a:pt x="595" y="75"/>
                      <a:pt x="595" y="75"/>
                      <a:pt x="595" y="75"/>
                    </a:cubicBezTo>
                    <a:cubicBezTo>
                      <a:pt x="595" y="75"/>
                      <a:pt x="595" y="75"/>
                      <a:pt x="595" y="75"/>
                    </a:cubicBezTo>
                    <a:cubicBezTo>
                      <a:pt x="595" y="75"/>
                      <a:pt x="595" y="75"/>
                      <a:pt x="595" y="75"/>
                    </a:cubicBezTo>
                    <a:cubicBezTo>
                      <a:pt x="596" y="75"/>
                      <a:pt x="596" y="75"/>
                      <a:pt x="597" y="75"/>
                    </a:cubicBezTo>
                    <a:cubicBezTo>
                      <a:pt x="597" y="75"/>
                      <a:pt x="597" y="75"/>
                      <a:pt x="597" y="75"/>
                    </a:cubicBezTo>
                    <a:cubicBezTo>
                      <a:pt x="597" y="75"/>
                      <a:pt x="597" y="74"/>
                      <a:pt x="597" y="74"/>
                    </a:cubicBezTo>
                    <a:cubicBezTo>
                      <a:pt x="597" y="74"/>
                      <a:pt x="597" y="74"/>
                      <a:pt x="597" y="74"/>
                    </a:cubicBezTo>
                    <a:cubicBezTo>
                      <a:pt x="597" y="74"/>
                      <a:pt x="598" y="74"/>
                      <a:pt x="598" y="75"/>
                    </a:cubicBezTo>
                    <a:cubicBezTo>
                      <a:pt x="598" y="75"/>
                      <a:pt x="598" y="75"/>
                      <a:pt x="598" y="75"/>
                    </a:cubicBezTo>
                    <a:cubicBezTo>
                      <a:pt x="598" y="75"/>
                      <a:pt x="599" y="76"/>
                      <a:pt x="599" y="76"/>
                    </a:cubicBezTo>
                    <a:cubicBezTo>
                      <a:pt x="599" y="76"/>
                      <a:pt x="600" y="76"/>
                      <a:pt x="600" y="76"/>
                    </a:cubicBezTo>
                    <a:cubicBezTo>
                      <a:pt x="601" y="76"/>
                      <a:pt x="601" y="76"/>
                      <a:pt x="601" y="76"/>
                    </a:cubicBezTo>
                    <a:cubicBezTo>
                      <a:pt x="601" y="76"/>
                      <a:pt x="602" y="76"/>
                      <a:pt x="602" y="76"/>
                    </a:cubicBezTo>
                    <a:cubicBezTo>
                      <a:pt x="603" y="76"/>
                      <a:pt x="603" y="75"/>
                      <a:pt x="603" y="75"/>
                    </a:cubicBezTo>
                    <a:cubicBezTo>
                      <a:pt x="603" y="75"/>
                      <a:pt x="603" y="75"/>
                      <a:pt x="603" y="75"/>
                    </a:cubicBezTo>
                    <a:cubicBezTo>
                      <a:pt x="604" y="75"/>
                      <a:pt x="604" y="75"/>
                      <a:pt x="604" y="75"/>
                    </a:cubicBezTo>
                    <a:cubicBezTo>
                      <a:pt x="604" y="75"/>
                      <a:pt x="605" y="75"/>
                      <a:pt x="605" y="75"/>
                    </a:cubicBezTo>
                    <a:cubicBezTo>
                      <a:pt x="605" y="75"/>
                      <a:pt x="605" y="75"/>
                      <a:pt x="605" y="75"/>
                    </a:cubicBezTo>
                    <a:cubicBezTo>
                      <a:pt x="606" y="74"/>
                      <a:pt x="606" y="74"/>
                      <a:pt x="606" y="74"/>
                    </a:cubicBezTo>
                    <a:cubicBezTo>
                      <a:pt x="606" y="74"/>
                      <a:pt x="607" y="73"/>
                      <a:pt x="607" y="73"/>
                    </a:cubicBezTo>
                    <a:cubicBezTo>
                      <a:pt x="607" y="73"/>
                      <a:pt x="607" y="73"/>
                      <a:pt x="607" y="73"/>
                    </a:cubicBezTo>
                    <a:cubicBezTo>
                      <a:pt x="607" y="73"/>
                      <a:pt x="607" y="72"/>
                      <a:pt x="607" y="72"/>
                    </a:cubicBezTo>
                    <a:cubicBezTo>
                      <a:pt x="607" y="72"/>
                      <a:pt x="607" y="72"/>
                      <a:pt x="607" y="72"/>
                    </a:cubicBezTo>
                    <a:cubicBezTo>
                      <a:pt x="607" y="72"/>
                      <a:pt x="608" y="72"/>
                      <a:pt x="608" y="72"/>
                    </a:cubicBezTo>
                    <a:cubicBezTo>
                      <a:pt x="608" y="72"/>
                      <a:pt x="608" y="72"/>
                      <a:pt x="608" y="72"/>
                    </a:cubicBezTo>
                    <a:cubicBezTo>
                      <a:pt x="608" y="72"/>
                      <a:pt x="608" y="72"/>
                      <a:pt x="608" y="72"/>
                    </a:cubicBezTo>
                    <a:cubicBezTo>
                      <a:pt x="608" y="71"/>
                      <a:pt x="608" y="71"/>
                      <a:pt x="608" y="71"/>
                    </a:cubicBezTo>
                    <a:cubicBezTo>
                      <a:pt x="608" y="71"/>
                      <a:pt x="608" y="71"/>
                      <a:pt x="608" y="70"/>
                    </a:cubicBezTo>
                    <a:cubicBezTo>
                      <a:pt x="608" y="70"/>
                      <a:pt x="608" y="70"/>
                      <a:pt x="608" y="70"/>
                    </a:cubicBezTo>
                    <a:cubicBezTo>
                      <a:pt x="607" y="70"/>
                      <a:pt x="607" y="70"/>
                      <a:pt x="607" y="70"/>
                    </a:cubicBezTo>
                    <a:cubicBezTo>
                      <a:pt x="607" y="70"/>
                      <a:pt x="607" y="70"/>
                      <a:pt x="607" y="70"/>
                    </a:cubicBezTo>
                    <a:cubicBezTo>
                      <a:pt x="607" y="69"/>
                      <a:pt x="607" y="69"/>
                      <a:pt x="607" y="68"/>
                    </a:cubicBezTo>
                    <a:cubicBezTo>
                      <a:pt x="607" y="68"/>
                      <a:pt x="607" y="68"/>
                      <a:pt x="607" y="68"/>
                    </a:cubicBezTo>
                    <a:cubicBezTo>
                      <a:pt x="607" y="68"/>
                      <a:pt x="607" y="68"/>
                      <a:pt x="608" y="68"/>
                    </a:cubicBezTo>
                    <a:cubicBezTo>
                      <a:pt x="608" y="68"/>
                      <a:pt x="608" y="68"/>
                      <a:pt x="608" y="68"/>
                    </a:cubicBezTo>
                    <a:cubicBezTo>
                      <a:pt x="608" y="67"/>
                      <a:pt x="608" y="67"/>
                      <a:pt x="608" y="67"/>
                    </a:cubicBezTo>
                    <a:cubicBezTo>
                      <a:pt x="608" y="67"/>
                      <a:pt x="608" y="67"/>
                      <a:pt x="609" y="67"/>
                    </a:cubicBezTo>
                    <a:cubicBezTo>
                      <a:pt x="609" y="67"/>
                      <a:pt x="609" y="67"/>
                      <a:pt x="609" y="67"/>
                    </a:cubicBezTo>
                    <a:cubicBezTo>
                      <a:pt x="609" y="68"/>
                      <a:pt x="609" y="68"/>
                      <a:pt x="609" y="68"/>
                    </a:cubicBezTo>
                    <a:cubicBezTo>
                      <a:pt x="609" y="68"/>
                      <a:pt x="609" y="68"/>
                      <a:pt x="609" y="68"/>
                    </a:cubicBezTo>
                    <a:cubicBezTo>
                      <a:pt x="610" y="68"/>
                      <a:pt x="610" y="67"/>
                      <a:pt x="610" y="67"/>
                    </a:cubicBezTo>
                    <a:cubicBezTo>
                      <a:pt x="610" y="67"/>
                      <a:pt x="610" y="67"/>
                      <a:pt x="610" y="67"/>
                    </a:cubicBezTo>
                    <a:cubicBezTo>
                      <a:pt x="610" y="67"/>
                      <a:pt x="611" y="67"/>
                      <a:pt x="611" y="67"/>
                    </a:cubicBezTo>
                    <a:cubicBezTo>
                      <a:pt x="611" y="68"/>
                      <a:pt x="611" y="68"/>
                      <a:pt x="610" y="68"/>
                    </a:cubicBezTo>
                    <a:cubicBezTo>
                      <a:pt x="610" y="69"/>
                      <a:pt x="610" y="69"/>
                      <a:pt x="610" y="68"/>
                    </a:cubicBezTo>
                    <a:cubicBezTo>
                      <a:pt x="609" y="68"/>
                      <a:pt x="610" y="69"/>
                      <a:pt x="610" y="70"/>
                    </a:cubicBezTo>
                    <a:cubicBezTo>
                      <a:pt x="610" y="70"/>
                      <a:pt x="610" y="70"/>
                      <a:pt x="610" y="70"/>
                    </a:cubicBezTo>
                    <a:cubicBezTo>
                      <a:pt x="611" y="70"/>
                      <a:pt x="611" y="70"/>
                      <a:pt x="611" y="70"/>
                    </a:cubicBezTo>
                    <a:cubicBezTo>
                      <a:pt x="611" y="70"/>
                      <a:pt x="611" y="71"/>
                      <a:pt x="611" y="71"/>
                    </a:cubicBezTo>
                    <a:cubicBezTo>
                      <a:pt x="611" y="71"/>
                      <a:pt x="611" y="71"/>
                      <a:pt x="611" y="71"/>
                    </a:cubicBezTo>
                    <a:cubicBezTo>
                      <a:pt x="611" y="71"/>
                      <a:pt x="611" y="71"/>
                      <a:pt x="611" y="72"/>
                    </a:cubicBezTo>
                    <a:cubicBezTo>
                      <a:pt x="611" y="72"/>
                      <a:pt x="613" y="72"/>
                      <a:pt x="613" y="72"/>
                    </a:cubicBezTo>
                    <a:cubicBezTo>
                      <a:pt x="613" y="72"/>
                      <a:pt x="613" y="72"/>
                      <a:pt x="613" y="72"/>
                    </a:cubicBezTo>
                    <a:cubicBezTo>
                      <a:pt x="614" y="71"/>
                      <a:pt x="615" y="71"/>
                      <a:pt x="615" y="71"/>
                    </a:cubicBezTo>
                    <a:cubicBezTo>
                      <a:pt x="615" y="71"/>
                      <a:pt x="616" y="71"/>
                      <a:pt x="616" y="71"/>
                    </a:cubicBezTo>
                    <a:cubicBezTo>
                      <a:pt x="616" y="71"/>
                      <a:pt x="617" y="71"/>
                      <a:pt x="618" y="71"/>
                    </a:cubicBezTo>
                    <a:cubicBezTo>
                      <a:pt x="618" y="71"/>
                      <a:pt x="619" y="72"/>
                      <a:pt x="620" y="73"/>
                    </a:cubicBezTo>
                    <a:cubicBezTo>
                      <a:pt x="620" y="73"/>
                      <a:pt x="620" y="73"/>
                      <a:pt x="620" y="73"/>
                    </a:cubicBezTo>
                    <a:cubicBezTo>
                      <a:pt x="620" y="73"/>
                      <a:pt x="620" y="73"/>
                      <a:pt x="620" y="73"/>
                    </a:cubicBezTo>
                    <a:cubicBezTo>
                      <a:pt x="620" y="74"/>
                      <a:pt x="620" y="74"/>
                      <a:pt x="619" y="74"/>
                    </a:cubicBezTo>
                    <a:cubicBezTo>
                      <a:pt x="619" y="74"/>
                      <a:pt x="619" y="74"/>
                      <a:pt x="620" y="75"/>
                    </a:cubicBezTo>
                    <a:cubicBezTo>
                      <a:pt x="620" y="75"/>
                      <a:pt x="621" y="75"/>
                      <a:pt x="621" y="75"/>
                    </a:cubicBezTo>
                    <a:cubicBezTo>
                      <a:pt x="621" y="75"/>
                      <a:pt x="621" y="75"/>
                      <a:pt x="621" y="75"/>
                    </a:cubicBezTo>
                    <a:cubicBezTo>
                      <a:pt x="622" y="75"/>
                      <a:pt x="622" y="75"/>
                      <a:pt x="623" y="75"/>
                    </a:cubicBezTo>
                    <a:cubicBezTo>
                      <a:pt x="623" y="76"/>
                      <a:pt x="623" y="76"/>
                      <a:pt x="623" y="76"/>
                    </a:cubicBezTo>
                    <a:cubicBezTo>
                      <a:pt x="623" y="76"/>
                      <a:pt x="624" y="76"/>
                      <a:pt x="624" y="76"/>
                    </a:cubicBezTo>
                    <a:cubicBezTo>
                      <a:pt x="625" y="76"/>
                      <a:pt x="625" y="77"/>
                      <a:pt x="625" y="77"/>
                    </a:cubicBezTo>
                    <a:cubicBezTo>
                      <a:pt x="625" y="77"/>
                      <a:pt x="625" y="77"/>
                      <a:pt x="625" y="77"/>
                    </a:cubicBezTo>
                    <a:cubicBezTo>
                      <a:pt x="626" y="77"/>
                      <a:pt x="627" y="78"/>
                      <a:pt x="627" y="78"/>
                    </a:cubicBezTo>
                    <a:cubicBezTo>
                      <a:pt x="627" y="78"/>
                      <a:pt x="627" y="78"/>
                      <a:pt x="627" y="78"/>
                    </a:cubicBezTo>
                    <a:cubicBezTo>
                      <a:pt x="627" y="78"/>
                      <a:pt x="628" y="78"/>
                      <a:pt x="628" y="78"/>
                    </a:cubicBezTo>
                    <a:cubicBezTo>
                      <a:pt x="628" y="78"/>
                      <a:pt x="629" y="78"/>
                      <a:pt x="629" y="78"/>
                    </a:cubicBezTo>
                    <a:cubicBezTo>
                      <a:pt x="629" y="77"/>
                      <a:pt x="629" y="77"/>
                      <a:pt x="629" y="77"/>
                    </a:cubicBezTo>
                    <a:cubicBezTo>
                      <a:pt x="629" y="77"/>
                      <a:pt x="629" y="77"/>
                      <a:pt x="629" y="77"/>
                    </a:cubicBezTo>
                    <a:cubicBezTo>
                      <a:pt x="629" y="77"/>
                      <a:pt x="630" y="77"/>
                      <a:pt x="630" y="78"/>
                    </a:cubicBezTo>
                    <a:cubicBezTo>
                      <a:pt x="630" y="78"/>
                      <a:pt x="630" y="78"/>
                      <a:pt x="631" y="78"/>
                    </a:cubicBezTo>
                    <a:cubicBezTo>
                      <a:pt x="631" y="77"/>
                      <a:pt x="631" y="77"/>
                      <a:pt x="631" y="77"/>
                    </a:cubicBezTo>
                    <a:cubicBezTo>
                      <a:pt x="631" y="77"/>
                      <a:pt x="630" y="77"/>
                      <a:pt x="630" y="77"/>
                    </a:cubicBezTo>
                    <a:cubicBezTo>
                      <a:pt x="629" y="76"/>
                      <a:pt x="629" y="76"/>
                      <a:pt x="629" y="76"/>
                    </a:cubicBezTo>
                    <a:cubicBezTo>
                      <a:pt x="629" y="76"/>
                      <a:pt x="629" y="76"/>
                      <a:pt x="629" y="76"/>
                    </a:cubicBezTo>
                    <a:cubicBezTo>
                      <a:pt x="629" y="76"/>
                      <a:pt x="629" y="76"/>
                      <a:pt x="629" y="76"/>
                    </a:cubicBezTo>
                    <a:cubicBezTo>
                      <a:pt x="629" y="76"/>
                      <a:pt x="629" y="75"/>
                      <a:pt x="629" y="75"/>
                    </a:cubicBezTo>
                    <a:cubicBezTo>
                      <a:pt x="629" y="75"/>
                      <a:pt x="630" y="75"/>
                      <a:pt x="631" y="74"/>
                    </a:cubicBezTo>
                    <a:cubicBezTo>
                      <a:pt x="631" y="74"/>
                      <a:pt x="631" y="74"/>
                      <a:pt x="631" y="74"/>
                    </a:cubicBezTo>
                    <a:cubicBezTo>
                      <a:pt x="631" y="74"/>
                      <a:pt x="631" y="74"/>
                      <a:pt x="631" y="74"/>
                    </a:cubicBezTo>
                    <a:cubicBezTo>
                      <a:pt x="631" y="74"/>
                      <a:pt x="631" y="74"/>
                      <a:pt x="631" y="74"/>
                    </a:cubicBezTo>
                    <a:cubicBezTo>
                      <a:pt x="631" y="73"/>
                      <a:pt x="631" y="73"/>
                      <a:pt x="631" y="73"/>
                    </a:cubicBezTo>
                    <a:cubicBezTo>
                      <a:pt x="631" y="73"/>
                      <a:pt x="631" y="72"/>
                      <a:pt x="631" y="72"/>
                    </a:cubicBezTo>
                    <a:cubicBezTo>
                      <a:pt x="631" y="72"/>
                      <a:pt x="630" y="72"/>
                      <a:pt x="630" y="71"/>
                    </a:cubicBezTo>
                    <a:cubicBezTo>
                      <a:pt x="630" y="71"/>
                      <a:pt x="630" y="71"/>
                      <a:pt x="630" y="71"/>
                    </a:cubicBezTo>
                    <a:cubicBezTo>
                      <a:pt x="629" y="71"/>
                      <a:pt x="629" y="70"/>
                      <a:pt x="629" y="70"/>
                    </a:cubicBezTo>
                    <a:cubicBezTo>
                      <a:pt x="630" y="70"/>
                      <a:pt x="630" y="70"/>
                      <a:pt x="630" y="70"/>
                    </a:cubicBezTo>
                    <a:close/>
                    <a:moveTo>
                      <a:pt x="67" y="106"/>
                    </a:moveTo>
                    <a:cubicBezTo>
                      <a:pt x="67" y="106"/>
                      <a:pt x="67" y="106"/>
                      <a:pt x="67" y="106"/>
                    </a:cubicBezTo>
                    <a:cubicBezTo>
                      <a:pt x="67" y="106"/>
                      <a:pt x="67" y="106"/>
                      <a:pt x="67" y="106"/>
                    </a:cubicBezTo>
                    <a:cubicBezTo>
                      <a:pt x="68" y="104"/>
                      <a:pt x="68" y="104"/>
                      <a:pt x="68" y="104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8" y="104"/>
                      <a:pt x="68" y="104"/>
                      <a:pt x="68" y="104"/>
                    </a:cubicBezTo>
                    <a:lnTo>
                      <a:pt x="67" y="106"/>
                    </a:lnTo>
                    <a:close/>
                    <a:moveTo>
                      <a:pt x="69" y="82"/>
                    </a:moveTo>
                    <a:cubicBezTo>
                      <a:pt x="69" y="82"/>
                      <a:pt x="69" y="82"/>
                      <a:pt x="69" y="82"/>
                    </a:cubicBezTo>
                    <a:cubicBezTo>
                      <a:pt x="69" y="85"/>
                      <a:pt x="69" y="85"/>
                      <a:pt x="69" y="85"/>
                    </a:cubicBezTo>
                    <a:lnTo>
                      <a:pt x="69" y="82"/>
                    </a:lnTo>
                    <a:close/>
                    <a:moveTo>
                      <a:pt x="70" y="80"/>
                    </a:moveTo>
                    <a:cubicBezTo>
                      <a:pt x="70" y="80"/>
                      <a:pt x="70" y="80"/>
                      <a:pt x="71" y="80"/>
                    </a:cubicBezTo>
                    <a:cubicBezTo>
                      <a:pt x="70" y="80"/>
                      <a:pt x="70" y="80"/>
                      <a:pt x="70" y="80"/>
                    </a:cubicBezTo>
                    <a:cubicBezTo>
                      <a:pt x="70" y="80"/>
                      <a:pt x="70" y="81"/>
                      <a:pt x="70" y="81"/>
                    </a:cubicBezTo>
                    <a:cubicBezTo>
                      <a:pt x="70" y="81"/>
                      <a:pt x="70" y="80"/>
                      <a:pt x="70" y="80"/>
                    </a:cubicBezTo>
                    <a:close/>
                    <a:moveTo>
                      <a:pt x="69" y="89"/>
                    </a:moveTo>
                    <a:cubicBezTo>
                      <a:pt x="70" y="89"/>
                      <a:pt x="70" y="89"/>
                      <a:pt x="70" y="89"/>
                    </a:cubicBezTo>
                    <a:cubicBezTo>
                      <a:pt x="70" y="89"/>
                      <a:pt x="70" y="89"/>
                      <a:pt x="70" y="89"/>
                    </a:cubicBezTo>
                    <a:lnTo>
                      <a:pt x="69" y="89"/>
                    </a:lnTo>
                    <a:close/>
                    <a:moveTo>
                      <a:pt x="70" y="99"/>
                    </a:moveTo>
                    <a:cubicBezTo>
                      <a:pt x="70" y="99"/>
                      <a:pt x="70" y="99"/>
                      <a:pt x="70" y="99"/>
                    </a:cubicBezTo>
                    <a:cubicBezTo>
                      <a:pt x="70" y="99"/>
                      <a:pt x="70" y="99"/>
                      <a:pt x="70" y="99"/>
                    </a:cubicBezTo>
                    <a:close/>
                    <a:moveTo>
                      <a:pt x="71" y="94"/>
                    </a:moveTo>
                    <a:cubicBezTo>
                      <a:pt x="70" y="95"/>
                      <a:pt x="70" y="95"/>
                      <a:pt x="70" y="95"/>
                    </a:cubicBezTo>
                    <a:cubicBezTo>
                      <a:pt x="70" y="95"/>
                      <a:pt x="70" y="95"/>
                      <a:pt x="70" y="95"/>
                    </a:cubicBezTo>
                    <a:cubicBezTo>
                      <a:pt x="71" y="94"/>
                      <a:pt x="71" y="94"/>
                      <a:pt x="71" y="94"/>
                    </a:cubicBezTo>
                    <a:close/>
                    <a:moveTo>
                      <a:pt x="75" y="79"/>
                    </a:moveTo>
                    <a:cubicBezTo>
                      <a:pt x="74" y="79"/>
                      <a:pt x="74" y="79"/>
                      <a:pt x="74" y="79"/>
                    </a:cubicBezTo>
                    <a:cubicBezTo>
                      <a:pt x="75" y="79"/>
                      <a:pt x="75" y="79"/>
                      <a:pt x="75" y="79"/>
                    </a:cubicBezTo>
                    <a:close/>
                    <a:moveTo>
                      <a:pt x="75" y="75"/>
                    </a:moveTo>
                    <a:cubicBezTo>
                      <a:pt x="74" y="77"/>
                      <a:pt x="74" y="77"/>
                      <a:pt x="74" y="77"/>
                    </a:cubicBezTo>
                    <a:cubicBezTo>
                      <a:pt x="74" y="77"/>
                      <a:pt x="74" y="77"/>
                      <a:pt x="74" y="77"/>
                    </a:cubicBezTo>
                    <a:cubicBezTo>
                      <a:pt x="75" y="75"/>
                      <a:pt x="75" y="75"/>
                      <a:pt x="75" y="75"/>
                    </a:cubicBezTo>
                    <a:cubicBezTo>
                      <a:pt x="75" y="74"/>
                      <a:pt x="75" y="74"/>
                      <a:pt x="75" y="74"/>
                    </a:cubicBezTo>
                    <a:lnTo>
                      <a:pt x="75" y="75"/>
                    </a:lnTo>
                    <a:close/>
                    <a:moveTo>
                      <a:pt x="75" y="78"/>
                    </a:moveTo>
                    <a:cubicBezTo>
                      <a:pt x="76" y="78"/>
                      <a:pt x="76" y="78"/>
                      <a:pt x="76" y="78"/>
                    </a:cubicBezTo>
                    <a:cubicBezTo>
                      <a:pt x="76" y="78"/>
                      <a:pt x="76" y="78"/>
                      <a:pt x="76" y="78"/>
                    </a:cubicBezTo>
                    <a:lnTo>
                      <a:pt x="75" y="78"/>
                    </a:lnTo>
                    <a:close/>
                    <a:moveTo>
                      <a:pt x="77" y="68"/>
                    </a:moveTo>
                    <a:cubicBezTo>
                      <a:pt x="77" y="68"/>
                      <a:pt x="77" y="68"/>
                      <a:pt x="77" y="68"/>
                    </a:cubicBezTo>
                    <a:cubicBezTo>
                      <a:pt x="77" y="68"/>
                      <a:pt x="77" y="68"/>
                      <a:pt x="77" y="68"/>
                    </a:cubicBezTo>
                    <a:cubicBezTo>
                      <a:pt x="77" y="68"/>
                      <a:pt x="80" y="67"/>
                      <a:pt x="80" y="67"/>
                    </a:cubicBezTo>
                    <a:cubicBezTo>
                      <a:pt x="80" y="67"/>
                      <a:pt x="80" y="67"/>
                      <a:pt x="80" y="67"/>
                    </a:cubicBezTo>
                    <a:cubicBezTo>
                      <a:pt x="80" y="67"/>
                      <a:pt x="77" y="68"/>
                      <a:pt x="77" y="68"/>
                    </a:cubicBezTo>
                    <a:close/>
                    <a:moveTo>
                      <a:pt x="81" y="65"/>
                    </a:moveTo>
                    <a:cubicBezTo>
                      <a:pt x="79" y="66"/>
                      <a:pt x="79" y="66"/>
                      <a:pt x="7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81" y="65"/>
                      <a:pt x="81" y="65"/>
                      <a:pt x="81" y="65"/>
                    </a:cubicBezTo>
                    <a:cubicBezTo>
                      <a:pt x="81" y="65"/>
                      <a:pt x="81" y="65"/>
                      <a:pt x="81" y="65"/>
                    </a:cubicBezTo>
                    <a:close/>
                    <a:moveTo>
                      <a:pt x="83" y="62"/>
                    </a:moveTo>
                    <a:cubicBezTo>
                      <a:pt x="82" y="60"/>
                      <a:pt x="82" y="60"/>
                      <a:pt x="82" y="60"/>
                    </a:cubicBezTo>
                    <a:cubicBezTo>
                      <a:pt x="82" y="60"/>
                      <a:pt x="82" y="60"/>
                      <a:pt x="82" y="60"/>
                    </a:cubicBezTo>
                    <a:cubicBezTo>
                      <a:pt x="83" y="62"/>
                      <a:pt x="83" y="62"/>
                      <a:pt x="83" y="62"/>
                    </a:cubicBezTo>
                    <a:close/>
                    <a:moveTo>
                      <a:pt x="91" y="55"/>
                    </a:moveTo>
                    <a:cubicBezTo>
                      <a:pt x="89" y="55"/>
                      <a:pt x="89" y="55"/>
                      <a:pt x="89" y="55"/>
                    </a:cubicBezTo>
                    <a:cubicBezTo>
                      <a:pt x="88" y="57"/>
                      <a:pt x="88" y="57"/>
                      <a:pt x="88" y="57"/>
                    </a:cubicBezTo>
                    <a:cubicBezTo>
                      <a:pt x="84" y="57"/>
                      <a:pt x="84" y="57"/>
                      <a:pt x="84" y="57"/>
                    </a:cubicBezTo>
                    <a:cubicBezTo>
                      <a:pt x="83" y="60"/>
                      <a:pt x="83" y="60"/>
                      <a:pt x="83" y="60"/>
                    </a:cubicBezTo>
                    <a:cubicBezTo>
                      <a:pt x="83" y="60"/>
                      <a:pt x="83" y="60"/>
                      <a:pt x="83" y="60"/>
                    </a:cubicBezTo>
                    <a:cubicBezTo>
                      <a:pt x="83" y="60"/>
                      <a:pt x="83" y="60"/>
                      <a:pt x="83" y="60"/>
                    </a:cubicBezTo>
                    <a:cubicBezTo>
                      <a:pt x="84" y="57"/>
                      <a:pt x="84" y="57"/>
                      <a:pt x="84" y="57"/>
                    </a:cubicBezTo>
                    <a:cubicBezTo>
                      <a:pt x="88" y="57"/>
                      <a:pt x="88" y="57"/>
                      <a:pt x="88" y="57"/>
                    </a:cubicBezTo>
                    <a:cubicBezTo>
                      <a:pt x="89" y="55"/>
                      <a:pt x="89" y="55"/>
                      <a:pt x="89" y="55"/>
                    </a:cubicBezTo>
                    <a:cubicBezTo>
                      <a:pt x="91" y="55"/>
                      <a:pt x="91" y="55"/>
                      <a:pt x="91" y="55"/>
                    </a:cubicBezTo>
                    <a:cubicBezTo>
                      <a:pt x="92" y="55"/>
                      <a:pt x="92" y="55"/>
                      <a:pt x="92" y="55"/>
                    </a:cubicBezTo>
                    <a:lnTo>
                      <a:pt x="91" y="55"/>
                    </a:lnTo>
                    <a:close/>
                    <a:moveTo>
                      <a:pt x="94" y="53"/>
                    </a:moveTo>
                    <a:cubicBezTo>
                      <a:pt x="94" y="54"/>
                      <a:pt x="94" y="54"/>
                      <a:pt x="94" y="54"/>
                    </a:cubicBezTo>
                    <a:cubicBezTo>
                      <a:pt x="94" y="53"/>
                      <a:pt x="94" y="53"/>
                      <a:pt x="94" y="53"/>
                    </a:cubicBezTo>
                    <a:cubicBezTo>
                      <a:pt x="94" y="53"/>
                      <a:pt x="94" y="53"/>
                      <a:pt x="95" y="53"/>
                    </a:cubicBezTo>
                    <a:cubicBezTo>
                      <a:pt x="94" y="53"/>
                      <a:pt x="94" y="53"/>
                      <a:pt x="94" y="53"/>
                    </a:cubicBezTo>
                    <a:close/>
                    <a:moveTo>
                      <a:pt x="95" y="52"/>
                    </a:moveTo>
                    <a:cubicBezTo>
                      <a:pt x="95" y="52"/>
                      <a:pt x="95" y="52"/>
                      <a:pt x="95" y="52"/>
                    </a:cubicBezTo>
                    <a:cubicBezTo>
                      <a:pt x="95" y="52"/>
                      <a:pt x="96" y="51"/>
                      <a:pt x="96" y="51"/>
                    </a:cubicBezTo>
                    <a:cubicBezTo>
                      <a:pt x="96" y="51"/>
                      <a:pt x="95" y="52"/>
                      <a:pt x="95" y="52"/>
                    </a:cubicBezTo>
                    <a:close/>
                    <a:moveTo>
                      <a:pt x="98" y="53"/>
                    </a:moveTo>
                    <a:cubicBezTo>
                      <a:pt x="97" y="52"/>
                      <a:pt x="97" y="52"/>
                      <a:pt x="97" y="52"/>
                    </a:cubicBezTo>
                    <a:cubicBezTo>
                      <a:pt x="98" y="53"/>
                      <a:pt x="98" y="53"/>
                      <a:pt x="98" y="53"/>
                    </a:cubicBezTo>
                    <a:cubicBezTo>
                      <a:pt x="99" y="54"/>
                      <a:pt x="99" y="54"/>
                      <a:pt x="99" y="54"/>
                    </a:cubicBezTo>
                    <a:lnTo>
                      <a:pt x="98" y="53"/>
                    </a:lnTo>
                    <a:close/>
                    <a:moveTo>
                      <a:pt x="106" y="60"/>
                    </a:moveTo>
                    <a:cubicBezTo>
                      <a:pt x="106" y="60"/>
                      <a:pt x="106" y="60"/>
                      <a:pt x="106" y="60"/>
                    </a:cubicBezTo>
                    <a:cubicBezTo>
                      <a:pt x="105" y="59"/>
                      <a:pt x="105" y="59"/>
                      <a:pt x="105" y="59"/>
                    </a:cubicBezTo>
                    <a:cubicBezTo>
                      <a:pt x="105" y="59"/>
                      <a:pt x="105" y="59"/>
                      <a:pt x="105" y="59"/>
                    </a:cubicBezTo>
                    <a:lnTo>
                      <a:pt x="106" y="60"/>
                    </a:lnTo>
                    <a:close/>
                    <a:moveTo>
                      <a:pt x="106" y="62"/>
                    </a:moveTo>
                    <a:cubicBezTo>
                      <a:pt x="106" y="63"/>
                      <a:pt x="106" y="63"/>
                      <a:pt x="106" y="63"/>
                    </a:cubicBezTo>
                    <a:cubicBezTo>
                      <a:pt x="106" y="63"/>
                      <a:pt x="106" y="63"/>
                      <a:pt x="106" y="63"/>
                    </a:cubicBezTo>
                    <a:cubicBezTo>
                      <a:pt x="106" y="62"/>
                      <a:pt x="106" y="62"/>
                      <a:pt x="106" y="62"/>
                    </a:cubicBezTo>
                    <a:close/>
                    <a:moveTo>
                      <a:pt x="101" y="52"/>
                    </a:moveTo>
                    <a:cubicBezTo>
                      <a:pt x="100" y="51"/>
                      <a:pt x="100" y="51"/>
                      <a:pt x="100" y="51"/>
                    </a:cubicBezTo>
                    <a:cubicBezTo>
                      <a:pt x="101" y="52"/>
                      <a:pt x="101" y="52"/>
                      <a:pt x="101" y="52"/>
                    </a:cubicBezTo>
                    <a:cubicBezTo>
                      <a:pt x="102" y="53"/>
                      <a:pt x="102" y="53"/>
                      <a:pt x="102" y="53"/>
                    </a:cubicBezTo>
                    <a:lnTo>
                      <a:pt x="101" y="52"/>
                    </a:lnTo>
                    <a:close/>
                    <a:moveTo>
                      <a:pt x="104" y="57"/>
                    </a:moveTo>
                    <a:cubicBezTo>
                      <a:pt x="103" y="56"/>
                      <a:pt x="103" y="56"/>
                      <a:pt x="103" y="56"/>
                    </a:cubicBezTo>
                    <a:cubicBezTo>
                      <a:pt x="104" y="57"/>
                      <a:pt x="104" y="57"/>
                      <a:pt x="104" y="57"/>
                    </a:cubicBezTo>
                    <a:cubicBezTo>
                      <a:pt x="105" y="58"/>
                      <a:pt x="105" y="58"/>
                      <a:pt x="105" y="58"/>
                    </a:cubicBezTo>
                    <a:cubicBezTo>
                      <a:pt x="105" y="58"/>
                      <a:pt x="105" y="58"/>
                      <a:pt x="105" y="58"/>
                    </a:cubicBezTo>
                    <a:lnTo>
                      <a:pt x="104" y="57"/>
                    </a:lnTo>
                    <a:close/>
                    <a:moveTo>
                      <a:pt x="105" y="61"/>
                    </a:moveTo>
                    <a:cubicBezTo>
                      <a:pt x="105" y="61"/>
                      <a:pt x="105" y="61"/>
                      <a:pt x="105" y="61"/>
                    </a:cubicBezTo>
                    <a:cubicBezTo>
                      <a:pt x="106" y="61"/>
                      <a:pt x="106" y="61"/>
                      <a:pt x="106" y="61"/>
                    </a:cubicBezTo>
                    <a:lnTo>
                      <a:pt x="105" y="61"/>
                    </a:lnTo>
                    <a:close/>
                    <a:moveTo>
                      <a:pt x="105" y="67"/>
                    </a:moveTo>
                    <a:cubicBezTo>
                      <a:pt x="105" y="67"/>
                      <a:pt x="105" y="67"/>
                      <a:pt x="105" y="67"/>
                    </a:cubicBezTo>
                    <a:cubicBezTo>
                      <a:pt x="106" y="65"/>
                      <a:pt x="106" y="65"/>
                      <a:pt x="106" y="65"/>
                    </a:cubicBezTo>
                    <a:lnTo>
                      <a:pt x="105" y="67"/>
                    </a:lnTo>
                    <a:close/>
                    <a:moveTo>
                      <a:pt x="106" y="64"/>
                    </a:moveTo>
                    <a:cubicBezTo>
                      <a:pt x="106" y="63"/>
                      <a:pt x="106" y="63"/>
                      <a:pt x="106" y="63"/>
                    </a:cubicBezTo>
                    <a:cubicBezTo>
                      <a:pt x="106" y="64"/>
                      <a:pt x="106" y="64"/>
                      <a:pt x="106" y="64"/>
                    </a:cubicBezTo>
                    <a:close/>
                    <a:moveTo>
                      <a:pt x="112" y="53"/>
                    </a:moveTo>
                    <a:cubicBezTo>
                      <a:pt x="111" y="53"/>
                      <a:pt x="111" y="55"/>
                      <a:pt x="111" y="55"/>
                    </a:cubicBezTo>
                    <a:cubicBezTo>
                      <a:pt x="108" y="54"/>
                      <a:pt x="108" y="54"/>
                      <a:pt x="108" y="54"/>
                    </a:cubicBezTo>
                    <a:cubicBezTo>
                      <a:pt x="111" y="55"/>
                      <a:pt x="111" y="55"/>
                      <a:pt x="111" y="55"/>
                    </a:cubicBezTo>
                    <a:cubicBezTo>
                      <a:pt x="111" y="55"/>
                      <a:pt x="111" y="53"/>
                      <a:pt x="112" y="53"/>
                    </a:cubicBezTo>
                    <a:cubicBezTo>
                      <a:pt x="112" y="53"/>
                      <a:pt x="112" y="53"/>
                      <a:pt x="112" y="53"/>
                    </a:cubicBezTo>
                    <a:cubicBezTo>
                      <a:pt x="112" y="53"/>
                      <a:pt x="112" y="53"/>
                      <a:pt x="112" y="53"/>
                    </a:cubicBezTo>
                    <a:close/>
                    <a:moveTo>
                      <a:pt x="4" y="186"/>
                    </a:moveTo>
                    <a:cubicBezTo>
                      <a:pt x="4" y="186"/>
                      <a:pt x="4" y="186"/>
                      <a:pt x="4" y="186"/>
                    </a:cubicBezTo>
                    <a:cubicBezTo>
                      <a:pt x="4" y="186"/>
                      <a:pt x="4" y="186"/>
                      <a:pt x="4" y="186"/>
                    </a:cubicBezTo>
                    <a:close/>
                    <a:moveTo>
                      <a:pt x="4" y="187"/>
                    </a:moveTo>
                    <a:cubicBezTo>
                      <a:pt x="4" y="186"/>
                      <a:pt x="4" y="186"/>
                      <a:pt x="4" y="186"/>
                    </a:cubicBezTo>
                    <a:cubicBezTo>
                      <a:pt x="4" y="187"/>
                      <a:pt x="4" y="187"/>
                      <a:pt x="4" y="187"/>
                    </a:cubicBezTo>
                    <a:cubicBezTo>
                      <a:pt x="4" y="187"/>
                      <a:pt x="4" y="187"/>
                      <a:pt x="4" y="187"/>
                    </a:cubicBezTo>
                    <a:close/>
                    <a:moveTo>
                      <a:pt x="6" y="197"/>
                    </a:moveTo>
                    <a:cubicBezTo>
                      <a:pt x="6" y="197"/>
                      <a:pt x="6" y="197"/>
                      <a:pt x="6" y="197"/>
                    </a:cubicBezTo>
                    <a:cubicBezTo>
                      <a:pt x="7" y="196"/>
                      <a:pt x="7" y="196"/>
                      <a:pt x="7" y="196"/>
                    </a:cubicBezTo>
                    <a:lnTo>
                      <a:pt x="6" y="197"/>
                    </a:lnTo>
                    <a:close/>
                    <a:moveTo>
                      <a:pt x="8" y="186"/>
                    </a:moveTo>
                    <a:cubicBezTo>
                      <a:pt x="8" y="187"/>
                      <a:pt x="8" y="187"/>
                      <a:pt x="8" y="187"/>
                    </a:cubicBezTo>
                    <a:cubicBezTo>
                      <a:pt x="8" y="186"/>
                      <a:pt x="8" y="186"/>
                      <a:pt x="8" y="186"/>
                    </a:cubicBezTo>
                    <a:cubicBezTo>
                      <a:pt x="7" y="187"/>
                      <a:pt x="7" y="187"/>
                      <a:pt x="7" y="187"/>
                    </a:cubicBezTo>
                    <a:lnTo>
                      <a:pt x="8" y="186"/>
                    </a:lnTo>
                    <a:close/>
                    <a:moveTo>
                      <a:pt x="7" y="202"/>
                    </a:moveTo>
                    <a:cubicBezTo>
                      <a:pt x="7" y="200"/>
                      <a:pt x="7" y="200"/>
                      <a:pt x="7" y="200"/>
                    </a:cubicBezTo>
                    <a:cubicBezTo>
                      <a:pt x="7" y="202"/>
                      <a:pt x="7" y="202"/>
                      <a:pt x="7" y="202"/>
                    </a:cubicBezTo>
                    <a:cubicBezTo>
                      <a:pt x="7" y="202"/>
                      <a:pt x="7" y="202"/>
                      <a:pt x="7" y="202"/>
                    </a:cubicBezTo>
                    <a:close/>
                    <a:moveTo>
                      <a:pt x="7" y="194"/>
                    </a:moveTo>
                    <a:cubicBezTo>
                      <a:pt x="7" y="194"/>
                      <a:pt x="7" y="194"/>
                      <a:pt x="7" y="194"/>
                    </a:cubicBezTo>
                    <a:cubicBezTo>
                      <a:pt x="7" y="194"/>
                      <a:pt x="7" y="194"/>
                      <a:pt x="7" y="194"/>
                    </a:cubicBezTo>
                    <a:close/>
                    <a:moveTo>
                      <a:pt x="7" y="203"/>
                    </a:moveTo>
                    <a:cubicBezTo>
                      <a:pt x="8" y="203"/>
                      <a:pt x="8" y="203"/>
                      <a:pt x="8" y="203"/>
                    </a:cubicBezTo>
                    <a:cubicBezTo>
                      <a:pt x="8" y="203"/>
                      <a:pt x="8" y="203"/>
                      <a:pt x="8" y="203"/>
                    </a:cubicBezTo>
                    <a:lnTo>
                      <a:pt x="7" y="203"/>
                    </a:lnTo>
                    <a:close/>
                    <a:moveTo>
                      <a:pt x="8" y="199"/>
                    </a:moveTo>
                    <a:cubicBezTo>
                      <a:pt x="8" y="199"/>
                      <a:pt x="8" y="199"/>
                      <a:pt x="8" y="199"/>
                    </a:cubicBezTo>
                    <a:cubicBezTo>
                      <a:pt x="8" y="199"/>
                      <a:pt x="8" y="199"/>
                      <a:pt x="8" y="199"/>
                    </a:cubicBezTo>
                    <a:close/>
                    <a:moveTo>
                      <a:pt x="8" y="195"/>
                    </a:moveTo>
                    <a:cubicBezTo>
                      <a:pt x="8" y="195"/>
                      <a:pt x="8" y="195"/>
                      <a:pt x="8" y="195"/>
                    </a:cubicBezTo>
                    <a:cubicBezTo>
                      <a:pt x="8" y="195"/>
                      <a:pt x="8" y="195"/>
                      <a:pt x="8" y="195"/>
                    </a:cubicBezTo>
                    <a:close/>
                    <a:moveTo>
                      <a:pt x="8" y="193"/>
                    </a:moveTo>
                    <a:cubicBezTo>
                      <a:pt x="8" y="192"/>
                      <a:pt x="8" y="192"/>
                      <a:pt x="8" y="192"/>
                    </a:cubicBezTo>
                    <a:cubicBezTo>
                      <a:pt x="8" y="192"/>
                      <a:pt x="8" y="192"/>
                      <a:pt x="8" y="192"/>
                    </a:cubicBezTo>
                    <a:lnTo>
                      <a:pt x="8" y="193"/>
                    </a:lnTo>
                    <a:close/>
                    <a:moveTo>
                      <a:pt x="8" y="191"/>
                    </a:moveTo>
                    <a:cubicBezTo>
                      <a:pt x="8" y="192"/>
                      <a:pt x="8" y="192"/>
                      <a:pt x="8" y="192"/>
                    </a:cubicBezTo>
                    <a:cubicBezTo>
                      <a:pt x="8" y="191"/>
                      <a:pt x="8" y="191"/>
                      <a:pt x="8" y="191"/>
                    </a:cubicBezTo>
                    <a:cubicBezTo>
                      <a:pt x="9" y="190"/>
                      <a:pt x="9" y="190"/>
                      <a:pt x="9" y="190"/>
                    </a:cubicBezTo>
                    <a:lnTo>
                      <a:pt x="8" y="191"/>
                    </a:lnTo>
                    <a:close/>
                    <a:moveTo>
                      <a:pt x="10" y="188"/>
                    </a:moveTo>
                    <a:cubicBezTo>
                      <a:pt x="9" y="188"/>
                      <a:pt x="9" y="188"/>
                      <a:pt x="9" y="188"/>
                    </a:cubicBezTo>
                    <a:cubicBezTo>
                      <a:pt x="9" y="188"/>
                      <a:pt x="9" y="188"/>
                      <a:pt x="9" y="188"/>
                    </a:cubicBezTo>
                    <a:cubicBezTo>
                      <a:pt x="9" y="188"/>
                      <a:pt x="9" y="188"/>
                      <a:pt x="9" y="188"/>
                    </a:cubicBezTo>
                    <a:cubicBezTo>
                      <a:pt x="10" y="188"/>
                      <a:pt x="10" y="188"/>
                      <a:pt x="10" y="188"/>
                    </a:cubicBezTo>
                    <a:close/>
                    <a:moveTo>
                      <a:pt x="29" y="183"/>
                    </a:moveTo>
                    <a:cubicBezTo>
                      <a:pt x="29" y="183"/>
                      <a:pt x="29" y="182"/>
                      <a:pt x="29" y="182"/>
                    </a:cubicBezTo>
                    <a:cubicBezTo>
                      <a:pt x="29" y="182"/>
                      <a:pt x="29" y="183"/>
                      <a:pt x="29" y="183"/>
                    </a:cubicBezTo>
                    <a:close/>
                    <a:moveTo>
                      <a:pt x="31" y="183"/>
                    </a:moveTo>
                    <a:cubicBezTo>
                      <a:pt x="30" y="183"/>
                      <a:pt x="30" y="183"/>
                      <a:pt x="30" y="183"/>
                    </a:cubicBezTo>
                    <a:cubicBezTo>
                      <a:pt x="31" y="183"/>
                      <a:pt x="31" y="183"/>
                      <a:pt x="31" y="183"/>
                    </a:cubicBezTo>
                    <a:cubicBezTo>
                      <a:pt x="32" y="183"/>
                      <a:pt x="32" y="183"/>
                      <a:pt x="32" y="183"/>
                    </a:cubicBezTo>
                    <a:lnTo>
                      <a:pt x="31" y="183"/>
                    </a:lnTo>
                    <a:close/>
                    <a:moveTo>
                      <a:pt x="33" y="183"/>
                    </a:moveTo>
                    <a:cubicBezTo>
                      <a:pt x="34" y="183"/>
                      <a:pt x="34" y="183"/>
                      <a:pt x="34" y="183"/>
                    </a:cubicBezTo>
                    <a:cubicBezTo>
                      <a:pt x="34" y="183"/>
                      <a:pt x="34" y="183"/>
                      <a:pt x="34" y="183"/>
                    </a:cubicBezTo>
                    <a:lnTo>
                      <a:pt x="33" y="183"/>
                    </a:lnTo>
                    <a:close/>
                    <a:moveTo>
                      <a:pt x="34" y="183"/>
                    </a:moveTo>
                    <a:cubicBezTo>
                      <a:pt x="34" y="183"/>
                      <a:pt x="34" y="183"/>
                      <a:pt x="34" y="183"/>
                    </a:cubicBezTo>
                    <a:cubicBezTo>
                      <a:pt x="34" y="184"/>
                      <a:pt x="34" y="184"/>
                      <a:pt x="34" y="184"/>
                    </a:cubicBezTo>
                    <a:cubicBezTo>
                      <a:pt x="34" y="184"/>
                      <a:pt x="34" y="184"/>
                      <a:pt x="34" y="184"/>
                    </a:cubicBezTo>
                    <a:lnTo>
                      <a:pt x="34" y="183"/>
                    </a:lnTo>
                    <a:close/>
                    <a:moveTo>
                      <a:pt x="34" y="184"/>
                    </a:moveTo>
                    <a:cubicBezTo>
                      <a:pt x="34" y="184"/>
                      <a:pt x="34" y="184"/>
                      <a:pt x="34" y="184"/>
                    </a:cubicBezTo>
                    <a:cubicBezTo>
                      <a:pt x="34" y="184"/>
                      <a:pt x="34" y="184"/>
                      <a:pt x="34" y="184"/>
                    </a:cubicBezTo>
                    <a:cubicBezTo>
                      <a:pt x="35" y="184"/>
                      <a:pt x="35" y="184"/>
                      <a:pt x="35" y="184"/>
                    </a:cubicBezTo>
                    <a:cubicBezTo>
                      <a:pt x="35" y="184"/>
                      <a:pt x="35" y="184"/>
                      <a:pt x="35" y="184"/>
                    </a:cubicBezTo>
                    <a:cubicBezTo>
                      <a:pt x="35" y="184"/>
                      <a:pt x="35" y="184"/>
                      <a:pt x="35" y="184"/>
                    </a:cubicBezTo>
                    <a:lnTo>
                      <a:pt x="34" y="184"/>
                    </a:lnTo>
                    <a:close/>
                    <a:moveTo>
                      <a:pt x="39" y="185"/>
                    </a:moveTo>
                    <a:cubicBezTo>
                      <a:pt x="38" y="184"/>
                      <a:pt x="38" y="184"/>
                      <a:pt x="38" y="184"/>
                    </a:cubicBezTo>
                    <a:cubicBezTo>
                      <a:pt x="35" y="184"/>
                      <a:pt x="35" y="184"/>
                      <a:pt x="35" y="184"/>
                    </a:cubicBezTo>
                    <a:cubicBezTo>
                      <a:pt x="35" y="184"/>
                      <a:pt x="35" y="184"/>
                      <a:pt x="35" y="184"/>
                    </a:cubicBezTo>
                    <a:cubicBezTo>
                      <a:pt x="38" y="184"/>
                      <a:pt x="38" y="184"/>
                      <a:pt x="38" y="184"/>
                    </a:cubicBezTo>
                    <a:cubicBezTo>
                      <a:pt x="39" y="185"/>
                      <a:pt x="39" y="185"/>
                      <a:pt x="39" y="185"/>
                    </a:cubicBezTo>
                    <a:close/>
                    <a:moveTo>
                      <a:pt x="39" y="146"/>
                    </a:moveTo>
                    <a:cubicBezTo>
                      <a:pt x="39" y="145"/>
                      <a:pt x="39" y="145"/>
                      <a:pt x="39" y="145"/>
                    </a:cubicBezTo>
                    <a:cubicBezTo>
                      <a:pt x="39" y="146"/>
                      <a:pt x="39" y="146"/>
                      <a:pt x="39" y="146"/>
                    </a:cubicBezTo>
                    <a:cubicBezTo>
                      <a:pt x="39" y="146"/>
                      <a:pt x="39" y="146"/>
                      <a:pt x="39" y="146"/>
                    </a:cubicBezTo>
                    <a:close/>
                    <a:moveTo>
                      <a:pt x="43" y="148"/>
                    </a:moveTo>
                    <a:cubicBezTo>
                      <a:pt x="42" y="148"/>
                      <a:pt x="42" y="148"/>
                      <a:pt x="42" y="148"/>
                    </a:cubicBezTo>
                    <a:cubicBezTo>
                      <a:pt x="43" y="148"/>
                      <a:pt x="43" y="148"/>
                      <a:pt x="43" y="148"/>
                    </a:cubicBezTo>
                    <a:cubicBezTo>
                      <a:pt x="43" y="149"/>
                      <a:pt x="43" y="149"/>
                      <a:pt x="43" y="149"/>
                    </a:cubicBezTo>
                    <a:lnTo>
                      <a:pt x="43" y="148"/>
                    </a:lnTo>
                    <a:close/>
                    <a:moveTo>
                      <a:pt x="54" y="136"/>
                    </a:moveTo>
                    <a:cubicBezTo>
                      <a:pt x="54" y="136"/>
                      <a:pt x="54" y="136"/>
                      <a:pt x="54" y="136"/>
                    </a:cubicBezTo>
                    <a:cubicBezTo>
                      <a:pt x="54" y="136"/>
                      <a:pt x="54" y="136"/>
                      <a:pt x="54" y="136"/>
                    </a:cubicBezTo>
                    <a:close/>
                    <a:moveTo>
                      <a:pt x="53" y="139"/>
                    </a:moveTo>
                    <a:cubicBezTo>
                      <a:pt x="53" y="139"/>
                      <a:pt x="53" y="139"/>
                      <a:pt x="53" y="139"/>
                    </a:cubicBezTo>
                    <a:cubicBezTo>
                      <a:pt x="52" y="139"/>
                      <a:pt x="52" y="139"/>
                      <a:pt x="52" y="139"/>
                    </a:cubicBezTo>
                    <a:lnTo>
                      <a:pt x="53" y="139"/>
                    </a:lnTo>
                    <a:close/>
                    <a:moveTo>
                      <a:pt x="50" y="138"/>
                    </a:moveTo>
                    <a:cubicBezTo>
                      <a:pt x="51" y="138"/>
                      <a:pt x="51" y="138"/>
                      <a:pt x="51" y="138"/>
                    </a:cubicBezTo>
                    <a:cubicBezTo>
                      <a:pt x="50" y="138"/>
                      <a:pt x="50" y="138"/>
                      <a:pt x="50" y="138"/>
                    </a:cubicBezTo>
                    <a:close/>
                    <a:moveTo>
                      <a:pt x="50" y="142"/>
                    </a:moveTo>
                    <a:cubicBezTo>
                      <a:pt x="50" y="142"/>
                      <a:pt x="50" y="142"/>
                      <a:pt x="50" y="142"/>
                    </a:cubicBezTo>
                    <a:cubicBezTo>
                      <a:pt x="50" y="141"/>
                      <a:pt x="50" y="141"/>
                      <a:pt x="50" y="141"/>
                    </a:cubicBezTo>
                    <a:lnTo>
                      <a:pt x="50" y="142"/>
                    </a:lnTo>
                    <a:close/>
                    <a:moveTo>
                      <a:pt x="47" y="144"/>
                    </a:moveTo>
                    <a:cubicBezTo>
                      <a:pt x="46" y="143"/>
                      <a:pt x="46" y="143"/>
                      <a:pt x="46" y="143"/>
                    </a:cubicBezTo>
                    <a:cubicBezTo>
                      <a:pt x="45" y="143"/>
                      <a:pt x="45" y="143"/>
                      <a:pt x="45" y="143"/>
                    </a:cubicBezTo>
                    <a:cubicBezTo>
                      <a:pt x="46" y="143"/>
                      <a:pt x="46" y="143"/>
                      <a:pt x="46" y="143"/>
                    </a:cubicBezTo>
                    <a:cubicBezTo>
                      <a:pt x="47" y="144"/>
                      <a:pt x="47" y="144"/>
                      <a:pt x="47" y="144"/>
                    </a:cubicBezTo>
                    <a:cubicBezTo>
                      <a:pt x="50" y="145"/>
                      <a:pt x="50" y="145"/>
                      <a:pt x="50" y="145"/>
                    </a:cubicBezTo>
                    <a:cubicBezTo>
                      <a:pt x="50" y="145"/>
                      <a:pt x="50" y="145"/>
                      <a:pt x="50" y="145"/>
                    </a:cubicBezTo>
                    <a:lnTo>
                      <a:pt x="47" y="144"/>
                    </a:lnTo>
                    <a:close/>
                    <a:moveTo>
                      <a:pt x="49" y="167"/>
                    </a:moveTo>
                    <a:cubicBezTo>
                      <a:pt x="49" y="167"/>
                      <a:pt x="49" y="167"/>
                      <a:pt x="49" y="167"/>
                    </a:cubicBezTo>
                    <a:cubicBezTo>
                      <a:pt x="49" y="167"/>
                      <a:pt x="49" y="167"/>
                      <a:pt x="49" y="167"/>
                    </a:cubicBezTo>
                    <a:close/>
                    <a:moveTo>
                      <a:pt x="49" y="165"/>
                    </a:moveTo>
                    <a:cubicBezTo>
                      <a:pt x="49" y="165"/>
                      <a:pt x="49" y="165"/>
                      <a:pt x="49" y="165"/>
                    </a:cubicBezTo>
                    <a:cubicBezTo>
                      <a:pt x="49" y="165"/>
                      <a:pt x="49" y="165"/>
                      <a:pt x="49" y="165"/>
                    </a:cubicBezTo>
                    <a:close/>
                    <a:moveTo>
                      <a:pt x="49" y="145"/>
                    </a:moveTo>
                    <a:cubicBezTo>
                      <a:pt x="49" y="145"/>
                      <a:pt x="49" y="145"/>
                      <a:pt x="49" y="145"/>
                    </a:cubicBezTo>
                    <a:cubicBezTo>
                      <a:pt x="49" y="145"/>
                      <a:pt x="50" y="146"/>
                      <a:pt x="50" y="147"/>
                    </a:cubicBezTo>
                    <a:cubicBezTo>
                      <a:pt x="50" y="146"/>
                      <a:pt x="49" y="145"/>
                      <a:pt x="49" y="145"/>
                    </a:cubicBezTo>
                    <a:close/>
                    <a:moveTo>
                      <a:pt x="50" y="152"/>
                    </a:moveTo>
                    <a:cubicBezTo>
                      <a:pt x="50" y="152"/>
                      <a:pt x="50" y="152"/>
                      <a:pt x="50" y="152"/>
                    </a:cubicBezTo>
                    <a:cubicBezTo>
                      <a:pt x="50" y="152"/>
                      <a:pt x="50" y="152"/>
                      <a:pt x="50" y="152"/>
                    </a:cubicBezTo>
                    <a:cubicBezTo>
                      <a:pt x="50" y="152"/>
                      <a:pt x="50" y="152"/>
                      <a:pt x="50" y="152"/>
                    </a:cubicBezTo>
                    <a:close/>
                    <a:moveTo>
                      <a:pt x="51" y="166"/>
                    </a:moveTo>
                    <a:cubicBezTo>
                      <a:pt x="51" y="166"/>
                      <a:pt x="51" y="166"/>
                      <a:pt x="51" y="166"/>
                    </a:cubicBezTo>
                    <a:cubicBezTo>
                      <a:pt x="52" y="166"/>
                      <a:pt x="52" y="166"/>
                      <a:pt x="52" y="166"/>
                    </a:cubicBezTo>
                    <a:cubicBezTo>
                      <a:pt x="52" y="168"/>
                      <a:pt x="52" y="168"/>
                      <a:pt x="52" y="168"/>
                    </a:cubicBezTo>
                    <a:cubicBezTo>
                      <a:pt x="53" y="169"/>
                      <a:pt x="53" y="169"/>
                      <a:pt x="53" y="169"/>
                    </a:cubicBezTo>
                    <a:cubicBezTo>
                      <a:pt x="53" y="169"/>
                      <a:pt x="53" y="169"/>
                      <a:pt x="53" y="169"/>
                    </a:cubicBezTo>
                    <a:cubicBezTo>
                      <a:pt x="53" y="169"/>
                      <a:pt x="53" y="169"/>
                      <a:pt x="53" y="169"/>
                    </a:cubicBezTo>
                    <a:cubicBezTo>
                      <a:pt x="53" y="169"/>
                      <a:pt x="53" y="169"/>
                      <a:pt x="53" y="169"/>
                    </a:cubicBezTo>
                    <a:cubicBezTo>
                      <a:pt x="52" y="168"/>
                      <a:pt x="52" y="168"/>
                      <a:pt x="52" y="168"/>
                    </a:cubicBezTo>
                    <a:cubicBezTo>
                      <a:pt x="52" y="166"/>
                      <a:pt x="52" y="166"/>
                      <a:pt x="52" y="166"/>
                    </a:cubicBezTo>
                    <a:lnTo>
                      <a:pt x="51" y="166"/>
                    </a:lnTo>
                    <a:close/>
                    <a:moveTo>
                      <a:pt x="51" y="164"/>
                    </a:moveTo>
                    <a:cubicBezTo>
                      <a:pt x="51" y="164"/>
                      <a:pt x="51" y="164"/>
                      <a:pt x="51" y="164"/>
                    </a:cubicBezTo>
                    <a:cubicBezTo>
                      <a:pt x="52" y="163"/>
                      <a:pt x="52" y="163"/>
                      <a:pt x="52" y="163"/>
                    </a:cubicBezTo>
                    <a:cubicBezTo>
                      <a:pt x="53" y="161"/>
                      <a:pt x="53" y="161"/>
                      <a:pt x="53" y="161"/>
                    </a:cubicBezTo>
                    <a:cubicBezTo>
                      <a:pt x="53" y="161"/>
                      <a:pt x="53" y="161"/>
                      <a:pt x="53" y="161"/>
                    </a:cubicBezTo>
                    <a:cubicBezTo>
                      <a:pt x="52" y="163"/>
                      <a:pt x="52" y="163"/>
                      <a:pt x="52" y="163"/>
                    </a:cubicBezTo>
                    <a:cubicBezTo>
                      <a:pt x="51" y="164"/>
                      <a:pt x="51" y="164"/>
                      <a:pt x="51" y="164"/>
                    </a:cubicBezTo>
                    <a:close/>
                    <a:moveTo>
                      <a:pt x="51" y="173"/>
                    </a:moveTo>
                    <a:cubicBezTo>
                      <a:pt x="51" y="173"/>
                      <a:pt x="51" y="173"/>
                      <a:pt x="51" y="173"/>
                    </a:cubicBezTo>
                    <a:cubicBezTo>
                      <a:pt x="52" y="173"/>
                      <a:pt x="52" y="173"/>
                      <a:pt x="52" y="173"/>
                    </a:cubicBezTo>
                    <a:lnTo>
                      <a:pt x="51" y="173"/>
                    </a:lnTo>
                    <a:close/>
                    <a:moveTo>
                      <a:pt x="52" y="172"/>
                    </a:moveTo>
                    <a:cubicBezTo>
                      <a:pt x="52" y="172"/>
                      <a:pt x="52" y="172"/>
                      <a:pt x="52" y="172"/>
                    </a:cubicBezTo>
                    <a:cubicBezTo>
                      <a:pt x="52" y="172"/>
                      <a:pt x="52" y="172"/>
                      <a:pt x="52" y="172"/>
                    </a:cubicBezTo>
                    <a:cubicBezTo>
                      <a:pt x="52" y="172"/>
                      <a:pt x="52" y="172"/>
                      <a:pt x="52" y="172"/>
                    </a:cubicBezTo>
                    <a:close/>
                    <a:moveTo>
                      <a:pt x="53" y="176"/>
                    </a:moveTo>
                    <a:cubicBezTo>
                      <a:pt x="53" y="176"/>
                      <a:pt x="53" y="176"/>
                      <a:pt x="53" y="176"/>
                    </a:cubicBezTo>
                    <a:cubicBezTo>
                      <a:pt x="53" y="176"/>
                      <a:pt x="53" y="176"/>
                      <a:pt x="53" y="176"/>
                    </a:cubicBezTo>
                    <a:close/>
                    <a:moveTo>
                      <a:pt x="53" y="171"/>
                    </a:moveTo>
                    <a:cubicBezTo>
                      <a:pt x="52" y="170"/>
                      <a:pt x="52" y="170"/>
                      <a:pt x="52" y="170"/>
                    </a:cubicBezTo>
                    <a:cubicBezTo>
                      <a:pt x="52" y="170"/>
                      <a:pt x="52" y="170"/>
                      <a:pt x="52" y="170"/>
                    </a:cubicBezTo>
                    <a:cubicBezTo>
                      <a:pt x="53" y="171"/>
                      <a:pt x="53" y="171"/>
                      <a:pt x="53" y="171"/>
                    </a:cubicBezTo>
                    <a:close/>
                    <a:moveTo>
                      <a:pt x="54" y="162"/>
                    </a:moveTo>
                    <a:cubicBezTo>
                      <a:pt x="54" y="162"/>
                      <a:pt x="54" y="162"/>
                      <a:pt x="54" y="162"/>
                    </a:cubicBezTo>
                    <a:cubicBezTo>
                      <a:pt x="54" y="162"/>
                      <a:pt x="54" y="162"/>
                      <a:pt x="54" y="162"/>
                    </a:cubicBezTo>
                    <a:close/>
                    <a:moveTo>
                      <a:pt x="53" y="153"/>
                    </a:moveTo>
                    <a:cubicBezTo>
                      <a:pt x="51" y="153"/>
                      <a:pt x="51" y="153"/>
                      <a:pt x="51" y="153"/>
                    </a:cubicBezTo>
                    <a:cubicBezTo>
                      <a:pt x="51" y="153"/>
                      <a:pt x="51" y="153"/>
                      <a:pt x="51" y="153"/>
                    </a:cubicBezTo>
                    <a:cubicBezTo>
                      <a:pt x="51" y="153"/>
                      <a:pt x="51" y="153"/>
                      <a:pt x="51" y="153"/>
                    </a:cubicBezTo>
                    <a:cubicBezTo>
                      <a:pt x="53" y="153"/>
                      <a:pt x="53" y="153"/>
                      <a:pt x="53" y="153"/>
                    </a:cubicBezTo>
                    <a:cubicBezTo>
                      <a:pt x="53" y="153"/>
                      <a:pt x="54" y="155"/>
                      <a:pt x="55" y="155"/>
                    </a:cubicBezTo>
                    <a:cubicBezTo>
                      <a:pt x="55" y="155"/>
                      <a:pt x="56" y="155"/>
                      <a:pt x="56" y="155"/>
                    </a:cubicBezTo>
                    <a:cubicBezTo>
                      <a:pt x="56" y="155"/>
                      <a:pt x="55" y="155"/>
                      <a:pt x="55" y="155"/>
                    </a:cubicBezTo>
                    <a:cubicBezTo>
                      <a:pt x="54" y="155"/>
                      <a:pt x="53" y="153"/>
                      <a:pt x="53" y="153"/>
                    </a:cubicBezTo>
                    <a:close/>
                    <a:moveTo>
                      <a:pt x="56" y="167"/>
                    </a:moveTo>
                    <a:cubicBezTo>
                      <a:pt x="56" y="167"/>
                      <a:pt x="56" y="167"/>
                      <a:pt x="56" y="167"/>
                    </a:cubicBezTo>
                    <a:cubicBezTo>
                      <a:pt x="57" y="167"/>
                      <a:pt x="57" y="167"/>
                      <a:pt x="57" y="167"/>
                    </a:cubicBezTo>
                    <a:lnTo>
                      <a:pt x="56" y="167"/>
                    </a:lnTo>
                    <a:close/>
                    <a:moveTo>
                      <a:pt x="57" y="161"/>
                    </a:moveTo>
                    <a:cubicBezTo>
                      <a:pt x="55" y="161"/>
                      <a:pt x="55" y="161"/>
                      <a:pt x="55" y="16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7" y="161"/>
                      <a:pt x="57" y="161"/>
                      <a:pt x="57" y="161"/>
                    </a:cubicBezTo>
                    <a:cubicBezTo>
                      <a:pt x="58" y="160"/>
                      <a:pt x="58" y="160"/>
                      <a:pt x="58" y="160"/>
                    </a:cubicBezTo>
                    <a:cubicBezTo>
                      <a:pt x="58" y="159"/>
                      <a:pt x="58" y="159"/>
                      <a:pt x="58" y="160"/>
                    </a:cubicBezTo>
                    <a:cubicBezTo>
                      <a:pt x="58" y="159"/>
                      <a:pt x="58" y="159"/>
                      <a:pt x="58" y="160"/>
                    </a:cubicBezTo>
                    <a:lnTo>
                      <a:pt x="57" y="161"/>
                    </a:lnTo>
                    <a:close/>
                    <a:moveTo>
                      <a:pt x="59" y="169"/>
                    </a:moveTo>
                    <a:cubicBezTo>
                      <a:pt x="58" y="168"/>
                      <a:pt x="58" y="168"/>
                      <a:pt x="58" y="168"/>
                    </a:cubicBezTo>
                    <a:cubicBezTo>
                      <a:pt x="57" y="168"/>
                      <a:pt x="57" y="168"/>
                      <a:pt x="57" y="168"/>
                    </a:cubicBezTo>
                    <a:cubicBezTo>
                      <a:pt x="59" y="169"/>
                      <a:pt x="59" y="169"/>
                      <a:pt x="59" y="169"/>
                    </a:cubicBezTo>
                    <a:close/>
                    <a:moveTo>
                      <a:pt x="59" y="161"/>
                    </a:moveTo>
                    <a:cubicBezTo>
                      <a:pt x="59" y="161"/>
                      <a:pt x="59" y="161"/>
                      <a:pt x="59" y="161"/>
                    </a:cubicBezTo>
                    <a:cubicBezTo>
                      <a:pt x="59" y="160"/>
                      <a:pt x="59" y="160"/>
                      <a:pt x="59" y="160"/>
                    </a:cubicBezTo>
                    <a:lnTo>
                      <a:pt x="59" y="161"/>
                    </a:lnTo>
                    <a:close/>
                    <a:moveTo>
                      <a:pt x="60" y="166"/>
                    </a:moveTo>
                    <a:cubicBezTo>
                      <a:pt x="59" y="168"/>
                      <a:pt x="59" y="168"/>
                      <a:pt x="59" y="168"/>
                    </a:cubicBezTo>
                    <a:cubicBezTo>
                      <a:pt x="59" y="168"/>
                      <a:pt x="59" y="168"/>
                      <a:pt x="59" y="168"/>
                    </a:cubicBezTo>
                    <a:cubicBezTo>
                      <a:pt x="59" y="168"/>
                      <a:pt x="59" y="168"/>
                      <a:pt x="59" y="168"/>
                    </a:cubicBezTo>
                    <a:cubicBezTo>
                      <a:pt x="60" y="166"/>
                      <a:pt x="60" y="166"/>
                      <a:pt x="60" y="166"/>
                    </a:cubicBezTo>
                    <a:cubicBezTo>
                      <a:pt x="60" y="166"/>
                      <a:pt x="60" y="166"/>
                      <a:pt x="60" y="166"/>
                    </a:cubicBezTo>
                    <a:close/>
                    <a:moveTo>
                      <a:pt x="61" y="162"/>
                    </a:moveTo>
                    <a:cubicBezTo>
                      <a:pt x="62" y="162"/>
                      <a:pt x="62" y="162"/>
                      <a:pt x="62" y="162"/>
                    </a:cubicBezTo>
                    <a:cubicBezTo>
                      <a:pt x="61" y="162"/>
                      <a:pt x="61" y="162"/>
                      <a:pt x="61" y="162"/>
                    </a:cubicBezTo>
                    <a:cubicBezTo>
                      <a:pt x="61" y="163"/>
                      <a:pt x="61" y="163"/>
                      <a:pt x="61" y="163"/>
                    </a:cubicBezTo>
                    <a:cubicBezTo>
                      <a:pt x="61" y="162"/>
                      <a:pt x="61" y="162"/>
                      <a:pt x="61" y="162"/>
                    </a:cubicBezTo>
                    <a:cubicBezTo>
                      <a:pt x="61" y="161"/>
                      <a:pt x="61" y="161"/>
                      <a:pt x="61" y="161"/>
                    </a:cubicBezTo>
                    <a:lnTo>
                      <a:pt x="61" y="162"/>
                    </a:lnTo>
                    <a:close/>
                    <a:moveTo>
                      <a:pt x="62" y="168"/>
                    </a:moveTo>
                    <a:cubicBezTo>
                      <a:pt x="62" y="167"/>
                      <a:pt x="62" y="167"/>
                      <a:pt x="62" y="167"/>
                    </a:cubicBezTo>
                    <a:cubicBezTo>
                      <a:pt x="61" y="167"/>
                      <a:pt x="61" y="167"/>
                      <a:pt x="61" y="167"/>
                    </a:cubicBezTo>
                    <a:cubicBezTo>
                      <a:pt x="62" y="167"/>
                      <a:pt x="62" y="167"/>
                      <a:pt x="62" y="167"/>
                    </a:cubicBezTo>
                    <a:cubicBezTo>
                      <a:pt x="62" y="168"/>
                      <a:pt x="62" y="168"/>
                      <a:pt x="62" y="168"/>
                    </a:cubicBezTo>
                    <a:close/>
                    <a:moveTo>
                      <a:pt x="63" y="166"/>
                    </a:moveTo>
                    <a:cubicBezTo>
                      <a:pt x="63" y="166"/>
                      <a:pt x="63" y="166"/>
                      <a:pt x="63" y="166"/>
                    </a:cubicBezTo>
                    <a:cubicBezTo>
                      <a:pt x="63" y="166"/>
                      <a:pt x="63" y="166"/>
                      <a:pt x="63" y="166"/>
                    </a:cubicBezTo>
                    <a:close/>
                    <a:moveTo>
                      <a:pt x="63" y="162"/>
                    </a:moveTo>
                    <a:cubicBezTo>
                      <a:pt x="62" y="161"/>
                      <a:pt x="62" y="161"/>
                      <a:pt x="62" y="161"/>
                    </a:cubicBezTo>
                    <a:cubicBezTo>
                      <a:pt x="62" y="161"/>
                      <a:pt x="62" y="161"/>
                      <a:pt x="62" y="161"/>
                    </a:cubicBezTo>
                    <a:cubicBezTo>
                      <a:pt x="63" y="162"/>
                      <a:pt x="63" y="162"/>
                      <a:pt x="63" y="162"/>
                    </a:cubicBezTo>
                    <a:cubicBezTo>
                      <a:pt x="63" y="161"/>
                      <a:pt x="63" y="161"/>
                      <a:pt x="63" y="161"/>
                    </a:cubicBezTo>
                    <a:cubicBezTo>
                      <a:pt x="63" y="161"/>
                      <a:pt x="63" y="161"/>
                      <a:pt x="63" y="161"/>
                    </a:cubicBezTo>
                    <a:lnTo>
                      <a:pt x="63" y="162"/>
                    </a:lnTo>
                    <a:close/>
                    <a:moveTo>
                      <a:pt x="65" y="162"/>
                    </a:moveTo>
                    <a:cubicBezTo>
                      <a:pt x="65" y="162"/>
                      <a:pt x="65" y="162"/>
                      <a:pt x="65" y="162"/>
                    </a:cubicBezTo>
                    <a:cubicBezTo>
                      <a:pt x="63" y="161"/>
                      <a:pt x="63" y="161"/>
                      <a:pt x="63" y="161"/>
                    </a:cubicBezTo>
                    <a:lnTo>
                      <a:pt x="65" y="162"/>
                    </a:lnTo>
                    <a:close/>
                    <a:moveTo>
                      <a:pt x="63" y="166"/>
                    </a:moveTo>
                    <a:cubicBezTo>
                      <a:pt x="63" y="166"/>
                      <a:pt x="63" y="166"/>
                      <a:pt x="63" y="166"/>
                    </a:cubicBezTo>
                    <a:cubicBezTo>
                      <a:pt x="64" y="164"/>
                      <a:pt x="64" y="164"/>
                      <a:pt x="64" y="164"/>
                    </a:cubicBezTo>
                    <a:cubicBezTo>
                      <a:pt x="63" y="164"/>
                      <a:pt x="63" y="164"/>
                      <a:pt x="63" y="164"/>
                    </a:cubicBezTo>
                    <a:cubicBezTo>
                      <a:pt x="64" y="164"/>
                      <a:pt x="64" y="164"/>
                      <a:pt x="64" y="164"/>
                    </a:cubicBezTo>
                    <a:lnTo>
                      <a:pt x="63" y="166"/>
                    </a:lnTo>
                    <a:close/>
                    <a:moveTo>
                      <a:pt x="64" y="165"/>
                    </a:moveTo>
                    <a:cubicBezTo>
                      <a:pt x="64" y="164"/>
                      <a:pt x="64" y="164"/>
                      <a:pt x="64" y="164"/>
                    </a:cubicBezTo>
                    <a:cubicBezTo>
                      <a:pt x="64" y="165"/>
                      <a:pt x="64" y="165"/>
                      <a:pt x="64" y="165"/>
                    </a:cubicBezTo>
                    <a:cubicBezTo>
                      <a:pt x="66" y="164"/>
                      <a:pt x="66" y="164"/>
                      <a:pt x="66" y="164"/>
                    </a:cubicBezTo>
                    <a:lnTo>
                      <a:pt x="64" y="165"/>
                    </a:lnTo>
                    <a:close/>
                    <a:moveTo>
                      <a:pt x="70" y="148"/>
                    </a:moveTo>
                    <a:cubicBezTo>
                      <a:pt x="72" y="148"/>
                      <a:pt x="72" y="148"/>
                      <a:pt x="72" y="148"/>
                    </a:cubicBezTo>
                    <a:cubicBezTo>
                      <a:pt x="70" y="148"/>
                      <a:pt x="70" y="148"/>
                      <a:pt x="70" y="148"/>
                    </a:cubicBezTo>
                    <a:cubicBezTo>
                      <a:pt x="69" y="148"/>
                      <a:pt x="69" y="148"/>
                      <a:pt x="69" y="148"/>
                    </a:cubicBezTo>
                    <a:lnTo>
                      <a:pt x="70" y="148"/>
                    </a:lnTo>
                    <a:close/>
                    <a:moveTo>
                      <a:pt x="69" y="148"/>
                    </a:moveTo>
                    <a:cubicBezTo>
                      <a:pt x="70" y="149"/>
                      <a:pt x="69" y="150"/>
                      <a:pt x="69" y="150"/>
                    </a:cubicBezTo>
                    <a:cubicBezTo>
                      <a:pt x="71" y="152"/>
                      <a:pt x="71" y="152"/>
                      <a:pt x="71" y="152"/>
                    </a:cubicBezTo>
                    <a:cubicBezTo>
                      <a:pt x="71" y="152"/>
                      <a:pt x="71" y="152"/>
                      <a:pt x="71" y="152"/>
                    </a:cubicBezTo>
                    <a:cubicBezTo>
                      <a:pt x="71" y="152"/>
                      <a:pt x="71" y="152"/>
                      <a:pt x="71" y="152"/>
                    </a:cubicBezTo>
                    <a:cubicBezTo>
                      <a:pt x="69" y="150"/>
                      <a:pt x="69" y="150"/>
                      <a:pt x="69" y="150"/>
                    </a:cubicBezTo>
                    <a:cubicBezTo>
                      <a:pt x="69" y="150"/>
                      <a:pt x="70" y="149"/>
                      <a:pt x="69" y="148"/>
                    </a:cubicBezTo>
                    <a:close/>
                    <a:moveTo>
                      <a:pt x="70" y="161"/>
                    </a:moveTo>
                    <a:cubicBezTo>
                      <a:pt x="70" y="161"/>
                      <a:pt x="70" y="161"/>
                      <a:pt x="70" y="161"/>
                    </a:cubicBezTo>
                    <a:cubicBezTo>
                      <a:pt x="70" y="161"/>
                      <a:pt x="70" y="161"/>
                      <a:pt x="70" y="161"/>
                    </a:cubicBezTo>
                    <a:close/>
                    <a:moveTo>
                      <a:pt x="70" y="165"/>
                    </a:moveTo>
                    <a:cubicBezTo>
                      <a:pt x="69" y="164"/>
                      <a:pt x="69" y="164"/>
                      <a:pt x="69" y="164"/>
                    </a:cubicBezTo>
                    <a:cubicBezTo>
                      <a:pt x="69" y="164"/>
                      <a:pt x="69" y="164"/>
                      <a:pt x="69" y="164"/>
                    </a:cubicBezTo>
                    <a:cubicBezTo>
                      <a:pt x="70" y="165"/>
                      <a:pt x="70" y="165"/>
                      <a:pt x="70" y="165"/>
                    </a:cubicBezTo>
                    <a:cubicBezTo>
                      <a:pt x="70" y="165"/>
                      <a:pt x="71" y="165"/>
                      <a:pt x="72" y="165"/>
                    </a:cubicBezTo>
                    <a:cubicBezTo>
                      <a:pt x="71" y="165"/>
                      <a:pt x="70" y="165"/>
                      <a:pt x="70" y="165"/>
                    </a:cubicBezTo>
                    <a:close/>
                    <a:moveTo>
                      <a:pt x="72" y="158"/>
                    </a:moveTo>
                    <a:cubicBezTo>
                      <a:pt x="72" y="159"/>
                      <a:pt x="72" y="159"/>
                      <a:pt x="72" y="159"/>
                    </a:cubicBezTo>
                    <a:cubicBezTo>
                      <a:pt x="72" y="159"/>
                      <a:pt x="72" y="159"/>
                      <a:pt x="72" y="159"/>
                    </a:cubicBezTo>
                    <a:cubicBezTo>
                      <a:pt x="72" y="159"/>
                      <a:pt x="72" y="159"/>
                      <a:pt x="72" y="159"/>
                    </a:cubicBezTo>
                    <a:lnTo>
                      <a:pt x="72" y="158"/>
                    </a:lnTo>
                    <a:close/>
                    <a:moveTo>
                      <a:pt x="73" y="158"/>
                    </a:moveTo>
                    <a:cubicBezTo>
                      <a:pt x="71" y="158"/>
                      <a:pt x="71" y="158"/>
                      <a:pt x="71" y="158"/>
                    </a:cubicBezTo>
                    <a:cubicBezTo>
                      <a:pt x="71" y="158"/>
                      <a:pt x="71" y="158"/>
                      <a:pt x="71" y="158"/>
                    </a:cubicBezTo>
                    <a:cubicBezTo>
                      <a:pt x="73" y="158"/>
                      <a:pt x="73" y="158"/>
                      <a:pt x="73" y="158"/>
                    </a:cubicBezTo>
                    <a:close/>
                    <a:moveTo>
                      <a:pt x="122" y="143"/>
                    </a:move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21" y="142"/>
                      <a:pt x="121" y="142"/>
                      <a:pt x="121" y="142"/>
                    </a:cubicBezTo>
                    <a:lnTo>
                      <a:pt x="122" y="143"/>
                    </a:lnTo>
                    <a:close/>
                    <a:moveTo>
                      <a:pt x="121" y="121"/>
                    </a:moveTo>
                    <a:cubicBezTo>
                      <a:pt x="122" y="121"/>
                      <a:pt x="122" y="121"/>
                      <a:pt x="122" y="121"/>
                    </a:cubicBezTo>
                    <a:cubicBezTo>
                      <a:pt x="121" y="121"/>
                      <a:pt x="121" y="121"/>
                      <a:pt x="121" y="121"/>
                    </a:cubicBezTo>
                    <a:cubicBezTo>
                      <a:pt x="120" y="120"/>
                      <a:pt x="120" y="120"/>
                      <a:pt x="120" y="120"/>
                    </a:cubicBezTo>
                    <a:cubicBezTo>
                      <a:pt x="119" y="121"/>
                      <a:pt x="119" y="121"/>
                      <a:pt x="119" y="121"/>
                    </a:cubicBezTo>
                    <a:cubicBezTo>
                      <a:pt x="119" y="121"/>
                      <a:pt x="119" y="121"/>
                      <a:pt x="119" y="121"/>
                    </a:cubicBezTo>
                    <a:cubicBezTo>
                      <a:pt x="119" y="121"/>
                      <a:pt x="119" y="121"/>
                      <a:pt x="119" y="121"/>
                    </a:cubicBezTo>
                    <a:cubicBezTo>
                      <a:pt x="120" y="120"/>
                      <a:pt x="120" y="120"/>
                      <a:pt x="120" y="120"/>
                    </a:cubicBezTo>
                    <a:cubicBezTo>
                      <a:pt x="120" y="120"/>
                      <a:pt x="120" y="120"/>
                      <a:pt x="120" y="120"/>
                    </a:cubicBezTo>
                    <a:lnTo>
                      <a:pt x="121" y="121"/>
                    </a:lnTo>
                    <a:close/>
                    <a:moveTo>
                      <a:pt x="121" y="171"/>
                    </a:moveTo>
                    <a:cubicBezTo>
                      <a:pt x="121" y="171"/>
                      <a:pt x="121" y="171"/>
                      <a:pt x="121" y="171"/>
                    </a:cubicBezTo>
                    <a:cubicBezTo>
                      <a:pt x="121" y="170"/>
                      <a:pt x="121" y="170"/>
                      <a:pt x="121" y="170"/>
                    </a:cubicBezTo>
                    <a:lnTo>
                      <a:pt x="121" y="171"/>
                    </a:lnTo>
                    <a:close/>
                    <a:moveTo>
                      <a:pt x="120" y="164"/>
                    </a:moveTo>
                    <a:cubicBezTo>
                      <a:pt x="120" y="164"/>
                      <a:pt x="120" y="164"/>
                      <a:pt x="120" y="164"/>
                    </a:cubicBezTo>
                    <a:cubicBezTo>
                      <a:pt x="120" y="167"/>
                      <a:pt x="120" y="167"/>
                      <a:pt x="120" y="167"/>
                    </a:cubicBezTo>
                    <a:cubicBezTo>
                      <a:pt x="120" y="167"/>
                      <a:pt x="120" y="167"/>
                      <a:pt x="120" y="167"/>
                    </a:cubicBezTo>
                    <a:cubicBezTo>
                      <a:pt x="120" y="167"/>
                      <a:pt x="120" y="167"/>
                      <a:pt x="120" y="167"/>
                    </a:cubicBezTo>
                    <a:cubicBezTo>
                      <a:pt x="120" y="164"/>
                      <a:pt x="120" y="164"/>
                      <a:pt x="120" y="164"/>
                    </a:cubicBezTo>
                    <a:close/>
                    <a:moveTo>
                      <a:pt x="120" y="117"/>
                    </a:moveTo>
                    <a:cubicBezTo>
                      <a:pt x="121" y="119"/>
                      <a:pt x="121" y="119"/>
                      <a:pt x="121" y="119"/>
                    </a:cubicBezTo>
                    <a:cubicBezTo>
                      <a:pt x="120" y="117"/>
                      <a:pt x="120" y="117"/>
                      <a:pt x="120" y="117"/>
                    </a:cubicBezTo>
                    <a:cubicBezTo>
                      <a:pt x="119" y="116"/>
                      <a:pt x="119" y="116"/>
                      <a:pt x="119" y="116"/>
                    </a:cubicBezTo>
                    <a:lnTo>
                      <a:pt x="120" y="117"/>
                    </a:lnTo>
                    <a:close/>
                    <a:moveTo>
                      <a:pt x="116" y="123"/>
                    </a:moveTo>
                    <a:cubicBezTo>
                      <a:pt x="115" y="123"/>
                      <a:pt x="115" y="123"/>
                      <a:pt x="115" y="123"/>
                    </a:cubicBezTo>
                    <a:cubicBezTo>
                      <a:pt x="115" y="123"/>
                      <a:pt x="115" y="123"/>
                      <a:pt x="115" y="123"/>
                    </a:cubicBezTo>
                    <a:cubicBezTo>
                      <a:pt x="116" y="123"/>
                      <a:pt x="116" y="123"/>
                      <a:pt x="116" y="123"/>
                    </a:cubicBezTo>
                    <a:cubicBezTo>
                      <a:pt x="116" y="123"/>
                      <a:pt x="116" y="123"/>
                      <a:pt x="116" y="123"/>
                    </a:cubicBezTo>
                    <a:cubicBezTo>
                      <a:pt x="116" y="122"/>
                      <a:pt x="116" y="122"/>
                      <a:pt x="116" y="122"/>
                    </a:cubicBezTo>
                    <a:cubicBezTo>
                      <a:pt x="117" y="122"/>
                      <a:pt x="117" y="122"/>
                      <a:pt x="117" y="122"/>
                    </a:cubicBezTo>
                    <a:cubicBezTo>
                      <a:pt x="118" y="123"/>
                      <a:pt x="118" y="123"/>
                      <a:pt x="118" y="123"/>
                    </a:cubicBezTo>
                    <a:cubicBezTo>
                      <a:pt x="118" y="123"/>
                      <a:pt x="118" y="123"/>
                      <a:pt x="118" y="123"/>
                    </a:cubicBezTo>
                    <a:cubicBezTo>
                      <a:pt x="117" y="122"/>
                      <a:pt x="117" y="122"/>
                      <a:pt x="117" y="122"/>
                    </a:cubicBezTo>
                    <a:cubicBezTo>
                      <a:pt x="116" y="122"/>
                      <a:pt x="116" y="122"/>
                      <a:pt x="116" y="122"/>
                    </a:cubicBezTo>
                    <a:lnTo>
                      <a:pt x="116" y="123"/>
                    </a:lnTo>
                    <a:close/>
                    <a:moveTo>
                      <a:pt x="116" y="125"/>
                    </a:moveTo>
                    <a:cubicBezTo>
                      <a:pt x="116" y="125"/>
                      <a:pt x="116" y="125"/>
                      <a:pt x="116" y="125"/>
                    </a:cubicBezTo>
                    <a:cubicBezTo>
                      <a:pt x="116" y="124"/>
                      <a:pt x="116" y="124"/>
                      <a:pt x="116" y="124"/>
                    </a:cubicBezTo>
                    <a:lnTo>
                      <a:pt x="116" y="125"/>
                    </a:lnTo>
                    <a:close/>
                    <a:moveTo>
                      <a:pt x="118" y="161"/>
                    </a:moveTo>
                    <a:cubicBezTo>
                      <a:pt x="118" y="161"/>
                      <a:pt x="118" y="161"/>
                      <a:pt x="118" y="161"/>
                    </a:cubicBezTo>
                    <a:cubicBezTo>
                      <a:pt x="116" y="158"/>
                      <a:pt x="116" y="158"/>
                      <a:pt x="116" y="158"/>
                    </a:cubicBezTo>
                    <a:lnTo>
                      <a:pt x="118" y="161"/>
                    </a:lnTo>
                    <a:close/>
                    <a:moveTo>
                      <a:pt x="117" y="141"/>
                    </a:moveTo>
                    <a:cubicBezTo>
                      <a:pt x="117" y="141"/>
                      <a:pt x="117" y="141"/>
                      <a:pt x="117" y="141"/>
                    </a:cubicBezTo>
                    <a:cubicBezTo>
                      <a:pt x="118" y="142"/>
                      <a:pt x="118" y="142"/>
                      <a:pt x="118" y="142"/>
                    </a:cubicBezTo>
                    <a:cubicBezTo>
                      <a:pt x="119" y="143"/>
                      <a:pt x="119" y="143"/>
                      <a:pt x="119" y="143"/>
                    </a:cubicBezTo>
                    <a:cubicBezTo>
                      <a:pt x="119" y="143"/>
                      <a:pt x="119" y="143"/>
                      <a:pt x="119" y="143"/>
                    </a:cubicBezTo>
                    <a:cubicBezTo>
                      <a:pt x="118" y="142"/>
                      <a:pt x="118" y="142"/>
                      <a:pt x="118" y="142"/>
                    </a:cubicBezTo>
                    <a:lnTo>
                      <a:pt x="117" y="141"/>
                    </a:lnTo>
                    <a:close/>
                    <a:moveTo>
                      <a:pt x="119" y="115"/>
                    </a:moveTo>
                    <a:cubicBezTo>
                      <a:pt x="119" y="115"/>
                      <a:pt x="119" y="115"/>
                      <a:pt x="119" y="115"/>
                    </a:cubicBezTo>
                    <a:cubicBezTo>
                      <a:pt x="119" y="115"/>
                      <a:pt x="119" y="115"/>
                      <a:pt x="119" y="115"/>
                    </a:cubicBezTo>
                    <a:close/>
                    <a:moveTo>
                      <a:pt x="118" y="106"/>
                    </a:moveTo>
                    <a:cubicBezTo>
                      <a:pt x="119" y="105"/>
                      <a:pt x="119" y="105"/>
                      <a:pt x="119" y="105"/>
                    </a:cubicBezTo>
                    <a:cubicBezTo>
                      <a:pt x="118" y="106"/>
                      <a:pt x="118" y="106"/>
                      <a:pt x="118" y="106"/>
                    </a:cubicBezTo>
                    <a:cubicBezTo>
                      <a:pt x="119" y="107"/>
                      <a:pt x="119" y="107"/>
                      <a:pt x="119" y="107"/>
                    </a:cubicBezTo>
                    <a:cubicBezTo>
                      <a:pt x="118" y="108"/>
                      <a:pt x="118" y="108"/>
                      <a:pt x="118" y="108"/>
                    </a:cubicBezTo>
                    <a:cubicBezTo>
                      <a:pt x="118" y="108"/>
                      <a:pt x="118" y="109"/>
                      <a:pt x="118" y="109"/>
                    </a:cubicBezTo>
                    <a:cubicBezTo>
                      <a:pt x="118" y="109"/>
                      <a:pt x="118" y="108"/>
                      <a:pt x="118" y="108"/>
                    </a:cubicBezTo>
                    <a:cubicBezTo>
                      <a:pt x="119" y="107"/>
                      <a:pt x="119" y="107"/>
                      <a:pt x="119" y="107"/>
                    </a:cubicBezTo>
                    <a:lnTo>
                      <a:pt x="118" y="106"/>
                    </a:lnTo>
                    <a:close/>
                    <a:moveTo>
                      <a:pt x="118" y="110"/>
                    </a:moveTo>
                    <a:cubicBezTo>
                      <a:pt x="119" y="110"/>
                      <a:pt x="119" y="111"/>
                      <a:pt x="119" y="111"/>
                    </a:cubicBezTo>
                    <a:cubicBezTo>
                      <a:pt x="118" y="112"/>
                      <a:pt x="118" y="112"/>
                      <a:pt x="118" y="112"/>
                    </a:cubicBezTo>
                    <a:cubicBezTo>
                      <a:pt x="119" y="111"/>
                      <a:pt x="119" y="111"/>
                      <a:pt x="119" y="111"/>
                    </a:cubicBezTo>
                    <a:cubicBezTo>
                      <a:pt x="119" y="111"/>
                      <a:pt x="119" y="110"/>
                      <a:pt x="118" y="110"/>
                    </a:cubicBezTo>
                    <a:close/>
                    <a:moveTo>
                      <a:pt x="112" y="111"/>
                    </a:moveTo>
                    <a:cubicBezTo>
                      <a:pt x="112" y="111"/>
                      <a:pt x="113" y="112"/>
                      <a:pt x="113" y="112"/>
                    </a:cubicBezTo>
                    <a:cubicBezTo>
                      <a:pt x="113" y="112"/>
                      <a:pt x="113" y="111"/>
                      <a:pt x="114" y="112"/>
                    </a:cubicBezTo>
                    <a:cubicBezTo>
                      <a:pt x="115" y="113"/>
                      <a:pt x="115" y="113"/>
                      <a:pt x="115" y="113"/>
                    </a:cubicBezTo>
                    <a:cubicBezTo>
                      <a:pt x="117" y="113"/>
                      <a:pt x="117" y="113"/>
                      <a:pt x="117" y="113"/>
                    </a:cubicBezTo>
                    <a:cubicBezTo>
                      <a:pt x="119" y="114"/>
                      <a:pt x="119" y="114"/>
                      <a:pt x="119" y="114"/>
                    </a:cubicBezTo>
                    <a:cubicBezTo>
                      <a:pt x="119" y="114"/>
                      <a:pt x="119" y="114"/>
                      <a:pt x="119" y="114"/>
                    </a:cubicBezTo>
                    <a:cubicBezTo>
                      <a:pt x="119" y="113"/>
                      <a:pt x="119" y="113"/>
                      <a:pt x="119" y="113"/>
                    </a:cubicBezTo>
                    <a:cubicBezTo>
                      <a:pt x="119" y="113"/>
                      <a:pt x="119" y="113"/>
                      <a:pt x="119" y="114"/>
                    </a:cubicBezTo>
                    <a:cubicBezTo>
                      <a:pt x="119" y="114"/>
                      <a:pt x="119" y="114"/>
                      <a:pt x="119" y="114"/>
                    </a:cubicBezTo>
                    <a:cubicBezTo>
                      <a:pt x="119" y="114"/>
                      <a:pt x="119" y="114"/>
                      <a:pt x="119" y="114"/>
                    </a:cubicBezTo>
                    <a:cubicBezTo>
                      <a:pt x="117" y="113"/>
                      <a:pt x="117" y="113"/>
                      <a:pt x="117" y="113"/>
                    </a:cubicBezTo>
                    <a:cubicBezTo>
                      <a:pt x="115" y="113"/>
                      <a:pt x="115" y="113"/>
                      <a:pt x="115" y="113"/>
                    </a:cubicBezTo>
                    <a:cubicBezTo>
                      <a:pt x="115" y="113"/>
                      <a:pt x="115" y="113"/>
                      <a:pt x="114" y="112"/>
                    </a:cubicBezTo>
                    <a:cubicBezTo>
                      <a:pt x="113" y="111"/>
                      <a:pt x="113" y="112"/>
                      <a:pt x="113" y="112"/>
                    </a:cubicBezTo>
                    <a:cubicBezTo>
                      <a:pt x="113" y="112"/>
                      <a:pt x="112" y="111"/>
                      <a:pt x="112" y="111"/>
                    </a:cubicBezTo>
                    <a:cubicBezTo>
                      <a:pt x="112" y="111"/>
                      <a:pt x="111" y="111"/>
                      <a:pt x="111" y="111"/>
                    </a:cubicBezTo>
                    <a:cubicBezTo>
                      <a:pt x="111" y="111"/>
                      <a:pt x="112" y="111"/>
                      <a:pt x="112" y="111"/>
                    </a:cubicBezTo>
                    <a:close/>
                    <a:moveTo>
                      <a:pt x="111" y="129"/>
                    </a:moveTo>
                    <a:cubicBezTo>
                      <a:pt x="112" y="129"/>
                      <a:pt x="112" y="129"/>
                      <a:pt x="112" y="129"/>
                    </a:cubicBezTo>
                    <a:cubicBezTo>
                      <a:pt x="112" y="128"/>
                      <a:pt x="112" y="128"/>
                      <a:pt x="112" y="128"/>
                    </a:cubicBezTo>
                    <a:cubicBezTo>
                      <a:pt x="113" y="126"/>
                      <a:pt x="113" y="126"/>
                      <a:pt x="113" y="126"/>
                    </a:cubicBezTo>
                    <a:cubicBezTo>
                      <a:pt x="114" y="126"/>
                      <a:pt x="114" y="126"/>
                      <a:pt x="114" y="126"/>
                    </a:cubicBezTo>
                    <a:cubicBezTo>
                      <a:pt x="114" y="125"/>
                      <a:pt x="114" y="125"/>
                      <a:pt x="114" y="125"/>
                    </a:cubicBezTo>
                    <a:cubicBezTo>
                      <a:pt x="115" y="125"/>
                      <a:pt x="115" y="125"/>
                      <a:pt x="115" y="125"/>
                    </a:cubicBezTo>
                    <a:cubicBezTo>
                      <a:pt x="114" y="125"/>
                      <a:pt x="114" y="125"/>
                      <a:pt x="114" y="125"/>
                    </a:cubicBezTo>
                    <a:cubicBezTo>
                      <a:pt x="114" y="126"/>
                      <a:pt x="114" y="126"/>
                      <a:pt x="114" y="126"/>
                    </a:cubicBezTo>
                    <a:cubicBezTo>
                      <a:pt x="113" y="126"/>
                      <a:pt x="113" y="126"/>
                      <a:pt x="113" y="126"/>
                    </a:cubicBezTo>
                    <a:cubicBezTo>
                      <a:pt x="112" y="128"/>
                      <a:pt x="112" y="128"/>
                      <a:pt x="112" y="128"/>
                    </a:cubicBezTo>
                    <a:cubicBezTo>
                      <a:pt x="112" y="129"/>
                      <a:pt x="112" y="129"/>
                      <a:pt x="112" y="129"/>
                    </a:cubicBezTo>
                    <a:cubicBezTo>
                      <a:pt x="111" y="129"/>
                      <a:pt x="111" y="129"/>
                      <a:pt x="111" y="129"/>
                    </a:cubicBezTo>
                    <a:cubicBezTo>
                      <a:pt x="111" y="129"/>
                      <a:pt x="111" y="129"/>
                      <a:pt x="111" y="129"/>
                    </a:cubicBezTo>
                    <a:close/>
                    <a:moveTo>
                      <a:pt x="114" y="141"/>
                    </a:moveTo>
                    <a:cubicBezTo>
                      <a:pt x="113" y="141"/>
                      <a:pt x="113" y="141"/>
                      <a:pt x="113" y="141"/>
                    </a:cubicBezTo>
                    <a:cubicBezTo>
                      <a:pt x="113" y="141"/>
                      <a:pt x="113" y="141"/>
                      <a:pt x="113" y="141"/>
                    </a:cubicBezTo>
                    <a:lnTo>
                      <a:pt x="114" y="141"/>
                    </a:lnTo>
                    <a:close/>
                    <a:moveTo>
                      <a:pt x="111" y="130"/>
                    </a:moveTo>
                    <a:cubicBezTo>
                      <a:pt x="111" y="130"/>
                      <a:pt x="111" y="130"/>
                      <a:pt x="111" y="130"/>
                    </a:cubicBezTo>
                    <a:cubicBezTo>
                      <a:pt x="111" y="130"/>
                      <a:pt x="111" y="130"/>
                      <a:pt x="111" y="130"/>
                    </a:cubicBezTo>
                    <a:close/>
                    <a:moveTo>
                      <a:pt x="109" y="118"/>
                    </a:moveTo>
                    <a:cubicBezTo>
                      <a:pt x="109" y="118"/>
                      <a:pt x="109" y="118"/>
                      <a:pt x="109" y="118"/>
                    </a:cubicBezTo>
                    <a:cubicBezTo>
                      <a:pt x="109" y="118"/>
                      <a:pt x="109" y="118"/>
                      <a:pt x="109" y="118"/>
                    </a:cubicBezTo>
                    <a:close/>
                    <a:moveTo>
                      <a:pt x="108" y="131"/>
                    </a:moveTo>
                    <a:cubicBezTo>
                      <a:pt x="109" y="131"/>
                      <a:pt x="110" y="130"/>
                      <a:pt x="110" y="130"/>
                    </a:cubicBezTo>
                    <a:cubicBezTo>
                      <a:pt x="110" y="130"/>
                      <a:pt x="110" y="130"/>
                      <a:pt x="110" y="130"/>
                    </a:cubicBezTo>
                    <a:cubicBezTo>
                      <a:pt x="110" y="130"/>
                      <a:pt x="110" y="130"/>
                      <a:pt x="110" y="130"/>
                    </a:cubicBezTo>
                    <a:cubicBezTo>
                      <a:pt x="110" y="130"/>
                      <a:pt x="109" y="131"/>
                      <a:pt x="108" y="131"/>
                    </a:cubicBezTo>
                    <a:cubicBezTo>
                      <a:pt x="108" y="131"/>
                      <a:pt x="108" y="131"/>
                      <a:pt x="108" y="131"/>
                    </a:cubicBezTo>
                    <a:cubicBezTo>
                      <a:pt x="108" y="131"/>
                      <a:pt x="108" y="131"/>
                      <a:pt x="108" y="131"/>
                    </a:cubicBezTo>
                    <a:close/>
                    <a:moveTo>
                      <a:pt x="106" y="142"/>
                    </a:moveTo>
                    <a:cubicBezTo>
                      <a:pt x="106" y="142"/>
                      <a:pt x="106" y="142"/>
                      <a:pt x="106" y="142"/>
                    </a:cubicBezTo>
                    <a:cubicBezTo>
                      <a:pt x="106" y="143"/>
                      <a:pt x="106" y="143"/>
                      <a:pt x="106" y="143"/>
                    </a:cubicBezTo>
                    <a:cubicBezTo>
                      <a:pt x="107" y="146"/>
                      <a:pt x="107" y="146"/>
                      <a:pt x="107" y="146"/>
                    </a:cubicBezTo>
                    <a:cubicBezTo>
                      <a:pt x="107" y="146"/>
                      <a:pt x="107" y="146"/>
                      <a:pt x="107" y="146"/>
                    </a:cubicBezTo>
                    <a:cubicBezTo>
                      <a:pt x="107" y="146"/>
                      <a:pt x="107" y="146"/>
                      <a:pt x="107" y="146"/>
                    </a:cubicBezTo>
                    <a:cubicBezTo>
                      <a:pt x="106" y="143"/>
                      <a:pt x="106" y="143"/>
                      <a:pt x="106" y="143"/>
                    </a:cubicBezTo>
                    <a:cubicBezTo>
                      <a:pt x="105" y="141"/>
                      <a:pt x="105" y="141"/>
                      <a:pt x="105" y="141"/>
                    </a:cubicBezTo>
                    <a:cubicBezTo>
                      <a:pt x="106" y="140"/>
                      <a:pt x="106" y="140"/>
                      <a:pt x="106" y="140"/>
                    </a:cubicBezTo>
                    <a:cubicBezTo>
                      <a:pt x="105" y="141"/>
                      <a:pt x="105" y="141"/>
                      <a:pt x="105" y="141"/>
                    </a:cubicBezTo>
                    <a:lnTo>
                      <a:pt x="106" y="142"/>
                    </a:lnTo>
                    <a:close/>
                    <a:moveTo>
                      <a:pt x="107" y="119"/>
                    </a:moveTo>
                    <a:cubicBezTo>
                      <a:pt x="107" y="119"/>
                      <a:pt x="107" y="119"/>
                      <a:pt x="107" y="119"/>
                    </a:cubicBezTo>
                    <a:cubicBezTo>
                      <a:pt x="106" y="119"/>
                      <a:pt x="106" y="119"/>
                      <a:pt x="106" y="119"/>
                    </a:cubicBezTo>
                    <a:lnTo>
                      <a:pt x="107" y="119"/>
                    </a:lnTo>
                    <a:close/>
                    <a:moveTo>
                      <a:pt x="105" y="131"/>
                    </a:moveTo>
                    <a:cubicBezTo>
                      <a:pt x="106" y="132"/>
                      <a:pt x="106" y="133"/>
                      <a:pt x="106" y="135"/>
                    </a:cubicBezTo>
                    <a:cubicBezTo>
                      <a:pt x="106" y="133"/>
                      <a:pt x="106" y="132"/>
                      <a:pt x="105" y="131"/>
                    </a:cubicBezTo>
                    <a:cubicBezTo>
                      <a:pt x="105" y="131"/>
                      <a:pt x="105" y="131"/>
                      <a:pt x="105" y="131"/>
                    </a:cubicBezTo>
                    <a:cubicBezTo>
                      <a:pt x="105" y="131"/>
                      <a:pt x="105" y="131"/>
                      <a:pt x="105" y="131"/>
                    </a:cubicBezTo>
                    <a:close/>
                    <a:moveTo>
                      <a:pt x="105" y="119"/>
                    </a:moveTo>
                    <a:cubicBezTo>
                      <a:pt x="105" y="119"/>
                      <a:pt x="105" y="119"/>
                      <a:pt x="105" y="119"/>
                    </a:cubicBezTo>
                    <a:cubicBezTo>
                      <a:pt x="105" y="119"/>
                      <a:pt x="105" y="119"/>
                      <a:pt x="105" y="119"/>
                    </a:cubicBezTo>
                    <a:cubicBezTo>
                      <a:pt x="105" y="119"/>
                      <a:pt x="105" y="119"/>
                      <a:pt x="105" y="119"/>
                    </a:cubicBezTo>
                    <a:close/>
                    <a:moveTo>
                      <a:pt x="107" y="137"/>
                    </a:moveTo>
                    <a:cubicBezTo>
                      <a:pt x="106" y="137"/>
                      <a:pt x="105" y="139"/>
                      <a:pt x="105" y="139"/>
                    </a:cubicBezTo>
                    <a:cubicBezTo>
                      <a:pt x="105" y="139"/>
                      <a:pt x="105" y="139"/>
                      <a:pt x="105" y="139"/>
                    </a:cubicBezTo>
                    <a:cubicBezTo>
                      <a:pt x="105" y="139"/>
                      <a:pt x="105" y="139"/>
                      <a:pt x="105" y="139"/>
                    </a:cubicBezTo>
                    <a:cubicBezTo>
                      <a:pt x="105" y="139"/>
                      <a:pt x="106" y="137"/>
                      <a:pt x="107" y="137"/>
                    </a:cubicBezTo>
                    <a:close/>
                    <a:moveTo>
                      <a:pt x="104" y="150"/>
                    </a:moveTo>
                    <a:cubicBezTo>
                      <a:pt x="102" y="151"/>
                      <a:pt x="102" y="151"/>
                      <a:pt x="102" y="151"/>
                    </a:cubicBezTo>
                    <a:cubicBezTo>
                      <a:pt x="102" y="152"/>
                      <a:pt x="102" y="152"/>
                      <a:pt x="102" y="152"/>
                    </a:cubicBezTo>
                    <a:cubicBezTo>
                      <a:pt x="102" y="151"/>
                      <a:pt x="102" y="151"/>
                      <a:pt x="102" y="151"/>
                    </a:cubicBezTo>
                    <a:lnTo>
                      <a:pt x="104" y="150"/>
                    </a:lnTo>
                    <a:close/>
                    <a:moveTo>
                      <a:pt x="103" y="177"/>
                    </a:moveTo>
                    <a:cubicBezTo>
                      <a:pt x="102" y="176"/>
                      <a:pt x="102" y="176"/>
                      <a:pt x="102" y="176"/>
                    </a:cubicBezTo>
                    <a:cubicBezTo>
                      <a:pt x="102" y="175"/>
                      <a:pt x="102" y="175"/>
                      <a:pt x="102" y="175"/>
                    </a:cubicBezTo>
                    <a:cubicBezTo>
                      <a:pt x="102" y="176"/>
                      <a:pt x="102" y="176"/>
                      <a:pt x="102" y="176"/>
                    </a:cubicBezTo>
                    <a:lnTo>
                      <a:pt x="103" y="177"/>
                    </a:lnTo>
                    <a:close/>
                    <a:moveTo>
                      <a:pt x="104" y="177"/>
                    </a:moveTo>
                    <a:cubicBezTo>
                      <a:pt x="104" y="177"/>
                      <a:pt x="104" y="177"/>
                      <a:pt x="104" y="177"/>
                    </a:cubicBezTo>
                    <a:cubicBezTo>
                      <a:pt x="102" y="178"/>
                      <a:pt x="102" y="178"/>
                      <a:pt x="102" y="178"/>
                    </a:cubicBezTo>
                    <a:cubicBezTo>
                      <a:pt x="102" y="178"/>
                      <a:pt x="102" y="178"/>
                      <a:pt x="102" y="178"/>
                    </a:cubicBezTo>
                    <a:lnTo>
                      <a:pt x="104" y="177"/>
                    </a:lnTo>
                    <a:close/>
                    <a:moveTo>
                      <a:pt x="104" y="159"/>
                    </a:moveTo>
                    <a:cubicBezTo>
                      <a:pt x="103" y="160"/>
                      <a:pt x="103" y="160"/>
                      <a:pt x="103" y="160"/>
                    </a:cubicBezTo>
                    <a:cubicBezTo>
                      <a:pt x="104" y="159"/>
                      <a:pt x="104" y="159"/>
                      <a:pt x="104" y="159"/>
                    </a:cubicBezTo>
                    <a:cubicBezTo>
                      <a:pt x="104" y="159"/>
                      <a:pt x="104" y="159"/>
                      <a:pt x="104" y="159"/>
                    </a:cubicBezTo>
                    <a:close/>
                    <a:moveTo>
                      <a:pt x="104" y="159"/>
                    </a:moveTo>
                    <a:cubicBezTo>
                      <a:pt x="104" y="159"/>
                      <a:pt x="104" y="159"/>
                      <a:pt x="104" y="159"/>
                    </a:cubicBezTo>
                    <a:cubicBezTo>
                      <a:pt x="104" y="159"/>
                      <a:pt x="104" y="159"/>
                      <a:pt x="104" y="159"/>
                    </a:cubicBezTo>
                    <a:cubicBezTo>
                      <a:pt x="104" y="159"/>
                      <a:pt x="104" y="159"/>
                      <a:pt x="104" y="159"/>
                    </a:cubicBezTo>
                    <a:close/>
                    <a:moveTo>
                      <a:pt x="102" y="154"/>
                    </a:moveTo>
                    <a:cubicBezTo>
                      <a:pt x="102" y="154"/>
                      <a:pt x="102" y="154"/>
                      <a:pt x="102" y="154"/>
                    </a:cubicBezTo>
                    <a:cubicBezTo>
                      <a:pt x="102" y="154"/>
                      <a:pt x="102" y="154"/>
                      <a:pt x="102" y="154"/>
                    </a:cubicBezTo>
                    <a:close/>
                    <a:moveTo>
                      <a:pt x="104" y="129"/>
                    </a:moveTo>
                    <a:cubicBezTo>
                      <a:pt x="104" y="129"/>
                      <a:pt x="104" y="129"/>
                      <a:pt x="104" y="129"/>
                    </a:cubicBezTo>
                    <a:cubicBezTo>
                      <a:pt x="103" y="129"/>
                      <a:pt x="103" y="129"/>
                      <a:pt x="103" y="129"/>
                    </a:cubicBezTo>
                    <a:lnTo>
                      <a:pt x="104" y="129"/>
                    </a:lnTo>
                    <a:close/>
                    <a:moveTo>
                      <a:pt x="102" y="125"/>
                    </a:moveTo>
                    <a:cubicBezTo>
                      <a:pt x="103" y="126"/>
                      <a:pt x="103" y="126"/>
                      <a:pt x="103" y="126"/>
                    </a:cubicBezTo>
                    <a:cubicBezTo>
                      <a:pt x="103" y="126"/>
                      <a:pt x="103" y="126"/>
                      <a:pt x="103" y="126"/>
                    </a:cubicBezTo>
                    <a:cubicBezTo>
                      <a:pt x="103" y="126"/>
                      <a:pt x="103" y="126"/>
                      <a:pt x="103" y="126"/>
                    </a:cubicBezTo>
                    <a:cubicBezTo>
                      <a:pt x="102" y="125"/>
                      <a:pt x="102" y="125"/>
                      <a:pt x="102" y="125"/>
                    </a:cubicBezTo>
                    <a:cubicBezTo>
                      <a:pt x="102" y="125"/>
                      <a:pt x="102" y="125"/>
                      <a:pt x="102" y="125"/>
                    </a:cubicBezTo>
                    <a:cubicBezTo>
                      <a:pt x="102" y="125"/>
                      <a:pt x="102" y="125"/>
                      <a:pt x="102" y="125"/>
                    </a:cubicBezTo>
                    <a:close/>
                    <a:moveTo>
                      <a:pt x="98" y="120"/>
                    </a:moveTo>
                    <a:cubicBezTo>
                      <a:pt x="100" y="119"/>
                      <a:pt x="100" y="119"/>
                      <a:pt x="100" y="119"/>
                    </a:cubicBezTo>
                    <a:cubicBezTo>
                      <a:pt x="100" y="119"/>
                      <a:pt x="100" y="119"/>
                      <a:pt x="100" y="119"/>
                    </a:cubicBezTo>
                    <a:lnTo>
                      <a:pt x="98" y="120"/>
                    </a:lnTo>
                    <a:close/>
                    <a:moveTo>
                      <a:pt x="98" y="129"/>
                    </a:moveTo>
                    <a:cubicBezTo>
                      <a:pt x="103" y="129"/>
                      <a:pt x="103" y="129"/>
                      <a:pt x="103" y="129"/>
                    </a:cubicBezTo>
                    <a:cubicBezTo>
                      <a:pt x="103" y="129"/>
                      <a:pt x="103" y="129"/>
                      <a:pt x="103" y="129"/>
                    </a:cubicBezTo>
                    <a:cubicBezTo>
                      <a:pt x="98" y="129"/>
                      <a:pt x="98" y="129"/>
                      <a:pt x="98" y="129"/>
                    </a:cubicBezTo>
                    <a:cubicBezTo>
                      <a:pt x="95" y="129"/>
                      <a:pt x="95" y="129"/>
                      <a:pt x="95" y="129"/>
                    </a:cubicBezTo>
                    <a:lnTo>
                      <a:pt x="98" y="129"/>
                    </a:lnTo>
                    <a:close/>
                    <a:moveTo>
                      <a:pt x="95" y="153"/>
                    </a:moveTo>
                    <a:cubicBezTo>
                      <a:pt x="98" y="152"/>
                      <a:pt x="98" y="152"/>
                      <a:pt x="98" y="152"/>
                    </a:cubicBezTo>
                    <a:cubicBezTo>
                      <a:pt x="99" y="152"/>
                      <a:pt x="99" y="152"/>
                      <a:pt x="99" y="152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102" y="154"/>
                      <a:pt x="102" y="154"/>
                      <a:pt x="102" y="154"/>
                    </a:cubicBezTo>
                    <a:cubicBezTo>
                      <a:pt x="102" y="154"/>
                      <a:pt x="102" y="154"/>
                      <a:pt x="102" y="154"/>
                    </a:cubicBezTo>
                    <a:cubicBezTo>
                      <a:pt x="101" y="157"/>
                      <a:pt x="101" y="157"/>
                      <a:pt x="101" y="157"/>
                    </a:cubicBezTo>
                    <a:cubicBezTo>
                      <a:pt x="101" y="157"/>
                      <a:pt x="101" y="158"/>
                      <a:pt x="102" y="158"/>
                    </a:cubicBezTo>
                    <a:cubicBezTo>
                      <a:pt x="102" y="158"/>
                      <a:pt x="103" y="158"/>
                      <a:pt x="103" y="159"/>
                    </a:cubicBezTo>
                    <a:cubicBezTo>
                      <a:pt x="103" y="158"/>
                      <a:pt x="102" y="158"/>
                      <a:pt x="102" y="158"/>
                    </a:cubicBezTo>
                    <a:cubicBezTo>
                      <a:pt x="101" y="158"/>
                      <a:pt x="101" y="157"/>
                      <a:pt x="101" y="157"/>
                    </a:cubicBezTo>
                    <a:cubicBezTo>
                      <a:pt x="101" y="157"/>
                      <a:pt x="101" y="157"/>
                      <a:pt x="101" y="157"/>
                    </a:cubicBezTo>
                    <a:cubicBezTo>
                      <a:pt x="102" y="154"/>
                      <a:pt x="102" y="154"/>
                      <a:pt x="102" y="154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2"/>
                      <a:pt x="99" y="152"/>
                      <a:pt x="99" y="152"/>
                    </a:cubicBezTo>
                    <a:cubicBezTo>
                      <a:pt x="98" y="152"/>
                      <a:pt x="98" y="152"/>
                      <a:pt x="98" y="152"/>
                    </a:cubicBezTo>
                    <a:cubicBezTo>
                      <a:pt x="95" y="153"/>
                      <a:pt x="95" y="153"/>
                      <a:pt x="95" y="153"/>
                    </a:cubicBezTo>
                    <a:cubicBezTo>
                      <a:pt x="95" y="153"/>
                      <a:pt x="95" y="153"/>
                      <a:pt x="95" y="153"/>
                    </a:cubicBezTo>
                    <a:close/>
                    <a:moveTo>
                      <a:pt x="101" y="174"/>
                    </a:moveTo>
                    <a:cubicBezTo>
                      <a:pt x="101" y="175"/>
                      <a:pt x="101" y="175"/>
                      <a:pt x="101" y="175"/>
                    </a:cubicBezTo>
                    <a:cubicBezTo>
                      <a:pt x="101" y="175"/>
                      <a:pt x="101" y="175"/>
                      <a:pt x="101" y="175"/>
                    </a:cubicBezTo>
                    <a:cubicBezTo>
                      <a:pt x="101" y="174"/>
                      <a:pt x="101" y="174"/>
                      <a:pt x="101" y="174"/>
                    </a:cubicBezTo>
                    <a:close/>
                    <a:moveTo>
                      <a:pt x="99" y="157"/>
                    </a:moveTo>
                    <a:cubicBezTo>
                      <a:pt x="97" y="157"/>
                      <a:pt x="97" y="157"/>
                      <a:pt x="97" y="157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99" y="157"/>
                      <a:pt x="99" y="157"/>
                      <a:pt x="99" y="157"/>
                    </a:cubicBezTo>
                    <a:close/>
                    <a:moveTo>
                      <a:pt x="97" y="157"/>
                    </a:moveTo>
                    <a:cubicBezTo>
                      <a:pt x="96" y="156"/>
                      <a:pt x="96" y="156"/>
                      <a:pt x="96" y="156"/>
                    </a:cubicBezTo>
                    <a:cubicBezTo>
                      <a:pt x="96" y="156"/>
                      <a:pt x="96" y="156"/>
                      <a:pt x="96" y="156"/>
                    </a:cubicBezTo>
                    <a:lnTo>
                      <a:pt x="97" y="157"/>
                    </a:lnTo>
                    <a:close/>
                    <a:moveTo>
                      <a:pt x="95" y="158"/>
                    </a:moveTo>
                    <a:cubicBezTo>
                      <a:pt x="95" y="157"/>
                      <a:pt x="95" y="157"/>
                      <a:pt x="95" y="157"/>
                    </a:cubicBezTo>
                    <a:cubicBezTo>
                      <a:pt x="96" y="157"/>
                      <a:pt x="96" y="157"/>
                      <a:pt x="96" y="157"/>
                    </a:cubicBezTo>
                    <a:cubicBezTo>
                      <a:pt x="95" y="157"/>
                      <a:pt x="95" y="157"/>
                      <a:pt x="95" y="157"/>
                    </a:cubicBezTo>
                    <a:cubicBezTo>
                      <a:pt x="95" y="158"/>
                      <a:pt x="95" y="158"/>
                      <a:pt x="95" y="158"/>
                    </a:cubicBezTo>
                    <a:cubicBezTo>
                      <a:pt x="94" y="158"/>
                      <a:pt x="94" y="158"/>
                      <a:pt x="94" y="158"/>
                    </a:cubicBezTo>
                    <a:lnTo>
                      <a:pt x="95" y="158"/>
                    </a:lnTo>
                    <a:close/>
                    <a:moveTo>
                      <a:pt x="94" y="158"/>
                    </a:moveTo>
                    <a:cubicBezTo>
                      <a:pt x="94" y="158"/>
                      <a:pt x="94" y="158"/>
                      <a:pt x="94" y="158"/>
                    </a:cubicBezTo>
                    <a:cubicBezTo>
                      <a:pt x="93" y="158"/>
                      <a:pt x="93" y="158"/>
                      <a:pt x="93" y="158"/>
                    </a:cubicBezTo>
                    <a:cubicBezTo>
                      <a:pt x="93" y="158"/>
                      <a:pt x="93" y="158"/>
                      <a:pt x="93" y="158"/>
                    </a:cubicBezTo>
                    <a:lnTo>
                      <a:pt x="94" y="158"/>
                    </a:lnTo>
                    <a:close/>
                    <a:moveTo>
                      <a:pt x="93" y="152"/>
                    </a:moveTo>
                    <a:cubicBezTo>
                      <a:pt x="94" y="153"/>
                      <a:pt x="94" y="153"/>
                      <a:pt x="94" y="153"/>
                    </a:cubicBezTo>
                    <a:cubicBezTo>
                      <a:pt x="94" y="153"/>
                      <a:pt x="94" y="153"/>
                      <a:pt x="94" y="153"/>
                    </a:cubicBezTo>
                    <a:cubicBezTo>
                      <a:pt x="94" y="153"/>
                      <a:pt x="94" y="153"/>
                      <a:pt x="94" y="153"/>
                    </a:cubicBezTo>
                    <a:cubicBezTo>
                      <a:pt x="93" y="152"/>
                      <a:pt x="93" y="152"/>
                      <a:pt x="93" y="152"/>
                    </a:cubicBezTo>
                    <a:cubicBezTo>
                      <a:pt x="93" y="152"/>
                      <a:pt x="93" y="152"/>
                      <a:pt x="93" y="152"/>
                    </a:cubicBezTo>
                    <a:close/>
                    <a:moveTo>
                      <a:pt x="93" y="158"/>
                    </a:moveTo>
                    <a:cubicBezTo>
                      <a:pt x="92" y="159"/>
                      <a:pt x="92" y="159"/>
                      <a:pt x="92" y="159"/>
                    </a:cubicBezTo>
                    <a:cubicBezTo>
                      <a:pt x="92" y="159"/>
                      <a:pt x="92" y="159"/>
                      <a:pt x="92" y="159"/>
                    </a:cubicBezTo>
                    <a:lnTo>
                      <a:pt x="93" y="158"/>
                    </a:lnTo>
                    <a:close/>
                    <a:moveTo>
                      <a:pt x="92" y="168"/>
                    </a:moveTo>
                    <a:cubicBezTo>
                      <a:pt x="90" y="169"/>
                      <a:pt x="90" y="169"/>
                      <a:pt x="90" y="169"/>
                    </a:cubicBezTo>
                    <a:cubicBezTo>
                      <a:pt x="91" y="169"/>
                      <a:pt x="91" y="169"/>
                      <a:pt x="91" y="169"/>
                    </a:cubicBezTo>
                    <a:cubicBezTo>
                      <a:pt x="90" y="169"/>
                      <a:pt x="90" y="169"/>
                      <a:pt x="90" y="169"/>
                    </a:cubicBezTo>
                    <a:cubicBezTo>
                      <a:pt x="90" y="169"/>
                      <a:pt x="90" y="169"/>
                      <a:pt x="90" y="169"/>
                    </a:cubicBezTo>
                    <a:cubicBezTo>
                      <a:pt x="90" y="169"/>
                      <a:pt x="90" y="169"/>
                      <a:pt x="90" y="169"/>
                    </a:cubicBezTo>
                    <a:lnTo>
                      <a:pt x="92" y="168"/>
                    </a:lnTo>
                    <a:close/>
                    <a:moveTo>
                      <a:pt x="92" y="170"/>
                    </a:moveTo>
                    <a:cubicBezTo>
                      <a:pt x="92" y="171"/>
                      <a:pt x="92" y="171"/>
                      <a:pt x="92" y="171"/>
                    </a:cubicBezTo>
                    <a:cubicBezTo>
                      <a:pt x="92" y="171"/>
                      <a:pt x="92" y="171"/>
                      <a:pt x="92" y="171"/>
                    </a:cubicBezTo>
                    <a:cubicBezTo>
                      <a:pt x="92" y="171"/>
                      <a:pt x="92" y="171"/>
                      <a:pt x="92" y="171"/>
                    </a:cubicBezTo>
                    <a:lnTo>
                      <a:pt x="92" y="170"/>
                    </a:lnTo>
                    <a:close/>
                    <a:moveTo>
                      <a:pt x="89" y="160"/>
                    </a:moveTo>
                    <a:cubicBezTo>
                      <a:pt x="91" y="160"/>
                      <a:pt x="91" y="160"/>
                      <a:pt x="91" y="160"/>
                    </a:cubicBezTo>
                    <a:cubicBezTo>
                      <a:pt x="91" y="160"/>
                      <a:pt x="91" y="160"/>
                      <a:pt x="91" y="160"/>
                    </a:cubicBezTo>
                    <a:lnTo>
                      <a:pt x="89" y="160"/>
                    </a:lnTo>
                    <a:close/>
                    <a:moveTo>
                      <a:pt x="87" y="149"/>
                    </a:moveTo>
                    <a:cubicBezTo>
                      <a:pt x="88" y="149"/>
                      <a:pt x="88" y="149"/>
                      <a:pt x="88" y="149"/>
                    </a:cubicBezTo>
                    <a:cubicBezTo>
                      <a:pt x="89" y="150"/>
                      <a:pt x="89" y="150"/>
                      <a:pt x="89" y="150"/>
                    </a:cubicBezTo>
                    <a:cubicBezTo>
                      <a:pt x="91" y="152"/>
                      <a:pt x="91" y="152"/>
                      <a:pt x="91" y="152"/>
                    </a:cubicBezTo>
                    <a:cubicBezTo>
                      <a:pt x="91" y="152"/>
                      <a:pt x="91" y="152"/>
                      <a:pt x="91" y="152"/>
                    </a:cubicBezTo>
                    <a:cubicBezTo>
                      <a:pt x="91" y="152"/>
                      <a:pt x="91" y="152"/>
                      <a:pt x="91" y="152"/>
                    </a:cubicBezTo>
                    <a:cubicBezTo>
                      <a:pt x="91" y="152"/>
                      <a:pt x="90" y="152"/>
                      <a:pt x="89" y="153"/>
                    </a:cubicBezTo>
                    <a:cubicBezTo>
                      <a:pt x="89" y="153"/>
                      <a:pt x="89" y="153"/>
                      <a:pt x="89" y="153"/>
                    </a:cubicBezTo>
                    <a:cubicBezTo>
                      <a:pt x="89" y="153"/>
                      <a:pt x="89" y="153"/>
                      <a:pt x="89" y="153"/>
                    </a:cubicBezTo>
                    <a:cubicBezTo>
                      <a:pt x="90" y="152"/>
                      <a:pt x="91" y="152"/>
                      <a:pt x="91" y="152"/>
                    </a:cubicBezTo>
                    <a:cubicBezTo>
                      <a:pt x="89" y="150"/>
                      <a:pt x="89" y="150"/>
                      <a:pt x="89" y="150"/>
                    </a:cubicBezTo>
                    <a:cubicBezTo>
                      <a:pt x="88" y="149"/>
                      <a:pt x="88" y="149"/>
                      <a:pt x="88" y="149"/>
                    </a:cubicBezTo>
                    <a:cubicBezTo>
                      <a:pt x="87" y="149"/>
                      <a:pt x="87" y="149"/>
                      <a:pt x="87" y="149"/>
                    </a:cubicBezTo>
                    <a:close/>
                    <a:moveTo>
                      <a:pt x="89" y="160"/>
                    </a:moveTo>
                    <a:cubicBezTo>
                      <a:pt x="89" y="160"/>
                      <a:pt x="89" y="160"/>
                      <a:pt x="89" y="160"/>
                    </a:cubicBezTo>
                    <a:cubicBezTo>
                      <a:pt x="89" y="160"/>
                      <a:pt x="89" y="160"/>
                      <a:pt x="89" y="160"/>
                    </a:cubicBezTo>
                    <a:close/>
                    <a:moveTo>
                      <a:pt x="85" y="148"/>
                    </a:moveTo>
                    <a:cubicBezTo>
                      <a:pt x="87" y="148"/>
                      <a:pt x="87" y="148"/>
                      <a:pt x="87" y="148"/>
                    </a:cubicBezTo>
                    <a:cubicBezTo>
                      <a:pt x="87" y="148"/>
                      <a:pt x="87" y="148"/>
                      <a:pt x="87" y="148"/>
                    </a:cubicBezTo>
                    <a:cubicBezTo>
                      <a:pt x="85" y="148"/>
                      <a:pt x="85" y="148"/>
                      <a:pt x="85" y="148"/>
                    </a:cubicBezTo>
                    <a:cubicBezTo>
                      <a:pt x="84" y="147"/>
                      <a:pt x="84" y="147"/>
                      <a:pt x="84" y="147"/>
                    </a:cubicBezTo>
                    <a:cubicBezTo>
                      <a:pt x="85" y="149"/>
                      <a:pt x="85" y="149"/>
                      <a:pt x="85" y="149"/>
                    </a:cubicBezTo>
                    <a:cubicBezTo>
                      <a:pt x="85" y="149"/>
                      <a:pt x="85" y="149"/>
                      <a:pt x="85" y="149"/>
                    </a:cubicBezTo>
                    <a:cubicBezTo>
                      <a:pt x="84" y="147"/>
                      <a:pt x="84" y="147"/>
                      <a:pt x="84" y="147"/>
                    </a:cubicBezTo>
                    <a:lnTo>
                      <a:pt x="85" y="148"/>
                    </a:lnTo>
                    <a:close/>
                    <a:moveTo>
                      <a:pt x="86" y="160"/>
                    </a:moveTo>
                    <a:cubicBezTo>
                      <a:pt x="86" y="160"/>
                      <a:pt x="86" y="160"/>
                      <a:pt x="86" y="160"/>
                    </a:cubicBezTo>
                    <a:cubicBezTo>
                      <a:pt x="84" y="160"/>
                      <a:pt x="84" y="160"/>
                      <a:pt x="84" y="160"/>
                    </a:cubicBezTo>
                    <a:lnTo>
                      <a:pt x="86" y="160"/>
                    </a:lnTo>
                    <a:close/>
                    <a:moveTo>
                      <a:pt x="84" y="157"/>
                    </a:moveTo>
                    <a:cubicBezTo>
                      <a:pt x="85" y="155"/>
                      <a:pt x="85" y="155"/>
                      <a:pt x="85" y="155"/>
                    </a:cubicBezTo>
                    <a:cubicBezTo>
                      <a:pt x="85" y="155"/>
                      <a:pt x="85" y="155"/>
                      <a:pt x="85" y="155"/>
                    </a:cubicBezTo>
                    <a:cubicBezTo>
                      <a:pt x="85" y="155"/>
                      <a:pt x="85" y="155"/>
                      <a:pt x="85" y="155"/>
                    </a:cubicBezTo>
                    <a:cubicBezTo>
                      <a:pt x="85" y="155"/>
                      <a:pt x="85" y="155"/>
                      <a:pt x="85" y="155"/>
                    </a:cubicBezTo>
                    <a:cubicBezTo>
                      <a:pt x="84" y="157"/>
                      <a:pt x="84" y="157"/>
                      <a:pt x="84" y="157"/>
                    </a:cubicBezTo>
                    <a:close/>
                    <a:moveTo>
                      <a:pt x="86" y="159"/>
                    </a:moveTo>
                    <a:cubicBezTo>
                      <a:pt x="86" y="159"/>
                      <a:pt x="86" y="159"/>
                      <a:pt x="86" y="159"/>
                    </a:cubicBezTo>
                    <a:cubicBezTo>
                      <a:pt x="86" y="159"/>
                      <a:pt x="86" y="159"/>
                      <a:pt x="86" y="159"/>
                    </a:cubicBezTo>
                    <a:close/>
                    <a:moveTo>
                      <a:pt x="84" y="149"/>
                    </a:moveTo>
                    <a:cubicBezTo>
                      <a:pt x="84" y="149"/>
                      <a:pt x="84" y="149"/>
                      <a:pt x="84" y="149"/>
                    </a:cubicBezTo>
                    <a:cubicBezTo>
                      <a:pt x="84" y="149"/>
                      <a:pt x="84" y="149"/>
                      <a:pt x="84" y="149"/>
                    </a:cubicBezTo>
                    <a:cubicBezTo>
                      <a:pt x="83" y="149"/>
                      <a:pt x="82" y="148"/>
                      <a:pt x="82" y="148"/>
                    </a:cubicBezTo>
                    <a:cubicBezTo>
                      <a:pt x="82" y="148"/>
                      <a:pt x="83" y="149"/>
                      <a:pt x="84" y="149"/>
                    </a:cubicBezTo>
                    <a:close/>
                    <a:moveTo>
                      <a:pt x="78" y="143"/>
                    </a:moveTo>
                    <a:cubicBezTo>
                      <a:pt x="78" y="143"/>
                      <a:pt x="78" y="143"/>
                      <a:pt x="78" y="143"/>
                    </a:cubicBezTo>
                    <a:cubicBezTo>
                      <a:pt x="78" y="145"/>
                      <a:pt x="78" y="145"/>
                      <a:pt x="78" y="145"/>
                    </a:cubicBezTo>
                    <a:cubicBezTo>
                      <a:pt x="82" y="146"/>
                      <a:pt x="82" y="146"/>
                      <a:pt x="82" y="146"/>
                    </a:cubicBezTo>
                    <a:cubicBezTo>
                      <a:pt x="82" y="146"/>
                      <a:pt x="82" y="146"/>
                      <a:pt x="82" y="146"/>
                    </a:cubicBezTo>
                    <a:cubicBezTo>
                      <a:pt x="82" y="146"/>
                      <a:pt x="82" y="146"/>
                      <a:pt x="82" y="146"/>
                    </a:cubicBezTo>
                    <a:cubicBezTo>
                      <a:pt x="78" y="145"/>
                      <a:pt x="78" y="145"/>
                      <a:pt x="78" y="145"/>
                    </a:cubicBezTo>
                    <a:cubicBezTo>
                      <a:pt x="78" y="145"/>
                      <a:pt x="78" y="145"/>
                      <a:pt x="78" y="145"/>
                    </a:cubicBezTo>
                    <a:lnTo>
                      <a:pt x="78" y="143"/>
                    </a:lnTo>
                    <a:close/>
                    <a:moveTo>
                      <a:pt x="78" y="154"/>
                    </a:moveTo>
                    <a:cubicBezTo>
                      <a:pt x="78" y="155"/>
                      <a:pt x="78" y="155"/>
                      <a:pt x="78" y="155"/>
                    </a:cubicBezTo>
                    <a:cubicBezTo>
                      <a:pt x="77" y="156"/>
                      <a:pt x="77" y="156"/>
                      <a:pt x="77" y="156"/>
                    </a:cubicBezTo>
                    <a:cubicBezTo>
                      <a:pt x="78" y="155"/>
                      <a:pt x="78" y="155"/>
                      <a:pt x="78" y="155"/>
                    </a:cubicBezTo>
                    <a:lnTo>
                      <a:pt x="78" y="154"/>
                    </a:lnTo>
                    <a:close/>
                    <a:moveTo>
                      <a:pt x="77" y="137"/>
                    </a:moveTo>
                    <a:cubicBezTo>
                      <a:pt x="77" y="137"/>
                      <a:pt x="77" y="137"/>
                      <a:pt x="77" y="137"/>
                    </a:cubicBezTo>
                    <a:cubicBezTo>
                      <a:pt x="77" y="137"/>
                      <a:pt x="77" y="137"/>
                      <a:pt x="77" y="137"/>
                    </a:cubicBezTo>
                    <a:close/>
                    <a:moveTo>
                      <a:pt x="78" y="139"/>
                    </a:moveTo>
                    <a:cubicBezTo>
                      <a:pt x="78" y="139"/>
                      <a:pt x="78" y="139"/>
                      <a:pt x="78" y="139"/>
                    </a:cubicBezTo>
                    <a:cubicBezTo>
                      <a:pt x="77" y="141"/>
                      <a:pt x="77" y="141"/>
                      <a:pt x="77" y="141"/>
                    </a:cubicBezTo>
                    <a:lnTo>
                      <a:pt x="78" y="139"/>
                    </a:lnTo>
                    <a:close/>
                    <a:moveTo>
                      <a:pt x="77" y="141"/>
                    </a:moveTo>
                    <a:cubicBezTo>
                      <a:pt x="77" y="142"/>
                      <a:pt x="77" y="142"/>
                      <a:pt x="77" y="142"/>
                    </a:cubicBezTo>
                    <a:cubicBezTo>
                      <a:pt x="77" y="141"/>
                      <a:pt x="77" y="141"/>
                      <a:pt x="77" y="141"/>
                    </a:cubicBezTo>
                    <a:close/>
                    <a:moveTo>
                      <a:pt x="76" y="136"/>
                    </a:moveTo>
                    <a:cubicBezTo>
                      <a:pt x="76" y="136"/>
                      <a:pt x="76" y="136"/>
                      <a:pt x="76" y="136"/>
                    </a:cubicBezTo>
                    <a:cubicBezTo>
                      <a:pt x="76" y="136"/>
                      <a:pt x="76" y="136"/>
                      <a:pt x="76" y="136"/>
                    </a:cubicBezTo>
                    <a:close/>
                    <a:moveTo>
                      <a:pt x="76" y="145"/>
                    </a:moveTo>
                    <a:cubicBezTo>
                      <a:pt x="76" y="145"/>
                      <a:pt x="76" y="145"/>
                      <a:pt x="76" y="145"/>
                    </a:cubicBezTo>
                    <a:cubicBezTo>
                      <a:pt x="76" y="145"/>
                      <a:pt x="76" y="145"/>
                      <a:pt x="76" y="145"/>
                    </a:cubicBezTo>
                    <a:close/>
                    <a:moveTo>
                      <a:pt x="76" y="146"/>
                    </a:moveTo>
                    <a:cubicBezTo>
                      <a:pt x="76" y="146"/>
                      <a:pt x="76" y="146"/>
                      <a:pt x="76" y="146"/>
                    </a:cubicBezTo>
                    <a:cubicBezTo>
                      <a:pt x="76" y="146"/>
                      <a:pt x="76" y="146"/>
                      <a:pt x="76" y="146"/>
                    </a:cubicBezTo>
                    <a:cubicBezTo>
                      <a:pt x="74" y="146"/>
                      <a:pt x="74" y="146"/>
                      <a:pt x="74" y="146"/>
                    </a:cubicBezTo>
                    <a:lnTo>
                      <a:pt x="76" y="146"/>
                    </a:lnTo>
                    <a:close/>
                    <a:moveTo>
                      <a:pt x="74" y="168"/>
                    </a:moveTo>
                    <a:cubicBezTo>
                      <a:pt x="73" y="167"/>
                      <a:pt x="73" y="167"/>
                      <a:pt x="73" y="167"/>
                    </a:cubicBezTo>
                    <a:cubicBezTo>
                      <a:pt x="74" y="168"/>
                      <a:pt x="74" y="168"/>
                      <a:pt x="74" y="168"/>
                    </a:cubicBezTo>
                    <a:close/>
                    <a:moveTo>
                      <a:pt x="74" y="166"/>
                    </a:moveTo>
                    <a:cubicBezTo>
                      <a:pt x="73" y="167"/>
                      <a:pt x="73" y="167"/>
                      <a:pt x="73" y="167"/>
                    </a:cubicBezTo>
                    <a:cubicBezTo>
                      <a:pt x="74" y="166"/>
                      <a:pt x="74" y="166"/>
                      <a:pt x="74" y="166"/>
                    </a:cubicBezTo>
                    <a:cubicBezTo>
                      <a:pt x="74" y="166"/>
                      <a:pt x="73" y="166"/>
                      <a:pt x="73" y="165"/>
                    </a:cubicBezTo>
                    <a:cubicBezTo>
                      <a:pt x="73" y="166"/>
                      <a:pt x="74" y="166"/>
                      <a:pt x="74" y="166"/>
                    </a:cubicBezTo>
                    <a:cubicBezTo>
                      <a:pt x="75" y="166"/>
                      <a:pt x="76" y="166"/>
                      <a:pt x="76" y="166"/>
                    </a:cubicBezTo>
                    <a:cubicBezTo>
                      <a:pt x="76" y="166"/>
                      <a:pt x="75" y="166"/>
                      <a:pt x="74" y="166"/>
                    </a:cubicBezTo>
                    <a:close/>
                    <a:moveTo>
                      <a:pt x="76" y="157"/>
                    </a:moveTo>
                    <a:cubicBezTo>
                      <a:pt x="74" y="156"/>
                      <a:pt x="74" y="156"/>
                      <a:pt x="74" y="156"/>
                    </a:cubicBezTo>
                    <a:cubicBezTo>
                      <a:pt x="74" y="157"/>
                      <a:pt x="74" y="157"/>
                      <a:pt x="74" y="157"/>
                    </a:cubicBezTo>
                    <a:cubicBezTo>
                      <a:pt x="74" y="156"/>
                      <a:pt x="74" y="156"/>
                      <a:pt x="74" y="156"/>
                    </a:cubicBezTo>
                    <a:cubicBezTo>
                      <a:pt x="74" y="156"/>
                      <a:pt x="74" y="156"/>
                      <a:pt x="74" y="156"/>
                    </a:cubicBezTo>
                    <a:cubicBezTo>
                      <a:pt x="74" y="156"/>
                      <a:pt x="74" y="156"/>
                      <a:pt x="74" y="156"/>
                    </a:cubicBezTo>
                    <a:cubicBezTo>
                      <a:pt x="76" y="157"/>
                      <a:pt x="76" y="157"/>
                      <a:pt x="76" y="157"/>
                    </a:cubicBezTo>
                    <a:cubicBezTo>
                      <a:pt x="77" y="156"/>
                      <a:pt x="77" y="156"/>
                      <a:pt x="77" y="156"/>
                    </a:cubicBezTo>
                    <a:cubicBezTo>
                      <a:pt x="77" y="156"/>
                      <a:pt x="77" y="156"/>
                      <a:pt x="77" y="156"/>
                    </a:cubicBezTo>
                    <a:lnTo>
                      <a:pt x="76" y="157"/>
                    </a:lnTo>
                    <a:close/>
                    <a:moveTo>
                      <a:pt x="79" y="171"/>
                    </a:moveTo>
                    <a:cubicBezTo>
                      <a:pt x="79" y="169"/>
                      <a:pt x="79" y="169"/>
                      <a:pt x="79" y="169"/>
                    </a:cubicBezTo>
                    <a:cubicBezTo>
                      <a:pt x="79" y="169"/>
                      <a:pt x="79" y="169"/>
                      <a:pt x="79" y="169"/>
                    </a:cubicBezTo>
                    <a:cubicBezTo>
                      <a:pt x="79" y="171"/>
                      <a:pt x="79" y="171"/>
                      <a:pt x="79" y="171"/>
                    </a:cubicBezTo>
                    <a:close/>
                    <a:moveTo>
                      <a:pt x="80" y="165"/>
                    </a:moveTo>
                    <a:cubicBezTo>
                      <a:pt x="78" y="166"/>
                      <a:pt x="78" y="166"/>
                      <a:pt x="78" y="166"/>
                    </a:cubicBezTo>
                    <a:cubicBezTo>
                      <a:pt x="77" y="166"/>
                      <a:pt x="77" y="166"/>
                      <a:pt x="77" y="166"/>
                    </a:cubicBezTo>
                    <a:cubicBezTo>
                      <a:pt x="78" y="166"/>
                      <a:pt x="78" y="166"/>
                      <a:pt x="78" y="166"/>
                    </a:cubicBezTo>
                    <a:cubicBezTo>
                      <a:pt x="80" y="165"/>
                      <a:pt x="80" y="165"/>
                      <a:pt x="80" y="165"/>
                    </a:cubicBezTo>
                    <a:cubicBezTo>
                      <a:pt x="81" y="165"/>
                      <a:pt x="81" y="165"/>
                      <a:pt x="81" y="165"/>
                    </a:cubicBezTo>
                    <a:lnTo>
                      <a:pt x="80" y="165"/>
                    </a:lnTo>
                    <a:close/>
                    <a:moveTo>
                      <a:pt x="81" y="169"/>
                    </a:moveTo>
                    <a:cubicBezTo>
                      <a:pt x="80" y="167"/>
                      <a:pt x="80" y="167"/>
                      <a:pt x="80" y="167"/>
                    </a:cubicBezTo>
                    <a:cubicBezTo>
                      <a:pt x="80" y="167"/>
                      <a:pt x="80" y="167"/>
                      <a:pt x="80" y="167"/>
                    </a:cubicBezTo>
                    <a:cubicBezTo>
                      <a:pt x="81" y="169"/>
                      <a:pt x="81" y="169"/>
                      <a:pt x="81" y="169"/>
                    </a:cubicBezTo>
                    <a:close/>
                    <a:moveTo>
                      <a:pt x="81" y="172"/>
                    </a:moveTo>
                    <a:cubicBezTo>
                      <a:pt x="81" y="172"/>
                      <a:pt x="81" y="172"/>
                      <a:pt x="81" y="172"/>
                    </a:cubicBezTo>
                    <a:cubicBezTo>
                      <a:pt x="81" y="172"/>
                      <a:pt x="81" y="172"/>
                      <a:pt x="81" y="172"/>
                    </a:cubicBezTo>
                    <a:close/>
                    <a:moveTo>
                      <a:pt x="81" y="155"/>
                    </a:moveTo>
                    <a:cubicBezTo>
                      <a:pt x="80" y="155"/>
                      <a:pt x="80" y="155"/>
                      <a:pt x="80" y="155"/>
                    </a:cubicBezTo>
                    <a:cubicBezTo>
                      <a:pt x="81" y="155"/>
                      <a:pt x="81" y="155"/>
                      <a:pt x="81" y="155"/>
                    </a:cubicBezTo>
                    <a:cubicBezTo>
                      <a:pt x="82" y="156"/>
                      <a:pt x="82" y="156"/>
                      <a:pt x="82" y="156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2" y="156"/>
                      <a:pt x="82" y="156"/>
                      <a:pt x="82" y="156"/>
                    </a:cubicBezTo>
                    <a:lnTo>
                      <a:pt x="81" y="155"/>
                    </a:lnTo>
                    <a:close/>
                    <a:moveTo>
                      <a:pt x="84" y="161"/>
                    </a:moveTo>
                    <a:cubicBezTo>
                      <a:pt x="84" y="161"/>
                      <a:pt x="84" y="161"/>
                      <a:pt x="84" y="161"/>
                    </a:cubicBezTo>
                    <a:cubicBezTo>
                      <a:pt x="84" y="161"/>
                      <a:pt x="84" y="161"/>
                      <a:pt x="84" y="161"/>
                    </a:cubicBezTo>
                    <a:close/>
                    <a:moveTo>
                      <a:pt x="82" y="162"/>
                    </a:moveTo>
                    <a:cubicBezTo>
                      <a:pt x="84" y="161"/>
                      <a:pt x="84" y="161"/>
                      <a:pt x="84" y="161"/>
                    </a:cubicBezTo>
                    <a:cubicBezTo>
                      <a:pt x="84" y="161"/>
                      <a:pt x="84" y="161"/>
                      <a:pt x="84" y="161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2" y="164"/>
                      <a:pt x="82" y="164"/>
                      <a:pt x="82" y="164"/>
                    </a:cubicBezTo>
                    <a:lnTo>
                      <a:pt x="82" y="162"/>
                    </a:lnTo>
                    <a:close/>
                    <a:moveTo>
                      <a:pt x="82" y="166"/>
                    </a:moveTo>
                    <a:cubicBezTo>
                      <a:pt x="83" y="165"/>
                      <a:pt x="83" y="165"/>
                      <a:pt x="83" y="165"/>
                    </a:cubicBezTo>
                    <a:cubicBezTo>
                      <a:pt x="83" y="166"/>
                      <a:pt x="83" y="166"/>
                      <a:pt x="83" y="166"/>
                    </a:cubicBezTo>
                    <a:cubicBezTo>
                      <a:pt x="84" y="167"/>
                      <a:pt x="84" y="167"/>
                      <a:pt x="84" y="167"/>
                    </a:cubicBezTo>
                    <a:cubicBezTo>
                      <a:pt x="83" y="166"/>
                      <a:pt x="83" y="166"/>
                      <a:pt x="83" y="166"/>
                    </a:cubicBezTo>
                    <a:cubicBezTo>
                      <a:pt x="83" y="165"/>
                      <a:pt x="83" y="165"/>
                      <a:pt x="83" y="165"/>
                    </a:cubicBezTo>
                    <a:lnTo>
                      <a:pt x="82" y="166"/>
                    </a:lnTo>
                    <a:close/>
                    <a:moveTo>
                      <a:pt x="87" y="173"/>
                    </a:moveTo>
                    <a:cubicBezTo>
                      <a:pt x="85" y="172"/>
                      <a:pt x="85" y="172"/>
                      <a:pt x="85" y="172"/>
                    </a:cubicBezTo>
                    <a:cubicBezTo>
                      <a:pt x="84" y="171"/>
                      <a:pt x="84" y="171"/>
                      <a:pt x="84" y="171"/>
                    </a:cubicBezTo>
                    <a:cubicBezTo>
                      <a:pt x="83" y="172"/>
                      <a:pt x="83" y="172"/>
                      <a:pt x="83" y="172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83" y="172"/>
                      <a:pt x="83" y="172"/>
                      <a:pt x="83" y="172"/>
                    </a:cubicBezTo>
                    <a:cubicBezTo>
                      <a:pt x="84" y="171"/>
                      <a:pt x="84" y="171"/>
                      <a:pt x="84" y="171"/>
                    </a:cubicBezTo>
                    <a:cubicBezTo>
                      <a:pt x="84" y="171"/>
                      <a:pt x="84" y="171"/>
                      <a:pt x="84" y="171"/>
                    </a:cubicBezTo>
                    <a:cubicBezTo>
                      <a:pt x="85" y="172"/>
                      <a:pt x="85" y="172"/>
                      <a:pt x="85" y="172"/>
                    </a:cubicBezTo>
                    <a:cubicBezTo>
                      <a:pt x="87" y="173"/>
                      <a:pt x="87" y="173"/>
                      <a:pt x="87" y="173"/>
                    </a:cubicBezTo>
                    <a:cubicBezTo>
                      <a:pt x="87" y="173"/>
                      <a:pt x="89" y="173"/>
                      <a:pt x="90" y="173"/>
                    </a:cubicBezTo>
                    <a:cubicBezTo>
                      <a:pt x="89" y="173"/>
                      <a:pt x="87" y="173"/>
                      <a:pt x="87" y="173"/>
                    </a:cubicBezTo>
                    <a:close/>
                    <a:moveTo>
                      <a:pt x="89" y="182"/>
                    </a:moveTo>
                    <a:cubicBezTo>
                      <a:pt x="89" y="184"/>
                      <a:pt x="89" y="184"/>
                      <a:pt x="89" y="184"/>
                    </a:cubicBezTo>
                    <a:cubicBezTo>
                      <a:pt x="89" y="182"/>
                      <a:pt x="89" y="182"/>
                      <a:pt x="89" y="182"/>
                    </a:cubicBezTo>
                    <a:cubicBezTo>
                      <a:pt x="90" y="181"/>
                      <a:pt x="90" y="181"/>
                      <a:pt x="90" y="181"/>
                    </a:cubicBezTo>
                    <a:cubicBezTo>
                      <a:pt x="90" y="181"/>
                      <a:pt x="90" y="181"/>
                      <a:pt x="90" y="181"/>
                    </a:cubicBezTo>
                    <a:lnTo>
                      <a:pt x="89" y="182"/>
                    </a:lnTo>
                    <a:close/>
                    <a:moveTo>
                      <a:pt x="90" y="180"/>
                    </a:moveTo>
                    <a:cubicBezTo>
                      <a:pt x="90" y="181"/>
                      <a:pt x="90" y="181"/>
                      <a:pt x="90" y="181"/>
                    </a:cubicBezTo>
                    <a:cubicBezTo>
                      <a:pt x="90" y="180"/>
                      <a:pt x="90" y="180"/>
                      <a:pt x="90" y="180"/>
                    </a:cubicBezTo>
                    <a:cubicBezTo>
                      <a:pt x="91" y="180"/>
                      <a:pt x="91" y="180"/>
                      <a:pt x="91" y="180"/>
                    </a:cubicBezTo>
                    <a:lnTo>
                      <a:pt x="90" y="180"/>
                    </a:lnTo>
                    <a:close/>
                    <a:moveTo>
                      <a:pt x="91" y="175"/>
                    </a:moveTo>
                    <a:cubicBezTo>
                      <a:pt x="91" y="175"/>
                      <a:pt x="91" y="175"/>
                      <a:pt x="91" y="175"/>
                    </a:cubicBezTo>
                    <a:cubicBezTo>
                      <a:pt x="91" y="175"/>
                      <a:pt x="91" y="175"/>
                      <a:pt x="91" y="175"/>
                    </a:cubicBezTo>
                    <a:close/>
                    <a:moveTo>
                      <a:pt x="91" y="173"/>
                    </a:moveTo>
                    <a:cubicBezTo>
                      <a:pt x="91" y="173"/>
                      <a:pt x="91" y="173"/>
                      <a:pt x="91" y="173"/>
                    </a:cubicBezTo>
                    <a:cubicBezTo>
                      <a:pt x="91" y="173"/>
                      <a:pt x="91" y="173"/>
                      <a:pt x="91" y="173"/>
                    </a:cubicBezTo>
                    <a:cubicBezTo>
                      <a:pt x="91" y="173"/>
                      <a:pt x="91" y="173"/>
                      <a:pt x="91" y="173"/>
                    </a:cubicBezTo>
                    <a:cubicBezTo>
                      <a:pt x="91" y="173"/>
                      <a:pt x="91" y="173"/>
                      <a:pt x="91" y="173"/>
                    </a:cubicBezTo>
                    <a:cubicBezTo>
                      <a:pt x="91" y="173"/>
                      <a:pt x="91" y="173"/>
                      <a:pt x="91" y="173"/>
                    </a:cubicBezTo>
                    <a:cubicBezTo>
                      <a:pt x="91" y="173"/>
                      <a:pt x="91" y="173"/>
                      <a:pt x="91" y="173"/>
                    </a:cubicBezTo>
                    <a:cubicBezTo>
                      <a:pt x="92" y="173"/>
                      <a:pt x="92" y="173"/>
                      <a:pt x="92" y="173"/>
                    </a:cubicBezTo>
                    <a:cubicBezTo>
                      <a:pt x="92" y="173"/>
                      <a:pt x="92" y="173"/>
                      <a:pt x="92" y="173"/>
                    </a:cubicBezTo>
                    <a:cubicBezTo>
                      <a:pt x="92" y="173"/>
                      <a:pt x="92" y="173"/>
                      <a:pt x="91" y="173"/>
                    </a:cubicBezTo>
                    <a:close/>
                    <a:moveTo>
                      <a:pt x="92" y="185"/>
                    </a:moveTo>
                    <a:cubicBezTo>
                      <a:pt x="92" y="185"/>
                      <a:pt x="92" y="185"/>
                      <a:pt x="92" y="185"/>
                    </a:cubicBezTo>
                    <a:cubicBezTo>
                      <a:pt x="92" y="185"/>
                      <a:pt x="92" y="185"/>
                      <a:pt x="92" y="185"/>
                    </a:cubicBezTo>
                    <a:cubicBezTo>
                      <a:pt x="92" y="185"/>
                      <a:pt x="92" y="185"/>
                      <a:pt x="92" y="185"/>
                    </a:cubicBezTo>
                    <a:close/>
                    <a:moveTo>
                      <a:pt x="94" y="184"/>
                    </a:moveTo>
                    <a:cubicBezTo>
                      <a:pt x="93" y="184"/>
                      <a:pt x="93" y="184"/>
                      <a:pt x="93" y="184"/>
                    </a:cubicBezTo>
                    <a:cubicBezTo>
                      <a:pt x="93" y="184"/>
                      <a:pt x="93" y="184"/>
                      <a:pt x="93" y="184"/>
                    </a:cubicBezTo>
                    <a:cubicBezTo>
                      <a:pt x="94" y="184"/>
                      <a:pt x="94" y="184"/>
                      <a:pt x="94" y="184"/>
                    </a:cubicBezTo>
                    <a:cubicBezTo>
                      <a:pt x="94" y="184"/>
                      <a:pt x="94" y="184"/>
                      <a:pt x="94" y="184"/>
                    </a:cubicBezTo>
                    <a:close/>
                    <a:moveTo>
                      <a:pt x="93" y="177"/>
                    </a:moveTo>
                    <a:cubicBezTo>
                      <a:pt x="93" y="177"/>
                      <a:pt x="93" y="177"/>
                      <a:pt x="93" y="177"/>
                    </a:cubicBezTo>
                    <a:cubicBezTo>
                      <a:pt x="93" y="177"/>
                      <a:pt x="93" y="177"/>
                      <a:pt x="93" y="177"/>
                    </a:cubicBezTo>
                    <a:close/>
                    <a:moveTo>
                      <a:pt x="94" y="167"/>
                    </a:moveTo>
                    <a:cubicBezTo>
                      <a:pt x="94" y="167"/>
                      <a:pt x="94" y="167"/>
                      <a:pt x="94" y="167"/>
                    </a:cubicBezTo>
                    <a:cubicBezTo>
                      <a:pt x="91" y="167"/>
                      <a:pt x="92" y="168"/>
                      <a:pt x="92" y="168"/>
                    </a:cubicBezTo>
                    <a:cubicBezTo>
                      <a:pt x="92" y="168"/>
                      <a:pt x="92" y="168"/>
                      <a:pt x="92" y="168"/>
                    </a:cubicBezTo>
                    <a:cubicBezTo>
                      <a:pt x="92" y="168"/>
                      <a:pt x="91" y="167"/>
                      <a:pt x="94" y="167"/>
                    </a:cubicBezTo>
                    <a:cubicBezTo>
                      <a:pt x="97" y="167"/>
                      <a:pt x="98" y="167"/>
                      <a:pt x="98" y="167"/>
                    </a:cubicBezTo>
                    <a:cubicBezTo>
                      <a:pt x="98" y="166"/>
                      <a:pt x="98" y="166"/>
                      <a:pt x="98" y="166"/>
                    </a:cubicBezTo>
                    <a:cubicBezTo>
                      <a:pt x="98" y="167"/>
                      <a:pt x="98" y="167"/>
                      <a:pt x="98" y="167"/>
                    </a:cubicBezTo>
                    <a:cubicBezTo>
                      <a:pt x="98" y="167"/>
                      <a:pt x="97" y="167"/>
                      <a:pt x="94" y="167"/>
                    </a:cubicBezTo>
                    <a:close/>
                    <a:moveTo>
                      <a:pt x="97" y="193"/>
                    </a:moveTo>
                    <a:cubicBezTo>
                      <a:pt x="97" y="194"/>
                      <a:pt x="97" y="194"/>
                      <a:pt x="97" y="194"/>
                    </a:cubicBezTo>
                    <a:cubicBezTo>
                      <a:pt x="97" y="193"/>
                      <a:pt x="97" y="193"/>
                      <a:pt x="97" y="193"/>
                    </a:cubicBezTo>
                    <a:close/>
                    <a:moveTo>
                      <a:pt x="96" y="187"/>
                    </a:moveTo>
                    <a:cubicBezTo>
                      <a:pt x="96" y="188"/>
                      <a:pt x="96" y="188"/>
                      <a:pt x="96" y="188"/>
                    </a:cubicBezTo>
                    <a:cubicBezTo>
                      <a:pt x="96" y="189"/>
                      <a:pt x="96" y="189"/>
                      <a:pt x="96" y="189"/>
                    </a:cubicBezTo>
                    <a:cubicBezTo>
                      <a:pt x="96" y="190"/>
                      <a:pt x="96" y="190"/>
                      <a:pt x="96" y="190"/>
                    </a:cubicBezTo>
                    <a:cubicBezTo>
                      <a:pt x="96" y="189"/>
                      <a:pt x="96" y="189"/>
                      <a:pt x="96" y="189"/>
                    </a:cubicBezTo>
                    <a:cubicBezTo>
                      <a:pt x="96" y="188"/>
                      <a:pt x="96" y="188"/>
                      <a:pt x="96" y="188"/>
                    </a:cubicBezTo>
                    <a:cubicBezTo>
                      <a:pt x="96" y="187"/>
                      <a:pt x="96" y="187"/>
                      <a:pt x="96" y="187"/>
                    </a:cubicBezTo>
                    <a:cubicBezTo>
                      <a:pt x="96" y="186"/>
                      <a:pt x="96" y="186"/>
                      <a:pt x="96" y="186"/>
                    </a:cubicBezTo>
                    <a:cubicBezTo>
                      <a:pt x="96" y="187"/>
                      <a:pt x="96" y="187"/>
                      <a:pt x="96" y="187"/>
                    </a:cubicBezTo>
                    <a:cubicBezTo>
                      <a:pt x="98" y="186"/>
                      <a:pt x="98" y="186"/>
                      <a:pt x="98" y="186"/>
                    </a:cubicBezTo>
                    <a:lnTo>
                      <a:pt x="96" y="187"/>
                    </a:lnTo>
                    <a:close/>
                    <a:moveTo>
                      <a:pt x="97" y="171"/>
                    </a:moveTo>
                    <a:cubicBezTo>
                      <a:pt x="97" y="170"/>
                      <a:pt x="97" y="170"/>
                      <a:pt x="97" y="170"/>
                    </a:cubicBezTo>
                    <a:cubicBezTo>
                      <a:pt x="97" y="171"/>
                      <a:pt x="97" y="171"/>
                      <a:pt x="97" y="171"/>
                    </a:cubicBezTo>
                    <a:cubicBezTo>
                      <a:pt x="99" y="172"/>
                      <a:pt x="99" y="172"/>
                      <a:pt x="99" y="172"/>
                    </a:cubicBezTo>
                    <a:cubicBezTo>
                      <a:pt x="99" y="172"/>
                      <a:pt x="99" y="172"/>
                      <a:pt x="99" y="172"/>
                    </a:cubicBezTo>
                    <a:cubicBezTo>
                      <a:pt x="99" y="172"/>
                      <a:pt x="99" y="172"/>
                      <a:pt x="99" y="172"/>
                    </a:cubicBezTo>
                    <a:lnTo>
                      <a:pt x="97" y="171"/>
                    </a:lnTo>
                    <a:close/>
                    <a:moveTo>
                      <a:pt x="100" y="191"/>
                    </a:moveTo>
                    <a:cubicBezTo>
                      <a:pt x="100" y="191"/>
                      <a:pt x="100" y="191"/>
                      <a:pt x="100" y="191"/>
                    </a:cubicBezTo>
                    <a:cubicBezTo>
                      <a:pt x="100" y="190"/>
                      <a:pt x="100" y="190"/>
                      <a:pt x="100" y="190"/>
                    </a:cubicBezTo>
                    <a:lnTo>
                      <a:pt x="100" y="191"/>
                    </a:lnTo>
                    <a:close/>
                    <a:moveTo>
                      <a:pt x="102" y="190"/>
                    </a:moveTo>
                    <a:cubicBezTo>
                      <a:pt x="101" y="190"/>
                      <a:pt x="101" y="190"/>
                      <a:pt x="101" y="190"/>
                    </a:cubicBezTo>
                    <a:cubicBezTo>
                      <a:pt x="101" y="190"/>
                      <a:pt x="101" y="190"/>
                      <a:pt x="101" y="190"/>
                    </a:cubicBezTo>
                    <a:cubicBezTo>
                      <a:pt x="102" y="190"/>
                      <a:pt x="102" y="190"/>
                      <a:pt x="102" y="190"/>
                    </a:cubicBezTo>
                    <a:close/>
                    <a:moveTo>
                      <a:pt x="102" y="184"/>
                    </a:moveTo>
                    <a:cubicBezTo>
                      <a:pt x="102" y="185"/>
                      <a:pt x="102" y="185"/>
                      <a:pt x="102" y="185"/>
                    </a:cubicBezTo>
                    <a:cubicBezTo>
                      <a:pt x="102" y="185"/>
                      <a:pt x="102" y="185"/>
                      <a:pt x="102" y="185"/>
                    </a:cubicBezTo>
                    <a:cubicBezTo>
                      <a:pt x="100" y="185"/>
                      <a:pt x="100" y="185"/>
                      <a:pt x="100" y="185"/>
                    </a:cubicBezTo>
                    <a:cubicBezTo>
                      <a:pt x="99" y="185"/>
                      <a:pt x="99" y="185"/>
                      <a:pt x="99" y="185"/>
                    </a:cubicBezTo>
                    <a:cubicBezTo>
                      <a:pt x="98" y="186"/>
                      <a:pt x="98" y="186"/>
                      <a:pt x="98" y="186"/>
                    </a:cubicBezTo>
                    <a:cubicBezTo>
                      <a:pt x="99" y="185"/>
                      <a:pt x="99" y="185"/>
                      <a:pt x="99" y="185"/>
                    </a:cubicBezTo>
                    <a:cubicBezTo>
                      <a:pt x="100" y="185"/>
                      <a:pt x="100" y="185"/>
                      <a:pt x="100" y="185"/>
                    </a:cubicBezTo>
                    <a:cubicBezTo>
                      <a:pt x="102" y="185"/>
                      <a:pt x="102" y="185"/>
                      <a:pt x="102" y="185"/>
                    </a:cubicBezTo>
                    <a:cubicBezTo>
                      <a:pt x="102" y="184"/>
                      <a:pt x="102" y="184"/>
                      <a:pt x="102" y="184"/>
                    </a:cubicBezTo>
                    <a:close/>
                    <a:moveTo>
                      <a:pt x="103" y="182"/>
                    </a:moveTo>
                    <a:cubicBezTo>
                      <a:pt x="102" y="183"/>
                      <a:pt x="102" y="183"/>
                      <a:pt x="102" y="183"/>
                    </a:cubicBezTo>
                    <a:cubicBezTo>
                      <a:pt x="102" y="183"/>
                      <a:pt x="102" y="183"/>
                      <a:pt x="102" y="183"/>
                    </a:cubicBezTo>
                    <a:cubicBezTo>
                      <a:pt x="103" y="182"/>
                      <a:pt x="103" y="182"/>
                      <a:pt x="103" y="182"/>
                    </a:cubicBezTo>
                    <a:cubicBezTo>
                      <a:pt x="103" y="180"/>
                      <a:pt x="103" y="180"/>
                      <a:pt x="103" y="180"/>
                    </a:cubicBezTo>
                    <a:cubicBezTo>
                      <a:pt x="103" y="180"/>
                      <a:pt x="103" y="180"/>
                      <a:pt x="103" y="180"/>
                    </a:cubicBezTo>
                    <a:lnTo>
                      <a:pt x="103" y="182"/>
                    </a:lnTo>
                    <a:close/>
                    <a:moveTo>
                      <a:pt x="104" y="189"/>
                    </a:moveTo>
                    <a:cubicBezTo>
                      <a:pt x="103" y="190"/>
                      <a:pt x="103" y="190"/>
                      <a:pt x="103" y="190"/>
                    </a:cubicBezTo>
                    <a:cubicBezTo>
                      <a:pt x="104" y="189"/>
                      <a:pt x="104" y="189"/>
                      <a:pt x="104" y="189"/>
                    </a:cubicBezTo>
                    <a:cubicBezTo>
                      <a:pt x="104" y="189"/>
                      <a:pt x="104" y="189"/>
                      <a:pt x="104" y="189"/>
                    </a:cubicBezTo>
                    <a:cubicBezTo>
                      <a:pt x="104" y="189"/>
                      <a:pt x="104" y="189"/>
                      <a:pt x="104" y="189"/>
                    </a:cubicBezTo>
                    <a:cubicBezTo>
                      <a:pt x="105" y="189"/>
                      <a:pt x="105" y="189"/>
                      <a:pt x="105" y="189"/>
                    </a:cubicBezTo>
                    <a:lnTo>
                      <a:pt x="104" y="189"/>
                    </a:lnTo>
                    <a:close/>
                    <a:moveTo>
                      <a:pt x="105" y="189"/>
                    </a:moveTo>
                    <a:cubicBezTo>
                      <a:pt x="105" y="189"/>
                      <a:pt x="105" y="189"/>
                      <a:pt x="105" y="189"/>
                    </a:cubicBezTo>
                    <a:cubicBezTo>
                      <a:pt x="105" y="189"/>
                      <a:pt x="106" y="189"/>
                      <a:pt x="106" y="188"/>
                    </a:cubicBezTo>
                    <a:cubicBezTo>
                      <a:pt x="106" y="189"/>
                      <a:pt x="105" y="189"/>
                      <a:pt x="105" y="189"/>
                    </a:cubicBezTo>
                    <a:close/>
                    <a:moveTo>
                      <a:pt x="109" y="189"/>
                    </a:moveTo>
                    <a:cubicBezTo>
                      <a:pt x="109" y="189"/>
                      <a:pt x="109" y="189"/>
                      <a:pt x="109" y="189"/>
                    </a:cubicBezTo>
                    <a:cubicBezTo>
                      <a:pt x="109" y="189"/>
                      <a:pt x="109" y="189"/>
                      <a:pt x="109" y="189"/>
                    </a:cubicBezTo>
                    <a:close/>
                    <a:moveTo>
                      <a:pt x="110" y="178"/>
                    </a:moveTo>
                    <a:cubicBezTo>
                      <a:pt x="107" y="178"/>
                      <a:pt x="107" y="178"/>
                      <a:pt x="107" y="178"/>
                    </a:cubicBezTo>
                    <a:cubicBezTo>
                      <a:pt x="105" y="178"/>
                      <a:pt x="105" y="178"/>
                      <a:pt x="105" y="178"/>
                    </a:cubicBezTo>
                    <a:cubicBezTo>
                      <a:pt x="104" y="177"/>
                      <a:pt x="104" y="177"/>
                      <a:pt x="104" y="177"/>
                    </a:cubicBezTo>
                    <a:cubicBezTo>
                      <a:pt x="105" y="178"/>
                      <a:pt x="105" y="178"/>
                      <a:pt x="105" y="178"/>
                    </a:cubicBezTo>
                    <a:cubicBezTo>
                      <a:pt x="107" y="178"/>
                      <a:pt x="107" y="178"/>
                      <a:pt x="107" y="178"/>
                    </a:cubicBezTo>
                    <a:cubicBezTo>
                      <a:pt x="110" y="178"/>
                      <a:pt x="110" y="178"/>
                      <a:pt x="110" y="178"/>
                    </a:cubicBezTo>
                    <a:cubicBezTo>
                      <a:pt x="112" y="178"/>
                      <a:pt x="112" y="178"/>
                      <a:pt x="112" y="178"/>
                    </a:cubicBezTo>
                    <a:cubicBezTo>
                      <a:pt x="115" y="177"/>
                      <a:pt x="115" y="177"/>
                      <a:pt x="115" y="177"/>
                    </a:cubicBezTo>
                    <a:cubicBezTo>
                      <a:pt x="112" y="178"/>
                      <a:pt x="112" y="178"/>
                      <a:pt x="112" y="178"/>
                    </a:cubicBezTo>
                    <a:lnTo>
                      <a:pt x="110" y="178"/>
                    </a:lnTo>
                    <a:close/>
                    <a:moveTo>
                      <a:pt x="118" y="186"/>
                    </a:moveTo>
                    <a:cubicBezTo>
                      <a:pt x="119" y="186"/>
                      <a:pt x="119" y="186"/>
                      <a:pt x="119" y="186"/>
                    </a:cubicBezTo>
                    <a:cubicBezTo>
                      <a:pt x="118" y="186"/>
                      <a:pt x="118" y="186"/>
                      <a:pt x="118" y="186"/>
                    </a:cubicBezTo>
                    <a:cubicBezTo>
                      <a:pt x="117" y="186"/>
                      <a:pt x="117" y="186"/>
                      <a:pt x="117" y="186"/>
                    </a:cubicBezTo>
                    <a:cubicBezTo>
                      <a:pt x="116" y="186"/>
                      <a:pt x="116" y="186"/>
                      <a:pt x="116" y="186"/>
                    </a:cubicBezTo>
                    <a:cubicBezTo>
                      <a:pt x="115" y="187"/>
                      <a:pt x="115" y="187"/>
                      <a:pt x="115" y="187"/>
                    </a:cubicBezTo>
                    <a:cubicBezTo>
                      <a:pt x="115" y="187"/>
                      <a:pt x="115" y="187"/>
                      <a:pt x="115" y="187"/>
                    </a:cubicBezTo>
                    <a:cubicBezTo>
                      <a:pt x="115" y="187"/>
                      <a:pt x="115" y="187"/>
                      <a:pt x="115" y="187"/>
                    </a:cubicBezTo>
                    <a:cubicBezTo>
                      <a:pt x="114" y="188"/>
                      <a:pt x="114" y="188"/>
                      <a:pt x="114" y="188"/>
                    </a:cubicBezTo>
                    <a:cubicBezTo>
                      <a:pt x="114" y="188"/>
                      <a:pt x="114" y="188"/>
                      <a:pt x="114" y="188"/>
                    </a:cubicBezTo>
                    <a:cubicBezTo>
                      <a:pt x="114" y="189"/>
                      <a:pt x="113" y="189"/>
                      <a:pt x="113" y="189"/>
                    </a:cubicBezTo>
                    <a:cubicBezTo>
                      <a:pt x="111" y="189"/>
                      <a:pt x="111" y="189"/>
                      <a:pt x="111" y="189"/>
                    </a:cubicBezTo>
                    <a:cubicBezTo>
                      <a:pt x="110" y="189"/>
                      <a:pt x="110" y="189"/>
                      <a:pt x="110" y="189"/>
                    </a:cubicBezTo>
                    <a:cubicBezTo>
                      <a:pt x="110" y="189"/>
                      <a:pt x="110" y="189"/>
                      <a:pt x="111" y="189"/>
                    </a:cubicBezTo>
                    <a:cubicBezTo>
                      <a:pt x="113" y="189"/>
                      <a:pt x="113" y="189"/>
                      <a:pt x="113" y="189"/>
                    </a:cubicBezTo>
                    <a:cubicBezTo>
                      <a:pt x="113" y="189"/>
                      <a:pt x="114" y="189"/>
                      <a:pt x="114" y="188"/>
                    </a:cubicBezTo>
                    <a:cubicBezTo>
                      <a:pt x="114" y="188"/>
                      <a:pt x="114" y="188"/>
                      <a:pt x="114" y="188"/>
                    </a:cubicBezTo>
                    <a:cubicBezTo>
                      <a:pt x="115" y="187"/>
                      <a:pt x="115" y="187"/>
                      <a:pt x="115" y="187"/>
                    </a:cubicBezTo>
                    <a:cubicBezTo>
                      <a:pt x="115" y="187"/>
                      <a:pt x="115" y="187"/>
                      <a:pt x="115" y="187"/>
                    </a:cubicBezTo>
                    <a:cubicBezTo>
                      <a:pt x="116" y="186"/>
                      <a:pt x="116" y="186"/>
                      <a:pt x="116" y="186"/>
                    </a:cubicBezTo>
                    <a:cubicBezTo>
                      <a:pt x="117" y="186"/>
                      <a:pt x="117" y="186"/>
                      <a:pt x="117" y="186"/>
                    </a:cubicBezTo>
                    <a:lnTo>
                      <a:pt x="118" y="186"/>
                    </a:lnTo>
                    <a:close/>
                    <a:moveTo>
                      <a:pt x="118" y="176"/>
                    </a:moveTo>
                    <a:cubicBezTo>
                      <a:pt x="115" y="176"/>
                      <a:pt x="115" y="176"/>
                      <a:pt x="115" y="176"/>
                    </a:cubicBezTo>
                    <a:cubicBezTo>
                      <a:pt x="115" y="176"/>
                      <a:pt x="115" y="176"/>
                      <a:pt x="115" y="176"/>
                    </a:cubicBezTo>
                    <a:cubicBezTo>
                      <a:pt x="118" y="176"/>
                      <a:pt x="118" y="176"/>
                      <a:pt x="118" y="176"/>
                    </a:cubicBezTo>
                    <a:cubicBezTo>
                      <a:pt x="121" y="178"/>
                      <a:pt x="121" y="178"/>
                      <a:pt x="121" y="178"/>
                    </a:cubicBezTo>
                    <a:lnTo>
                      <a:pt x="118" y="176"/>
                    </a:lnTo>
                    <a:close/>
                    <a:moveTo>
                      <a:pt x="121" y="171"/>
                    </a:moveTo>
                    <a:cubicBezTo>
                      <a:pt x="121" y="171"/>
                      <a:pt x="121" y="171"/>
                      <a:pt x="121" y="171"/>
                    </a:cubicBezTo>
                    <a:cubicBezTo>
                      <a:pt x="121" y="171"/>
                      <a:pt x="121" y="171"/>
                      <a:pt x="121" y="171"/>
                    </a:cubicBezTo>
                    <a:cubicBezTo>
                      <a:pt x="122" y="168"/>
                      <a:pt x="122" y="168"/>
                      <a:pt x="122" y="168"/>
                    </a:cubicBezTo>
                    <a:lnTo>
                      <a:pt x="121" y="171"/>
                    </a:lnTo>
                    <a:close/>
                    <a:moveTo>
                      <a:pt x="122" y="168"/>
                    </a:moveTo>
                    <a:cubicBezTo>
                      <a:pt x="122" y="168"/>
                      <a:pt x="122" y="168"/>
                      <a:pt x="122" y="168"/>
                    </a:cubicBezTo>
                    <a:cubicBezTo>
                      <a:pt x="123" y="168"/>
                      <a:pt x="123" y="168"/>
                      <a:pt x="123" y="168"/>
                    </a:cubicBezTo>
                    <a:lnTo>
                      <a:pt x="122" y="168"/>
                    </a:lnTo>
                    <a:close/>
                    <a:moveTo>
                      <a:pt x="122" y="142"/>
                    </a:moveTo>
                    <a:cubicBezTo>
                      <a:pt x="123" y="141"/>
                      <a:pt x="123" y="141"/>
                      <a:pt x="123" y="141"/>
                    </a:cubicBezTo>
                    <a:cubicBezTo>
                      <a:pt x="123" y="141"/>
                      <a:pt x="123" y="141"/>
                      <a:pt x="123" y="141"/>
                    </a:cubicBezTo>
                    <a:lnTo>
                      <a:pt x="122" y="142"/>
                    </a:lnTo>
                    <a:close/>
                    <a:moveTo>
                      <a:pt x="133" y="131"/>
                    </a:moveTo>
                    <a:cubicBezTo>
                      <a:pt x="132" y="131"/>
                      <a:pt x="132" y="131"/>
                      <a:pt x="132" y="131"/>
                    </a:cubicBezTo>
                    <a:cubicBezTo>
                      <a:pt x="132" y="131"/>
                      <a:pt x="132" y="131"/>
                      <a:pt x="132" y="131"/>
                    </a:cubicBezTo>
                    <a:lnTo>
                      <a:pt x="133" y="131"/>
                    </a:lnTo>
                    <a:close/>
                    <a:moveTo>
                      <a:pt x="129" y="80"/>
                    </a:moveTo>
                    <a:cubicBezTo>
                      <a:pt x="129" y="80"/>
                      <a:pt x="129" y="80"/>
                      <a:pt x="129" y="80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84"/>
                      <a:pt x="130" y="84"/>
                      <a:pt x="130" y="84"/>
                    </a:cubicBezTo>
                    <a:cubicBezTo>
                      <a:pt x="132" y="86"/>
                      <a:pt x="132" y="86"/>
                      <a:pt x="132" y="86"/>
                    </a:cubicBezTo>
                    <a:cubicBezTo>
                      <a:pt x="130" y="84"/>
                      <a:pt x="130" y="84"/>
                      <a:pt x="130" y="84"/>
                    </a:cubicBezTo>
                    <a:cubicBezTo>
                      <a:pt x="127" y="81"/>
                      <a:pt x="127" y="81"/>
                      <a:pt x="127" y="81"/>
                    </a:cubicBezTo>
                    <a:lnTo>
                      <a:pt x="129" y="80"/>
                    </a:lnTo>
                    <a:close/>
                    <a:moveTo>
                      <a:pt x="127" y="70"/>
                    </a:moveTo>
                    <a:cubicBezTo>
                      <a:pt x="127" y="70"/>
                      <a:pt x="127" y="70"/>
                      <a:pt x="127" y="70"/>
                    </a:cubicBezTo>
                    <a:cubicBezTo>
                      <a:pt x="127" y="70"/>
                      <a:pt x="127" y="70"/>
                      <a:pt x="127" y="70"/>
                    </a:cubicBezTo>
                    <a:close/>
                    <a:moveTo>
                      <a:pt x="125" y="61"/>
                    </a:moveTo>
                    <a:cubicBezTo>
                      <a:pt x="127" y="60"/>
                      <a:pt x="127" y="60"/>
                      <a:pt x="127" y="60"/>
                    </a:cubicBezTo>
                    <a:cubicBezTo>
                      <a:pt x="126" y="59"/>
                      <a:pt x="126" y="59"/>
                      <a:pt x="126" y="59"/>
                    </a:cubicBezTo>
                    <a:cubicBezTo>
                      <a:pt x="127" y="60"/>
                      <a:pt x="127" y="60"/>
                      <a:pt x="127" y="60"/>
                    </a:cubicBezTo>
                    <a:cubicBezTo>
                      <a:pt x="125" y="61"/>
                      <a:pt x="125" y="61"/>
                      <a:pt x="125" y="61"/>
                    </a:cubicBezTo>
                    <a:cubicBezTo>
                      <a:pt x="123" y="63"/>
                      <a:pt x="123" y="63"/>
                      <a:pt x="123" y="63"/>
                    </a:cubicBezTo>
                    <a:cubicBezTo>
                      <a:pt x="124" y="65"/>
                      <a:pt x="124" y="65"/>
                      <a:pt x="124" y="65"/>
                    </a:cubicBezTo>
                    <a:cubicBezTo>
                      <a:pt x="123" y="63"/>
                      <a:pt x="123" y="63"/>
                      <a:pt x="123" y="63"/>
                    </a:cubicBezTo>
                    <a:lnTo>
                      <a:pt x="125" y="61"/>
                    </a:lnTo>
                    <a:close/>
                    <a:moveTo>
                      <a:pt x="125" y="74"/>
                    </a:moveTo>
                    <a:cubicBezTo>
                      <a:pt x="126" y="73"/>
                      <a:pt x="126" y="73"/>
                      <a:pt x="126" y="73"/>
                    </a:cubicBezTo>
                    <a:cubicBezTo>
                      <a:pt x="125" y="74"/>
                      <a:pt x="125" y="74"/>
                      <a:pt x="125" y="74"/>
                    </a:cubicBezTo>
                    <a:cubicBezTo>
                      <a:pt x="127" y="77"/>
                      <a:pt x="127" y="77"/>
                      <a:pt x="127" y="77"/>
                    </a:cubicBezTo>
                    <a:cubicBezTo>
                      <a:pt x="126" y="79"/>
                      <a:pt x="126" y="79"/>
                      <a:pt x="126" y="79"/>
                    </a:cubicBezTo>
                    <a:cubicBezTo>
                      <a:pt x="126" y="79"/>
                      <a:pt x="126" y="79"/>
                      <a:pt x="126" y="79"/>
                    </a:cubicBezTo>
                    <a:cubicBezTo>
                      <a:pt x="127" y="77"/>
                      <a:pt x="127" y="77"/>
                      <a:pt x="127" y="77"/>
                    </a:cubicBezTo>
                    <a:lnTo>
                      <a:pt x="125" y="74"/>
                    </a:lnTo>
                    <a:close/>
                    <a:moveTo>
                      <a:pt x="126" y="73"/>
                    </a:moveTo>
                    <a:cubicBezTo>
                      <a:pt x="126" y="73"/>
                      <a:pt x="126" y="73"/>
                      <a:pt x="126" y="73"/>
                    </a:cubicBezTo>
                    <a:cubicBezTo>
                      <a:pt x="125" y="73"/>
                      <a:pt x="125" y="73"/>
                      <a:pt x="125" y="73"/>
                    </a:cubicBezTo>
                    <a:cubicBezTo>
                      <a:pt x="126" y="71"/>
                      <a:pt x="126" y="71"/>
                      <a:pt x="126" y="71"/>
                    </a:cubicBezTo>
                    <a:cubicBezTo>
                      <a:pt x="125" y="73"/>
                      <a:pt x="125" y="73"/>
                      <a:pt x="125" y="73"/>
                    </a:cubicBezTo>
                    <a:lnTo>
                      <a:pt x="126" y="73"/>
                    </a:lnTo>
                    <a:close/>
                    <a:moveTo>
                      <a:pt x="125" y="58"/>
                    </a:moveTo>
                    <a:cubicBezTo>
                      <a:pt x="125" y="58"/>
                      <a:pt x="125" y="58"/>
                      <a:pt x="125" y="58"/>
                    </a:cubicBezTo>
                    <a:cubicBezTo>
                      <a:pt x="125" y="58"/>
                      <a:pt x="125" y="58"/>
                      <a:pt x="125" y="58"/>
                    </a:cubicBezTo>
                    <a:cubicBezTo>
                      <a:pt x="123" y="57"/>
                      <a:pt x="123" y="57"/>
                      <a:pt x="123" y="57"/>
                    </a:cubicBezTo>
                    <a:cubicBezTo>
                      <a:pt x="122" y="55"/>
                      <a:pt x="122" y="55"/>
                      <a:pt x="122" y="55"/>
                    </a:cubicBezTo>
                    <a:cubicBezTo>
                      <a:pt x="122" y="55"/>
                      <a:pt x="122" y="55"/>
                      <a:pt x="122" y="55"/>
                    </a:cubicBezTo>
                    <a:cubicBezTo>
                      <a:pt x="123" y="57"/>
                      <a:pt x="123" y="57"/>
                      <a:pt x="123" y="57"/>
                    </a:cubicBezTo>
                    <a:lnTo>
                      <a:pt x="125" y="58"/>
                    </a:lnTo>
                    <a:close/>
                    <a:moveTo>
                      <a:pt x="122" y="53"/>
                    </a:moveTo>
                    <a:cubicBezTo>
                      <a:pt x="123" y="54"/>
                      <a:pt x="123" y="54"/>
                      <a:pt x="123" y="54"/>
                    </a:cubicBezTo>
                    <a:cubicBezTo>
                      <a:pt x="123" y="54"/>
                      <a:pt x="123" y="54"/>
                      <a:pt x="123" y="54"/>
                    </a:cubicBezTo>
                    <a:lnTo>
                      <a:pt x="122" y="53"/>
                    </a:lnTo>
                    <a:close/>
                    <a:moveTo>
                      <a:pt x="123" y="52"/>
                    </a:moveTo>
                    <a:cubicBezTo>
                      <a:pt x="122" y="51"/>
                      <a:pt x="122" y="51"/>
                      <a:pt x="122" y="51"/>
                    </a:cubicBezTo>
                    <a:cubicBezTo>
                      <a:pt x="123" y="52"/>
                      <a:pt x="123" y="52"/>
                      <a:pt x="123" y="52"/>
                    </a:cubicBezTo>
                    <a:close/>
                    <a:moveTo>
                      <a:pt x="123" y="49"/>
                    </a:moveTo>
                    <a:cubicBezTo>
                      <a:pt x="123" y="50"/>
                      <a:pt x="123" y="50"/>
                      <a:pt x="123" y="50"/>
                    </a:cubicBezTo>
                    <a:cubicBezTo>
                      <a:pt x="123" y="50"/>
                      <a:pt x="123" y="50"/>
                      <a:pt x="123" y="50"/>
                    </a:cubicBezTo>
                    <a:lnTo>
                      <a:pt x="123" y="49"/>
                    </a:lnTo>
                    <a:close/>
                    <a:moveTo>
                      <a:pt x="122" y="50"/>
                    </a:moveTo>
                    <a:cubicBezTo>
                      <a:pt x="122" y="50"/>
                      <a:pt x="122" y="50"/>
                      <a:pt x="122" y="50"/>
                    </a:cubicBezTo>
                    <a:cubicBezTo>
                      <a:pt x="122" y="50"/>
                      <a:pt x="122" y="50"/>
                      <a:pt x="122" y="50"/>
                    </a:cubicBezTo>
                    <a:close/>
                    <a:moveTo>
                      <a:pt x="122" y="52"/>
                    </a:moveTo>
                    <a:cubicBezTo>
                      <a:pt x="121" y="52"/>
                      <a:pt x="121" y="52"/>
                      <a:pt x="121" y="52"/>
                    </a:cubicBezTo>
                    <a:cubicBezTo>
                      <a:pt x="121" y="52"/>
                      <a:pt x="121" y="52"/>
                      <a:pt x="121" y="52"/>
                    </a:cubicBezTo>
                    <a:lnTo>
                      <a:pt x="122" y="52"/>
                    </a:lnTo>
                    <a:close/>
                    <a:moveTo>
                      <a:pt x="123" y="121"/>
                    </a:moveTo>
                    <a:cubicBezTo>
                      <a:pt x="124" y="121"/>
                      <a:pt x="124" y="121"/>
                      <a:pt x="124" y="121"/>
                    </a:cubicBezTo>
                    <a:cubicBezTo>
                      <a:pt x="125" y="121"/>
                      <a:pt x="125" y="121"/>
                      <a:pt x="125" y="121"/>
                    </a:cubicBezTo>
                    <a:cubicBezTo>
                      <a:pt x="125" y="121"/>
                      <a:pt x="125" y="121"/>
                      <a:pt x="125" y="121"/>
                    </a:cubicBezTo>
                    <a:cubicBezTo>
                      <a:pt x="124" y="121"/>
                      <a:pt x="124" y="121"/>
                      <a:pt x="124" y="121"/>
                    </a:cubicBezTo>
                    <a:lnTo>
                      <a:pt x="123" y="121"/>
                    </a:lnTo>
                    <a:close/>
                    <a:moveTo>
                      <a:pt x="124" y="160"/>
                    </a:moveTo>
                    <a:cubicBezTo>
                      <a:pt x="124" y="160"/>
                      <a:pt x="124" y="160"/>
                      <a:pt x="124" y="160"/>
                    </a:cubicBezTo>
                    <a:cubicBezTo>
                      <a:pt x="124" y="160"/>
                      <a:pt x="124" y="160"/>
                      <a:pt x="124" y="160"/>
                    </a:cubicBezTo>
                    <a:close/>
                    <a:moveTo>
                      <a:pt x="125" y="163"/>
                    </a:moveTo>
                    <a:cubicBezTo>
                      <a:pt x="125" y="162"/>
                      <a:pt x="125" y="162"/>
                      <a:pt x="125" y="162"/>
                    </a:cubicBezTo>
                    <a:cubicBezTo>
                      <a:pt x="124" y="161"/>
                      <a:pt x="124" y="161"/>
                      <a:pt x="124" y="161"/>
                    </a:cubicBezTo>
                    <a:cubicBezTo>
                      <a:pt x="124" y="160"/>
                      <a:pt x="124" y="160"/>
                      <a:pt x="124" y="160"/>
                    </a:cubicBezTo>
                    <a:cubicBezTo>
                      <a:pt x="124" y="161"/>
                      <a:pt x="124" y="161"/>
                      <a:pt x="124" y="161"/>
                    </a:cubicBezTo>
                    <a:cubicBezTo>
                      <a:pt x="125" y="162"/>
                      <a:pt x="125" y="162"/>
                      <a:pt x="125" y="162"/>
                    </a:cubicBezTo>
                    <a:cubicBezTo>
                      <a:pt x="125" y="163"/>
                      <a:pt x="125" y="163"/>
                      <a:pt x="125" y="163"/>
                    </a:cubicBezTo>
                    <a:cubicBezTo>
                      <a:pt x="125" y="163"/>
                      <a:pt x="125" y="164"/>
                      <a:pt x="125" y="164"/>
                    </a:cubicBezTo>
                    <a:cubicBezTo>
                      <a:pt x="125" y="164"/>
                      <a:pt x="125" y="163"/>
                      <a:pt x="125" y="163"/>
                    </a:cubicBezTo>
                    <a:close/>
                    <a:moveTo>
                      <a:pt x="125" y="144"/>
                    </a:moveTo>
                    <a:cubicBezTo>
                      <a:pt x="124" y="144"/>
                      <a:pt x="124" y="144"/>
                      <a:pt x="124" y="144"/>
                    </a:cubicBezTo>
                    <a:cubicBezTo>
                      <a:pt x="125" y="144"/>
                      <a:pt x="125" y="144"/>
                      <a:pt x="125" y="144"/>
                    </a:cubicBezTo>
                    <a:cubicBezTo>
                      <a:pt x="126" y="143"/>
                      <a:pt x="126" y="143"/>
                      <a:pt x="126" y="143"/>
                    </a:cubicBezTo>
                    <a:lnTo>
                      <a:pt x="125" y="144"/>
                    </a:lnTo>
                    <a:close/>
                    <a:moveTo>
                      <a:pt x="126" y="166"/>
                    </a:moveTo>
                    <a:cubicBezTo>
                      <a:pt x="126" y="166"/>
                      <a:pt x="126" y="166"/>
                      <a:pt x="126" y="166"/>
                    </a:cubicBezTo>
                    <a:cubicBezTo>
                      <a:pt x="126" y="166"/>
                      <a:pt x="126" y="166"/>
                      <a:pt x="126" y="166"/>
                    </a:cubicBezTo>
                    <a:cubicBezTo>
                      <a:pt x="126" y="166"/>
                      <a:pt x="126" y="166"/>
                      <a:pt x="126" y="166"/>
                    </a:cubicBezTo>
                    <a:cubicBezTo>
                      <a:pt x="126" y="166"/>
                      <a:pt x="126" y="166"/>
                      <a:pt x="126" y="166"/>
                    </a:cubicBezTo>
                    <a:close/>
                    <a:moveTo>
                      <a:pt x="128" y="143"/>
                    </a:moveTo>
                    <a:cubicBezTo>
                      <a:pt x="128" y="144"/>
                      <a:pt x="128" y="144"/>
                      <a:pt x="128" y="144"/>
                    </a:cubicBezTo>
                    <a:cubicBezTo>
                      <a:pt x="128" y="143"/>
                      <a:pt x="128" y="143"/>
                      <a:pt x="128" y="143"/>
                    </a:cubicBezTo>
                    <a:cubicBezTo>
                      <a:pt x="129" y="141"/>
                      <a:pt x="129" y="141"/>
                      <a:pt x="129" y="141"/>
                    </a:cubicBezTo>
                    <a:lnTo>
                      <a:pt x="128" y="143"/>
                    </a:lnTo>
                    <a:close/>
                    <a:moveTo>
                      <a:pt x="128" y="126"/>
                    </a:moveTo>
                    <a:cubicBezTo>
                      <a:pt x="128" y="126"/>
                      <a:pt x="128" y="126"/>
                      <a:pt x="128" y="126"/>
                    </a:cubicBezTo>
                    <a:cubicBezTo>
                      <a:pt x="129" y="126"/>
                      <a:pt x="129" y="126"/>
                      <a:pt x="129" y="126"/>
                    </a:cubicBezTo>
                    <a:lnTo>
                      <a:pt x="128" y="126"/>
                    </a:lnTo>
                    <a:close/>
                    <a:moveTo>
                      <a:pt x="129" y="125"/>
                    </a:moveTo>
                    <a:cubicBezTo>
                      <a:pt x="129" y="123"/>
                      <a:pt x="129" y="123"/>
                      <a:pt x="129" y="123"/>
                    </a:cubicBezTo>
                    <a:cubicBezTo>
                      <a:pt x="128" y="122"/>
                      <a:pt x="128" y="122"/>
                      <a:pt x="128" y="122"/>
                    </a:cubicBezTo>
                    <a:cubicBezTo>
                      <a:pt x="127" y="121"/>
                      <a:pt x="127" y="121"/>
                      <a:pt x="127" y="121"/>
                    </a:cubicBezTo>
                    <a:cubicBezTo>
                      <a:pt x="127" y="121"/>
                      <a:pt x="126" y="121"/>
                      <a:pt x="126" y="121"/>
                    </a:cubicBezTo>
                    <a:cubicBezTo>
                      <a:pt x="124" y="122"/>
                      <a:pt x="124" y="122"/>
                      <a:pt x="124" y="122"/>
                    </a:cubicBezTo>
                    <a:cubicBezTo>
                      <a:pt x="124" y="122"/>
                      <a:pt x="124" y="122"/>
                      <a:pt x="124" y="122"/>
                    </a:cubicBezTo>
                    <a:cubicBezTo>
                      <a:pt x="126" y="121"/>
                      <a:pt x="126" y="121"/>
                      <a:pt x="126" y="121"/>
                    </a:cubicBezTo>
                    <a:cubicBezTo>
                      <a:pt x="126" y="121"/>
                      <a:pt x="127" y="121"/>
                      <a:pt x="127" y="121"/>
                    </a:cubicBezTo>
                    <a:cubicBezTo>
                      <a:pt x="128" y="122"/>
                      <a:pt x="128" y="122"/>
                      <a:pt x="128" y="122"/>
                    </a:cubicBezTo>
                    <a:cubicBezTo>
                      <a:pt x="129" y="123"/>
                      <a:pt x="129" y="123"/>
                      <a:pt x="129" y="123"/>
                    </a:cubicBezTo>
                    <a:cubicBezTo>
                      <a:pt x="129" y="125"/>
                      <a:pt x="129" y="125"/>
                      <a:pt x="129" y="125"/>
                    </a:cubicBezTo>
                    <a:close/>
                    <a:moveTo>
                      <a:pt x="124" y="93"/>
                    </a:moveTo>
                    <a:cubicBezTo>
                      <a:pt x="120" y="97"/>
                      <a:pt x="120" y="97"/>
                      <a:pt x="120" y="97"/>
                    </a:cubicBezTo>
                    <a:cubicBezTo>
                      <a:pt x="124" y="93"/>
                      <a:pt x="124" y="93"/>
                      <a:pt x="124" y="93"/>
                    </a:cubicBezTo>
                    <a:cubicBezTo>
                      <a:pt x="132" y="86"/>
                      <a:pt x="132" y="86"/>
                      <a:pt x="132" y="86"/>
                    </a:cubicBezTo>
                    <a:cubicBezTo>
                      <a:pt x="132" y="86"/>
                      <a:pt x="132" y="86"/>
                      <a:pt x="132" y="86"/>
                    </a:cubicBezTo>
                    <a:lnTo>
                      <a:pt x="124" y="93"/>
                    </a:lnTo>
                    <a:close/>
                    <a:moveTo>
                      <a:pt x="130" y="128"/>
                    </a:moveTo>
                    <a:cubicBezTo>
                      <a:pt x="131" y="128"/>
                      <a:pt x="131" y="128"/>
                      <a:pt x="131" y="128"/>
                    </a:cubicBezTo>
                    <a:cubicBezTo>
                      <a:pt x="131" y="128"/>
                      <a:pt x="131" y="128"/>
                      <a:pt x="131" y="128"/>
                    </a:cubicBezTo>
                    <a:cubicBezTo>
                      <a:pt x="130" y="128"/>
                      <a:pt x="130" y="128"/>
                      <a:pt x="130" y="128"/>
                    </a:cubicBezTo>
                    <a:close/>
                    <a:moveTo>
                      <a:pt x="131" y="140"/>
                    </a:moveTo>
                    <a:cubicBezTo>
                      <a:pt x="131" y="140"/>
                      <a:pt x="131" y="140"/>
                      <a:pt x="131" y="140"/>
                    </a:cubicBezTo>
                    <a:cubicBezTo>
                      <a:pt x="132" y="138"/>
                      <a:pt x="132" y="138"/>
                      <a:pt x="132" y="138"/>
                    </a:cubicBezTo>
                    <a:cubicBezTo>
                      <a:pt x="132" y="138"/>
                      <a:pt x="132" y="138"/>
                      <a:pt x="132" y="138"/>
                    </a:cubicBezTo>
                    <a:lnTo>
                      <a:pt x="131" y="140"/>
                    </a:lnTo>
                    <a:close/>
                    <a:moveTo>
                      <a:pt x="131" y="130"/>
                    </a:moveTo>
                    <a:cubicBezTo>
                      <a:pt x="130" y="129"/>
                      <a:pt x="130" y="129"/>
                      <a:pt x="130" y="129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132" y="130"/>
                      <a:pt x="132" y="130"/>
                      <a:pt x="132" y="130"/>
                    </a:cubicBezTo>
                    <a:cubicBezTo>
                      <a:pt x="132" y="130"/>
                      <a:pt x="132" y="130"/>
                      <a:pt x="132" y="130"/>
                    </a:cubicBezTo>
                    <a:lnTo>
                      <a:pt x="131" y="130"/>
                    </a:lnTo>
                    <a:close/>
                    <a:moveTo>
                      <a:pt x="132" y="140"/>
                    </a:moveTo>
                    <a:cubicBezTo>
                      <a:pt x="132" y="140"/>
                      <a:pt x="132" y="140"/>
                      <a:pt x="132" y="140"/>
                    </a:cubicBezTo>
                    <a:cubicBezTo>
                      <a:pt x="132" y="140"/>
                      <a:pt x="132" y="140"/>
                      <a:pt x="132" y="140"/>
                    </a:cubicBezTo>
                    <a:cubicBezTo>
                      <a:pt x="133" y="140"/>
                      <a:pt x="133" y="140"/>
                      <a:pt x="133" y="140"/>
                    </a:cubicBezTo>
                    <a:lnTo>
                      <a:pt x="132" y="140"/>
                    </a:lnTo>
                    <a:close/>
                    <a:moveTo>
                      <a:pt x="135" y="133"/>
                    </a:moveTo>
                    <a:cubicBezTo>
                      <a:pt x="135" y="133"/>
                      <a:pt x="135" y="133"/>
                      <a:pt x="135" y="133"/>
                    </a:cubicBezTo>
                    <a:cubicBezTo>
                      <a:pt x="135" y="133"/>
                      <a:pt x="135" y="133"/>
                      <a:pt x="135" y="133"/>
                    </a:cubicBezTo>
                    <a:cubicBezTo>
                      <a:pt x="134" y="133"/>
                      <a:pt x="134" y="133"/>
                      <a:pt x="134" y="133"/>
                    </a:cubicBezTo>
                    <a:lnTo>
                      <a:pt x="135" y="133"/>
                    </a:lnTo>
                    <a:close/>
                    <a:moveTo>
                      <a:pt x="136" y="139"/>
                    </a:moveTo>
                    <a:cubicBezTo>
                      <a:pt x="135" y="139"/>
                      <a:pt x="135" y="139"/>
                      <a:pt x="135" y="139"/>
                    </a:cubicBezTo>
                    <a:cubicBezTo>
                      <a:pt x="135" y="139"/>
                      <a:pt x="135" y="139"/>
                      <a:pt x="135" y="139"/>
                    </a:cubicBezTo>
                    <a:cubicBezTo>
                      <a:pt x="136" y="139"/>
                      <a:pt x="136" y="139"/>
                      <a:pt x="136" y="139"/>
                    </a:cubicBezTo>
                    <a:cubicBezTo>
                      <a:pt x="137" y="139"/>
                      <a:pt x="137" y="139"/>
                      <a:pt x="137" y="139"/>
                    </a:cubicBezTo>
                    <a:lnTo>
                      <a:pt x="136" y="139"/>
                    </a:lnTo>
                    <a:close/>
                    <a:moveTo>
                      <a:pt x="140" y="144"/>
                    </a:moveTo>
                    <a:cubicBezTo>
                      <a:pt x="139" y="143"/>
                      <a:pt x="139" y="143"/>
                      <a:pt x="139" y="143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0" y="144"/>
                      <a:pt x="140" y="144"/>
                      <a:pt x="140" y="144"/>
                    </a:cubicBezTo>
                    <a:close/>
                    <a:moveTo>
                      <a:pt x="140" y="141"/>
                    </a:moveTo>
                    <a:cubicBezTo>
                      <a:pt x="140" y="141"/>
                      <a:pt x="140" y="141"/>
                      <a:pt x="140" y="141"/>
                    </a:cubicBezTo>
                    <a:cubicBezTo>
                      <a:pt x="140" y="141"/>
                      <a:pt x="140" y="141"/>
                      <a:pt x="140" y="141"/>
                    </a:cubicBezTo>
                    <a:cubicBezTo>
                      <a:pt x="139" y="141"/>
                      <a:pt x="139" y="141"/>
                      <a:pt x="139" y="141"/>
                    </a:cubicBezTo>
                    <a:cubicBezTo>
                      <a:pt x="140" y="141"/>
                      <a:pt x="140" y="141"/>
                      <a:pt x="140" y="141"/>
                    </a:cubicBezTo>
                    <a:cubicBezTo>
                      <a:pt x="140" y="141"/>
                      <a:pt x="140" y="141"/>
                      <a:pt x="140" y="141"/>
                    </a:cubicBezTo>
                    <a:close/>
                    <a:moveTo>
                      <a:pt x="142" y="144"/>
                    </a:moveTo>
                    <a:cubicBezTo>
                      <a:pt x="142" y="144"/>
                      <a:pt x="142" y="144"/>
                      <a:pt x="142" y="144"/>
                    </a:cubicBezTo>
                    <a:cubicBezTo>
                      <a:pt x="142" y="144"/>
                      <a:pt x="142" y="144"/>
                      <a:pt x="142" y="144"/>
                    </a:cubicBezTo>
                    <a:cubicBezTo>
                      <a:pt x="143" y="144"/>
                      <a:pt x="143" y="144"/>
                      <a:pt x="143" y="144"/>
                    </a:cubicBezTo>
                    <a:lnTo>
                      <a:pt x="142" y="144"/>
                    </a:lnTo>
                    <a:close/>
                    <a:moveTo>
                      <a:pt x="144" y="147"/>
                    </a:moveTo>
                    <a:cubicBezTo>
                      <a:pt x="143" y="146"/>
                      <a:pt x="143" y="146"/>
                      <a:pt x="143" y="146"/>
                    </a:cubicBezTo>
                    <a:cubicBezTo>
                      <a:pt x="144" y="147"/>
                      <a:pt x="144" y="147"/>
                      <a:pt x="144" y="147"/>
                    </a:cubicBezTo>
                    <a:cubicBezTo>
                      <a:pt x="144" y="148"/>
                      <a:pt x="144" y="148"/>
                      <a:pt x="144" y="148"/>
                    </a:cubicBezTo>
                    <a:lnTo>
                      <a:pt x="144" y="147"/>
                    </a:lnTo>
                    <a:close/>
                    <a:moveTo>
                      <a:pt x="145" y="148"/>
                    </a:moveTo>
                    <a:cubicBezTo>
                      <a:pt x="145" y="148"/>
                      <a:pt x="145" y="148"/>
                      <a:pt x="145" y="148"/>
                    </a:cubicBezTo>
                    <a:cubicBezTo>
                      <a:pt x="146" y="148"/>
                      <a:pt x="146" y="148"/>
                      <a:pt x="146" y="148"/>
                    </a:cubicBezTo>
                    <a:cubicBezTo>
                      <a:pt x="146" y="148"/>
                      <a:pt x="146" y="148"/>
                      <a:pt x="146" y="148"/>
                    </a:cubicBezTo>
                    <a:lnTo>
                      <a:pt x="145" y="148"/>
                    </a:lnTo>
                    <a:close/>
                    <a:moveTo>
                      <a:pt x="152" y="150"/>
                    </a:moveTo>
                    <a:cubicBezTo>
                      <a:pt x="150" y="148"/>
                      <a:pt x="150" y="148"/>
                      <a:pt x="150" y="148"/>
                    </a:cubicBezTo>
                    <a:cubicBezTo>
                      <a:pt x="148" y="148"/>
                      <a:pt x="148" y="148"/>
                      <a:pt x="148" y="148"/>
                    </a:cubicBezTo>
                    <a:cubicBezTo>
                      <a:pt x="148" y="148"/>
                      <a:pt x="148" y="148"/>
                      <a:pt x="148" y="148"/>
                    </a:cubicBezTo>
                    <a:cubicBezTo>
                      <a:pt x="148" y="148"/>
                      <a:pt x="148" y="148"/>
                      <a:pt x="148" y="148"/>
                    </a:cubicBezTo>
                    <a:cubicBezTo>
                      <a:pt x="150" y="148"/>
                      <a:pt x="150" y="148"/>
                      <a:pt x="150" y="148"/>
                    </a:cubicBezTo>
                    <a:cubicBezTo>
                      <a:pt x="152" y="150"/>
                      <a:pt x="152" y="150"/>
                      <a:pt x="152" y="150"/>
                    </a:cubicBezTo>
                    <a:close/>
                    <a:moveTo>
                      <a:pt x="152" y="149"/>
                    </a:moveTo>
                    <a:cubicBezTo>
                      <a:pt x="152" y="149"/>
                      <a:pt x="152" y="149"/>
                      <a:pt x="152" y="149"/>
                    </a:cubicBezTo>
                    <a:cubicBezTo>
                      <a:pt x="153" y="150"/>
                      <a:pt x="153" y="150"/>
                      <a:pt x="153" y="150"/>
                    </a:cubicBezTo>
                    <a:lnTo>
                      <a:pt x="152" y="149"/>
                    </a:lnTo>
                    <a:close/>
                    <a:moveTo>
                      <a:pt x="154" y="161"/>
                    </a:moveTo>
                    <a:cubicBezTo>
                      <a:pt x="153" y="161"/>
                      <a:pt x="153" y="161"/>
                      <a:pt x="153" y="161"/>
                    </a:cubicBezTo>
                    <a:cubicBezTo>
                      <a:pt x="154" y="161"/>
                      <a:pt x="154" y="161"/>
                      <a:pt x="154" y="161"/>
                    </a:cubicBezTo>
                    <a:close/>
                    <a:moveTo>
                      <a:pt x="154" y="160"/>
                    </a:moveTo>
                    <a:cubicBezTo>
                      <a:pt x="155" y="160"/>
                      <a:pt x="155" y="160"/>
                      <a:pt x="155" y="160"/>
                    </a:cubicBezTo>
                    <a:cubicBezTo>
                      <a:pt x="155" y="160"/>
                      <a:pt x="155" y="160"/>
                      <a:pt x="155" y="160"/>
                    </a:cubicBezTo>
                    <a:lnTo>
                      <a:pt x="154" y="160"/>
                    </a:lnTo>
                    <a:close/>
                    <a:moveTo>
                      <a:pt x="157" y="159"/>
                    </a:moveTo>
                    <a:cubicBezTo>
                      <a:pt x="155" y="160"/>
                      <a:pt x="155" y="160"/>
                      <a:pt x="155" y="160"/>
                    </a:cubicBezTo>
                    <a:cubicBezTo>
                      <a:pt x="157" y="159"/>
                      <a:pt x="157" y="159"/>
                      <a:pt x="157" y="159"/>
                    </a:cubicBezTo>
                    <a:close/>
                    <a:moveTo>
                      <a:pt x="158" y="158"/>
                    </a:moveTo>
                    <a:cubicBezTo>
                      <a:pt x="158" y="157"/>
                      <a:pt x="158" y="157"/>
                      <a:pt x="158" y="157"/>
                    </a:cubicBezTo>
                    <a:cubicBezTo>
                      <a:pt x="157" y="156"/>
                      <a:pt x="157" y="156"/>
                      <a:pt x="157" y="156"/>
                    </a:cubicBezTo>
                    <a:cubicBezTo>
                      <a:pt x="158" y="155"/>
                      <a:pt x="158" y="155"/>
                      <a:pt x="158" y="155"/>
                    </a:cubicBezTo>
                    <a:cubicBezTo>
                      <a:pt x="157" y="155"/>
                      <a:pt x="157" y="155"/>
                      <a:pt x="157" y="155"/>
                    </a:cubicBezTo>
                    <a:cubicBezTo>
                      <a:pt x="157" y="155"/>
                      <a:pt x="157" y="155"/>
                      <a:pt x="157" y="155"/>
                    </a:cubicBezTo>
                    <a:cubicBezTo>
                      <a:pt x="157" y="155"/>
                      <a:pt x="157" y="155"/>
                      <a:pt x="157" y="155"/>
                    </a:cubicBezTo>
                    <a:cubicBezTo>
                      <a:pt x="158" y="155"/>
                      <a:pt x="158" y="155"/>
                      <a:pt x="158" y="155"/>
                    </a:cubicBezTo>
                    <a:cubicBezTo>
                      <a:pt x="157" y="156"/>
                      <a:pt x="157" y="156"/>
                      <a:pt x="157" y="156"/>
                    </a:cubicBezTo>
                    <a:cubicBezTo>
                      <a:pt x="158" y="157"/>
                      <a:pt x="158" y="157"/>
                      <a:pt x="158" y="157"/>
                    </a:cubicBezTo>
                    <a:lnTo>
                      <a:pt x="158" y="158"/>
                    </a:lnTo>
                    <a:close/>
                    <a:moveTo>
                      <a:pt x="158" y="153"/>
                    </a:moveTo>
                    <a:cubicBezTo>
                      <a:pt x="158" y="152"/>
                      <a:pt x="158" y="152"/>
                      <a:pt x="158" y="152"/>
                    </a:cubicBezTo>
                    <a:cubicBezTo>
                      <a:pt x="156" y="150"/>
                      <a:pt x="156" y="150"/>
                      <a:pt x="156" y="150"/>
                    </a:cubicBezTo>
                    <a:cubicBezTo>
                      <a:pt x="156" y="150"/>
                      <a:pt x="156" y="150"/>
                      <a:pt x="156" y="150"/>
                    </a:cubicBezTo>
                    <a:cubicBezTo>
                      <a:pt x="155" y="151"/>
                      <a:pt x="155" y="151"/>
                      <a:pt x="155" y="151"/>
                    </a:cubicBezTo>
                    <a:cubicBezTo>
                      <a:pt x="154" y="149"/>
                      <a:pt x="154" y="149"/>
                      <a:pt x="154" y="149"/>
                    </a:cubicBezTo>
                    <a:cubicBezTo>
                      <a:pt x="154" y="149"/>
                      <a:pt x="154" y="149"/>
                      <a:pt x="154" y="149"/>
                    </a:cubicBezTo>
                    <a:cubicBezTo>
                      <a:pt x="155" y="151"/>
                      <a:pt x="155" y="151"/>
                      <a:pt x="155" y="151"/>
                    </a:cubicBezTo>
                    <a:cubicBezTo>
                      <a:pt x="156" y="150"/>
                      <a:pt x="156" y="150"/>
                      <a:pt x="156" y="150"/>
                    </a:cubicBezTo>
                    <a:cubicBezTo>
                      <a:pt x="156" y="150"/>
                      <a:pt x="156" y="150"/>
                      <a:pt x="156" y="150"/>
                    </a:cubicBezTo>
                    <a:cubicBezTo>
                      <a:pt x="158" y="152"/>
                      <a:pt x="158" y="152"/>
                      <a:pt x="158" y="152"/>
                    </a:cubicBezTo>
                    <a:cubicBezTo>
                      <a:pt x="158" y="153"/>
                      <a:pt x="158" y="153"/>
                      <a:pt x="158" y="153"/>
                    </a:cubicBezTo>
                    <a:cubicBezTo>
                      <a:pt x="158" y="153"/>
                      <a:pt x="159" y="153"/>
                      <a:pt x="159" y="153"/>
                    </a:cubicBezTo>
                    <a:cubicBezTo>
                      <a:pt x="159" y="153"/>
                      <a:pt x="158" y="153"/>
                      <a:pt x="158" y="153"/>
                    </a:cubicBezTo>
                    <a:close/>
                    <a:moveTo>
                      <a:pt x="159" y="180"/>
                    </a:moveTo>
                    <a:cubicBezTo>
                      <a:pt x="159" y="179"/>
                      <a:pt x="160" y="179"/>
                      <a:pt x="160" y="179"/>
                    </a:cubicBezTo>
                    <a:cubicBezTo>
                      <a:pt x="160" y="179"/>
                      <a:pt x="160" y="179"/>
                      <a:pt x="160" y="179"/>
                    </a:cubicBezTo>
                    <a:cubicBezTo>
                      <a:pt x="160" y="179"/>
                      <a:pt x="159" y="179"/>
                      <a:pt x="159" y="180"/>
                    </a:cubicBezTo>
                    <a:close/>
                    <a:moveTo>
                      <a:pt x="161" y="180"/>
                    </a:moveTo>
                    <a:cubicBezTo>
                      <a:pt x="161" y="180"/>
                      <a:pt x="161" y="180"/>
                      <a:pt x="161" y="180"/>
                    </a:cubicBezTo>
                    <a:cubicBezTo>
                      <a:pt x="162" y="180"/>
                      <a:pt x="162" y="180"/>
                      <a:pt x="162" y="180"/>
                    </a:cubicBezTo>
                    <a:cubicBezTo>
                      <a:pt x="162" y="180"/>
                      <a:pt x="162" y="180"/>
                      <a:pt x="162" y="180"/>
                    </a:cubicBezTo>
                    <a:lnTo>
                      <a:pt x="161" y="180"/>
                    </a:lnTo>
                    <a:close/>
                    <a:moveTo>
                      <a:pt x="144" y="233"/>
                    </a:moveTo>
                    <a:cubicBezTo>
                      <a:pt x="142" y="237"/>
                      <a:pt x="142" y="237"/>
                      <a:pt x="142" y="237"/>
                    </a:cubicBezTo>
                    <a:cubicBezTo>
                      <a:pt x="144" y="233"/>
                      <a:pt x="144" y="233"/>
                      <a:pt x="144" y="233"/>
                    </a:cubicBezTo>
                    <a:cubicBezTo>
                      <a:pt x="144" y="226"/>
                      <a:pt x="144" y="226"/>
                      <a:pt x="144" y="226"/>
                    </a:cubicBezTo>
                    <a:cubicBezTo>
                      <a:pt x="144" y="226"/>
                      <a:pt x="144" y="226"/>
                      <a:pt x="144" y="226"/>
                    </a:cubicBezTo>
                    <a:lnTo>
                      <a:pt x="144" y="233"/>
                    </a:lnTo>
                    <a:close/>
                    <a:moveTo>
                      <a:pt x="145" y="223"/>
                    </a:moveTo>
                    <a:cubicBezTo>
                      <a:pt x="146" y="222"/>
                      <a:pt x="146" y="222"/>
                      <a:pt x="146" y="222"/>
                    </a:cubicBezTo>
                    <a:cubicBezTo>
                      <a:pt x="146" y="223"/>
                      <a:pt x="146" y="223"/>
                      <a:pt x="146" y="223"/>
                    </a:cubicBezTo>
                    <a:lnTo>
                      <a:pt x="145" y="223"/>
                    </a:lnTo>
                    <a:close/>
                    <a:moveTo>
                      <a:pt x="146" y="218"/>
                    </a:moveTo>
                    <a:cubicBezTo>
                      <a:pt x="147" y="218"/>
                      <a:pt x="147" y="218"/>
                      <a:pt x="147" y="218"/>
                    </a:cubicBezTo>
                    <a:cubicBezTo>
                      <a:pt x="146" y="218"/>
                      <a:pt x="146" y="218"/>
                      <a:pt x="146" y="218"/>
                    </a:cubicBezTo>
                    <a:close/>
                    <a:moveTo>
                      <a:pt x="148" y="228"/>
                    </a:moveTo>
                    <a:cubicBezTo>
                      <a:pt x="147" y="228"/>
                      <a:pt x="147" y="228"/>
                      <a:pt x="147" y="228"/>
                    </a:cubicBezTo>
                    <a:cubicBezTo>
                      <a:pt x="148" y="228"/>
                      <a:pt x="148" y="228"/>
                      <a:pt x="148" y="228"/>
                    </a:cubicBezTo>
                    <a:close/>
                    <a:moveTo>
                      <a:pt x="209" y="261"/>
                    </a:move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8" y="261"/>
                      <a:pt x="208" y="261"/>
                      <a:pt x="208" y="261"/>
                    </a:cubicBezTo>
                    <a:lnTo>
                      <a:pt x="209" y="261"/>
                    </a:lnTo>
                    <a:close/>
                    <a:moveTo>
                      <a:pt x="208" y="271"/>
                    </a:moveTo>
                    <a:cubicBezTo>
                      <a:pt x="207" y="267"/>
                      <a:pt x="207" y="267"/>
                      <a:pt x="207" y="267"/>
                    </a:cubicBezTo>
                    <a:cubicBezTo>
                      <a:pt x="207" y="267"/>
                      <a:pt x="207" y="267"/>
                      <a:pt x="207" y="267"/>
                    </a:cubicBezTo>
                    <a:cubicBezTo>
                      <a:pt x="208" y="271"/>
                      <a:pt x="208" y="271"/>
                      <a:pt x="208" y="271"/>
                    </a:cubicBezTo>
                    <a:cubicBezTo>
                      <a:pt x="206" y="279"/>
                      <a:pt x="206" y="279"/>
                      <a:pt x="206" y="279"/>
                    </a:cubicBezTo>
                    <a:lnTo>
                      <a:pt x="208" y="271"/>
                    </a:lnTo>
                    <a:close/>
                    <a:moveTo>
                      <a:pt x="196" y="282"/>
                    </a:moveTo>
                    <a:cubicBezTo>
                      <a:pt x="196" y="282"/>
                      <a:pt x="196" y="282"/>
                      <a:pt x="196" y="282"/>
                    </a:cubicBezTo>
                    <a:cubicBezTo>
                      <a:pt x="196" y="282"/>
                      <a:pt x="196" y="282"/>
                      <a:pt x="196" y="282"/>
                    </a:cubicBezTo>
                    <a:cubicBezTo>
                      <a:pt x="196" y="282"/>
                      <a:pt x="196" y="282"/>
                      <a:pt x="196" y="282"/>
                    </a:cubicBezTo>
                    <a:close/>
                    <a:moveTo>
                      <a:pt x="196" y="284"/>
                    </a:moveTo>
                    <a:cubicBezTo>
                      <a:pt x="197" y="285"/>
                      <a:pt x="197" y="286"/>
                      <a:pt x="198" y="286"/>
                    </a:cubicBezTo>
                    <a:cubicBezTo>
                      <a:pt x="197" y="286"/>
                      <a:pt x="197" y="285"/>
                      <a:pt x="196" y="284"/>
                    </a:cubicBezTo>
                    <a:close/>
                    <a:moveTo>
                      <a:pt x="198" y="266"/>
                    </a:moveTo>
                    <a:cubicBezTo>
                      <a:pt x="198" y="266"/>
                      <a:pt x="199" y="266"/>
                      <a:pt x="201" y="267"/>
                    </a:cubicBezTo>
                    <a:cubicBezTo>
                      <a:pt x="199" y="266"/>
                      <a:pt x="198" y="266"/>
                      <a:pt x="198" y="266"/>
                    </a:cubicBezTo>
                    <a:cubicBezTo>
                      <a:pt x="197" y="266"/>
                      <a:pt x="197" y="265"/>
                      <a:pt x="197" y="264"/>
                    </a:cubicBezTo>
                    <a:cubicBezTo>
                      <a:pt x="197" y="265"/>
                      <a:pt x="197" y="266"/>
                      <a:pt x="198" y="266"/>
                    </a:cubicBezTo>
                    <a:close/>
                    <a:moveTo>
                      <a:pt x="188" y="166"/>
                    </a:moveTo>
                    <a:cubicBezTo>
                      <a:pt x="188" y="166"/>
                      <a:pt x="188" y="166"/>
                      <a:pt x="188" y="166"/>
                    </a:cubicBezTo>
                    <a:cubicBezTo>
                      <a:pt x="188" y="166"/>
                      <a:pt x="188" y="166"/>
                      <a:pt x="188" y="166"/>
                    </a:cubicBezTo>
                    <a:cubicBezTo>
                      <a:pt x="188" y="166"/>
                      <a:pt x="188" y="166"/>
                      <a:pt x="188" y="166"/>
                    </a:cubicBezTo>
                    <a:close/>
                    <a:moveTo>
                      <a:pt x="187" y="199"/>
                    </a:moveTo>
                    <a:cubicBezTo>
                      <a:pt x="187" y="199"/>
                      <a:pt x="187" y="199"/>
                      <a:pt x="187" y="199"/>
                    </a:cubicBezTo>
                    <a:cubicBezTo>
                      <a:pt x="187" y="199"/>
                      <a:pt x="187" y="199"/>
                      <a:pt x="187" y="199"/>
                    </a:cubicBezTo>
                    <a:cubicBezTo>
                      <a:pt x="187" y="199"/>
                      <a:pt x="187" y="199"/>
                      <a:pt x="187" y="199"/>
                    </a:cubicBezTo>
                    <a:close/>
                    <a:moveTo>
                      <a:pt x="187" y="189"/>
                    </a:moveTo>
                    <a:cubicBezTo>
                      <a:pt x="187" y="189"/>
                      <a:pt x="187" y="189"/>
                      <a:pt x="187" y="189"/>
                    </a:cubicBezTo>
                    <a:cubicBezTo>
                      <a:pt x="187" y="189"/>
                      <a:pt x="187" y="189"/>
                      <a:pt x="187" y="189"/>
                    </a:cubicBezTo>
                    <a:cubicBezTo>
                      <a:pt x="187" y="189"/>
                      <a:pt x="187" y="189"/>
                      <a:pt x="187" y="189"/>
                    </a:cubicBezTo>
                    <a:close/>
                    <a:moveTo>
                      <a:pt x="187" y="164"/>
                    </a:moveTo>
                    <a:cubicBezTo>
                      <a:pt x="187" y="164"/>
                      <a:pt x="187" y="164"/>
                      <a:pt x="187" y="164"/>
                    </a:cubicBezTo>
                    <a:cubicBezTo>
                      <a:pt x="186" y="162"/>
                      <a:pt x="186" y="162"/>
                      <a:pt x="186" y="162"/>
                    </a:cubicBezTo>
                    <a:lnTo>
                      <a:pt x="187" y="164"/>
                    </a:lnTo>
                    <a:close/>
                    <a:moveTo>
                      <a:pt x="186" y="149"/>
                    </a:moveTo>
                    <a:cubicBezTo>
                      <a:pt x="187" y="148"/>
                      <a:pt x="186" y="149"/>
                      <a:pt x="186" y="148"/>
                    </a:cubicBezTo>
                    <a:cubicBezTo>
                      <a:pt x="186" y="148"/>
                      <a:pt x="186" y="147"/>
                      <a:pt x="186" y="147"/>
                    </a:cubicBezTo>
                    <a:cubicBezTo>
                      <a:pt x="186" y="147"/>
                      <a:pt x="186" y="147"/>
                      <a:pt x="186" y="147"/>
                    </a:cubicBezTo>
                    <a:cubicBezTo>
                      <a:pt x="186" y="147"/>
                      <a:pt x="186" y="148"/>
                      <a:pt x="186" y="148"/>
                    </a:cubicBezTo>
                    <a:cubicBezTo>
                      <a:pt x="186" y="149"/>
                      <a:pt x="187" y="148"/>
                      <a:pt x="186" y="149"/>
                    </a:cubicBezTo>
                    <a:cubicBezTo>
                      <a:pt x="186" y="149"/>
                      <a:pt x="186" y="149"/>
                      <a:pt x="186" y="149"/>
                    </a:cubicBezTo>
                    <a:cubicBezTo>
                      <a:pt x="186" y="149"/>
                      <a:pt x="186" y="149"/>
                      <a:pt x="186" y="149"/>
                    </a:cubicBezTo>
                    <a:close/>
                    <a:moveTo>
                      <a:pt x="186" y="165"/>
                    </a:moveTo>
                    <a:cubicBezTo>
                      <a:pt x="187" y="164"/>
                      <a:pt x="187" y="164"/>
                      <a:pt x="187" y="164"/>
                    </a:cubicBezTo>
                    <a:cubicBezTo>
                      <a:pt x="186" y="165"/>
                      <a:pt x="186" y="165"/>
                      <a:pt x="186" y="165"/>
                    </a:cubicBezTo>
                    <a:cubicBezTo>
                      <a:pt x="186" y="165"/>
                      <a:pt x="185" y="165"/>
                      <a:pt x="185" y="165"/>
                    </a:cubicBezTo>
                    <a:cubicBezTo>
                      <a:pt x="185" y="165"/>
                      <a:pt x="186" y="165"/>
                      <a:pt x="186" y="165"/>
                    </a:cubicBezTo>
                    <a:close/>
                    <a:moveTo>
                      <a:pt x="185" y="168"/>
                    </a:moveTo>
                    <a:cubicBezTo>
                      <a:pt x="186" y="168"/>
                      <a:pt x="186" y="167"/>
                      <a:pt x="186" y="167"/>
                    </a:cubicBezTo>
                    <a:cubicBezTo>
                      <a:pt x="186" y="167"/>
                      <a:pt x="186" y="167"/>
                      <a:pt x="186" y="167"/>
                    </a:cubicBezTo>
                    <a:cubicBezTo>
                      <a:pt x="186" y="167"/>
                      <a:pt x="186" y="168"/>
                      <a:pt x="185" y="168"/>
                    </a:cubicBezTo>
                    <a:cubicBezTo>
                      <a:pt x="185" y="169"/>
                      <a:pt x="185" y="169"/>
                      <a:pt x="184" y="169"/>
                    </a:cubicBezTo>
                    <a:cubicBezTo>
                      <a:pt x="183" y="170"/>
                      <a:pt x="183" y="170"/>
                      <a:pt x="183" y="170"/>
                    </a:cubicBezTo>
                    <a:cubicBezTo>
                      <a:pt x="184" y="169"/>
                      <a:pt x="184" y="169"/>
                      <a:pt x="184" y="169"/>
                    </a:cubicBezTo>
                    <a:cubicBezTo>
                      <a:pt x="185" y="169"/>
                      <a:pt x="185" y="169"/>
                      <a:pt x="185" y="168"/>
                    </a:cubicBezTo>
                    <a:close/>
                    <a:moveTo>
                      <a:pt x="184" y="150"/>
                    </a:moveTo>
                    <a:cubicBezTo>
                      <a:pt x="184" y="150"/>
                      <a:pt x="184" y="150"/>
                      <a:pt x="184" y="150"/>
                    </a:cubicBezTo>
                    <a:cubicBezTo>
                      <a:pt x="184" y="150"/>
                      <a:pt x="184" y="150"/>
                      <a:pt x="184" y="150"/>
                    </a:cubicBezTo>
                    <a:cubicBezTo>
                      <a:pt x="183" y="150"/>
                      <a:pt x="183" y="149"/>
                      <a:pt x="183" y="149"/>
                    </a:cubicBezTo>
                    <a:cubicBezTo>
                      <a:pt x="183" y="149"/>
                      <a:pt x="183" y="150"/>
                      <a:pt x="184" y="150"/>
                    </a:cubicBezTo>
                    <a:close/>
                    <a:moveTo>
                      <a:pt x="182" y="160"/>
                    </a:moveTo>
                    <a:cubicBezTo>
                      <a:pt x="183" y="160"/>
                      <a:pt x="183" y="160"/>
                      <a:pt x="183" y="160"/>
                    </a:cubicBezTo>
                    <a:cubicBezTo>
                      <a:pt x="183" y="160"/>
                      <a:pt x="183" y="160"/>
                      <a:pt x="183" y="160"/>
                    </a:cubicBezTo>
                    <a:cubicBezTo>
                      <a:pt x="182" y="160"/>
                      <a:pt x="182" y="160"/>
                      <a:pt x="182" y="160"/>
                    </a:cubicBezTo>
                    <a:cubicBezTo>
                      <a:pt x="181" y="160"/>
                      <a:pt x="181" y="160"/>
                      <a:pt x="181" y="160"/>
                    </a:cubicBezTo>
                    <a:cubicBezTo>
                      <a:pt x="181" y="160"/>
                      <a:pt x="181" y="158"/>
                      <a:pt x="181" y="158"/>
                    </a:cubicBezTo>
                    <a:cubicBezTo>
                      <a:pt x="181" y="158"/>
                      <a:pt x="181" y="158"/>
                      <a:pt x="181" y="158"/>
                    </a:cubicBezTo>
                    <a:cubicBezTo>
                      <a:pt x="181" y="158"/>
                      <a:pt x="181" y="160"/>
                      <a:pt x="181" y="160"/>
                    </a:cubicBezTo>
                    <a:lnTo>
                      <a:pt x="182" y="160"/>
                    </a:lnTo>
                    <a:close/>
                    <a:moveTo>
                      <a:pt x="183" y="169"/>
                    </a:moveTo>
                    <a:cubicBezTo>
                      <a:pt x="183" y="169"/>
                      <a:pt x="183" y="169"/>
                      <a:pt x="183" y="169"/>
                    </a:cubicBezTo>
                    <a:cubicBezTo>
                      <a:pt x="183" y="169"/>
                      <a:pt x="183" y="169"/>
                      <a:pt x="183" y="169"/>
                    </a:cubicBezTo>
                    <a:cubicBezTo>
                      <a:pt x="183" y="169"/>
                      <a:pt x="183" y="169"/>
                      <a:pt x="183" y="169"/>
                    </a:cubicBezTo>
                    <a:close/>
                    <a:moveTo>
                      <a:pt x="182" y="169"/>
                    </a:moveTo>
                    <a:cubicBezTo>
                      <a:pt x="182" y="170"/>
                      <a:pt x="182" y="170"/>
                      <a:pt x="182" y="170"/>
                    </a:cubicBezTo>
                    <a:cubicBezTo>
                      <a:pt x="182" y="171"/>
                      <a:pt x="182" y="171"/>
                      <a:pt x="182" y="171"/>
                    </a:cubicBezTo>
                    <a:cubicBezTo>
                      <a:pt x="182" y="171"/>
                      <a:pt x="182" y="171"/>
                      <a:pt x="182" y="171"/>
                    </a:cubicBezTo>
                    <a:cubicBezTo>
                      <a:pt x="182" y="171"/>
                      <a:pt x="182" y="171"/>
                      <a:pt x="182" y="171"/>
                    </a:cubicBezTo>
                    <a:cubicBezTo>
                      <a:pt x="182" y="170"/>
                      <a:pt x="182" y="170"/>
                      <a:pt x="182" y="170"/>
                    </a:cubicBezTo>
                    <a:cubicBezTo>
                      <a:pt x="182" y="170"/>
                      <a:pt x="182" y="170"/>
                      <a:pt x="182" y="169"/>
                    </a:cubicBezTo>
                    <a:close/>
                    <a:moveTo>
                      <a:pt x="180" y="174"/>
                    </a:moveTo>
                    <a:cubicBezTo>
                      <a:pt x="181" y="174"/>
                      <a:pt x="181" y="173"/>
                      <a:pt x="181" y="173"/>
                    </a:cubicBezTo>
                    <a:cubicBezTo>
                      <a:pt x="181" y="173"/>
                      <a:pt x="181" y="173"/>
                      <a:pt x="181" y="173"/>
                    </a:cubicBezTo>
                    <a:cubicBezTo>
                      <a:pt x="181" y="173"/>
                      <a:pt x="181" y="173"/>
                      <a:pt x="181" y="173"/>
                    </a:cubicBezTo>
                    <a:cubicBezTo>
                      <a:pt x="181" y="173"/>
                      <a:pt x="181" y="173"/>
                      <a:pt x="181" y="173"/>
                    </a:cubicBezTo>
                    <a:cubicBezTo>
                      <a:pt x="181" y="173"/>
                      <a:pt x="181" y="173"/>
                      <a:pt x="181" y="173"/>
                    </a:cubicBezTo>
                    <a:cubicBezTo>
                      <a:pt x="181" y="173"/>
                      <a:pt x="181" y="174"/>
                      <a:pt x="180" y="174"/>
                    </a:cubicBezTo>
                    <a:close/>
                    <a:moveTo>
                      <a:pt x="180" y="154"/>
                    </a:moveTo>
                    <a:cubicBezTo>
                      <a:pt x="181" y="153"/>
                      <a:pt x="181" y="153"/>
                      <a:pt x="181" y="153"/>
                    </a:cubicBezTo>
                    <a:cubicBezTo>
                      <a:pt x="181" y="153"/>
                      <a:pt x="181" y="153"/>
                      <a:pt x="181" y="153"/>
                    </a:cubicBezTo>
                    <a:lnTo>
                      <a:pt x="180" y="154"/>
                    </a:lnTo>
                    <a:close/>
                    <a:moveTo>
                      <a:pt x="181" y="150"/>
                    </a:moveTo>
                    <a:cubicBezTo>
                      <a:pt x="181" y="149"/>
                      <a:pt x="181" y="149"/>
                      <a:pt x="181" y="149"/>
                    </a:cubicBezTo>
                    <a:cubicBezTo>
                      <a:pt x="181" y="149"/>
                      <a:pt x="181" y="149"/>
                      <a:pt x="181" y="149"/>
                    </a:cubicBezTo>
                    <a:cubicBezTo>
                      <a:pt x="181" y="149"/>
                      <a:pt x="181" y="149"/>
                      <a:pt x="181" y="149"/>
                    </a:cubicBezTo>
                    <a:cubicBezTo>
                      <a:pt x="181" y="150"/>
                      <a:pt x="181" y="150"/>
                      <a:pt x="181" y="150"/>
                    </a:cubicBezTo>
                    <a:cubicBezTo>
                      <a:pt x="181" y="150"/>
                      <a:pt x="181" y="150"/>
                      <a:pt x="181" y="150"/>
                    </a:cubicBezTo>
                    <a:close/>
                    <a:moveTo>
                      <a:pt x="180" y="152"/>
                    </a:moveTo>
                    <a:cubicBezTo>
                      <a:pt x="180" y="153"/>
                      <a:pt x="180" y="153"/>
                      <a:pt x="180" y="153"/>
                    </a:cubicBezTo>
                    <a:cubicBezTo>
                      <a:pt x="181" y="153"/>
                      <a:pt x="181" y="153"/>
                      <a:pt x="181" y="153"/>
                    </a:cubicBezTo>
                    <a:cubicBezTo>
                      <a:pt x="180" y="153"/>
                      <a:pt x="180" y="153"/>
                      <a:pt x="180" y="153"/>
                    </a:cubicBezTo>
                    <a:lnTo>
                      <a:pt x="180" y="152"/>
                    </a:lnTo>
                    <a:close/>
                    <a:moveTo>
                      <a:pt x="180" y="174"/>
                    </a:moveTo>
                    <a:cubicBezTo>
                      <a:pt x="180" y="174"/>
                      <a:pt x="180" y="175"/>
                      <a:pt x="180" y="175"/>
                    </a:cubicBezTo>
                    <a:cubicBezTo>
                      <a:pt x="180" y="175"/>
                      <a:pt x="180" y="175"/>
                      <a:pt x="180" y="176"/>
                    </a:cubicBezTo>
                    <a:cubicBezTo>
                      <a:pt x="180" y="176"/>
                      <a:pt x="181" y="177"/>
                      <a:pt x="182" y="178"/>
                    </a:cubicBezTo>
                    <a:cubicBezTo>
                      <a:pt x="182" y="179"/>
                      <a:pt x="182" y="179"/>
                      <a:pt x="182" y="179"/>
                    </a:cubicBezTo>
                    <a:cubicBezTo>
                      <a:pt x="182" y="179"/>
                      <a:pt x="182" y="180"/>
                      <a:pt x="182" y="180"/>
                    </a:cubicBezTo>
                    <a:cubicBezTo>
                      <a:pt x="182" y="180"/>
                      <a:pt x="182" y="180"/>
                      <a:pt x="182" y="180"/>
                    </a:cubicBezTo>
                    <a:cubicBezTo>
                      <a:pt x="182" y="180"/>
                      <a:pt x="182" y="180"/>
                      <a:pt x="182" y="180"/>
                    </a:cubicBezTo>
                    <a:cubicBezTo>
                      <a:pt x="182" y="180"/>
                      <a:pt x="182" y="179"/>
                      <a:pt x="182" y="179"/>
                    </a:cubicBezTo>
                    <a:cubicBezTo>
                      <a:pt x="182" y="178"/>
                      <a:pt x="182" y="178"/>
                      <a:pt x="182" y="178"/>
                    </a:cubicBezTo>
                    <a:cubicBezTo>
                      <a:pt x="181" y="177"/>
                      <a:pt x="180" y="176"/>
                      <a:pt x="180" y="176"/>
                    </a:cubicBezTo>
                    <a:cubicBezTo>
                      <a:pt x="180" y="175"/>
                      <a:pt x="180" y="175"/>
                      <a:pt x="180" y="175"/>
                    </a:cubicBezTo>
                    <a:cubicBezTo>
                      <a:pt x="180" y="175"/>
                      <a:pt x="180" y="174"/>
                      <a:pt x="180" y="174"/>
                    </a:cubicBezTo>
                    <a:close/>
                    <a:moveTo>
                      <a:pt x="180" y="187"/>
                    </a:moveTo>
                    <a:cubicBezTo>
                      <a:pt x="181" y="188"/>
                      <a:pt x="181" y="188"/>
                      <a:pt x="181" y="188"/>
                    </a:cubicBezTo>
                    <a:cubicBezTo>
                      <a:pt x="181" y="188"/>
                      <a:pt x="181" y="188"/>
                      <a:pt x="181" y="189"/>
                    </a:cubicBezTo>
                    <a:cubicBezTo>
                      <a:pt x="181" y="188"/>
                      <a:pt x="181" y="188"/>
                      <a:pt x="181" y="188"/>
                    </a:cubicBezTo>
                    <a:cubicBezTo>
                      <a:pt x="180" y="187"/>
                      <a:pt x="180" y="187"/>
                      <a:pt x="180" y="187"/>
                    </a:cubicBezTo>
                    <a:cubicBezTo>
                      <a:pt x="179" y="187"/>
                      <a:pt x="179" y="187"/>
                      <a:pt x="179" y="187"/>
                    </a:cubicBezTo>
                    <a:lnTo>
                      <a:pt x="180" y="187"/>
                    </a:lnTo>
                    <a:close/>
                    <a:moveTo>
                      <a:pt x="179" y="188"/>
                    </a:moveTo>
                    <a:cubicBezTo>
                      <a:pt x="180" y="189"/>
                      <a:pt x="180" y="189"/>
                      <a:pt x="180" y="189"/>
                    </a:cubicBezTo>
                    <a:cubicBezTo>
                      <a:pt x="179" y="190"/>
                      <a:pt x="179" y="190"/>
                      <a:pt x="179" y="190"/>
                    </a:cubicBezTo>
                    <a:cubicBezTo>
                      <a:pt x="179" y="190"/>
                      <a:pt x="179" y="190"/>
                      <a:pt x="179" y="190"/>
                    </a:cubicBezTo>
                    <a:cubicBezTo>
                      <a:pt x="180" y="189"/>
                      <a:pt x="180" y="189"/>
                      <a:pt x="180" y="189"/>
                    </a:cubicBezTo>
                    <a:lnTo>
                      <a:pt x="179" y="188"/>
                    </a:lnTo>
                    <a:close/>
                    <a:moveTo>
                      <a:pt x="180" y="197"/>
                    </a:moveTo>
                    <a:cubicBezTo>
                      <a:pt x="179" y="198"/>
                      <a:pt x="179" y="198"/>
                      <a:pt x="179" y="198"/>
                    </a:cubicBezTo>
                    <a:cubicBezTo>
                      <a:pt x="180" y="197"/>
                      <a:pt x="180" y="197"/>
                      <a:pt x="180" y="197"/>
                    </a:cubicBezTo>
                    <a:close/>
                    <a:moveTo>
                      <a:pt x="179" y="225"/>
                    </a:moveTo>
                    <a:cubicBezTo>
                      <a:pt x="179" y="225"/>
                      <a:pt x="180" y="226"/>
                      <a:pt x="181" y="226"/>
                    </a:cubicBezTo>
                    <a:cubicBezTo>
                      <a:pt x="181" y="226"/>
                      <a:pt x="181" y="226"/>
                      <a:pt x="181" y="226"/>
                    </a:cubicBezTo>
                    <a:cubicBezTo>
                      <a:pt x="180" y="226"/>
                      <a:pt x="179" y="225"/>
                      <a:pt x="179" y="225"/>
                    </a:cubicBezTo>
                    <a:close/>
                    <a:moveTo>
                      <a:pt x="179" y="156"/>
                    </a:moveTo>
                    <a:cubicBezTo>
                      <a:pt x="179" y="155"/>
                      <a:pt x="179" y="155"/>
                      <a:pt x="179" y="155"/>
                    </a:cubicBezTo>
                    <a:cubicBezTo>
                      <a:pt x="179" y="156"/>
                      <a:pt x="179" y="156"/>
                      <a:pt x="179" y="156"/>
                    </a:cubicBezTo>
                    <a:cubicBezTo>
                      <a:pt x="179" y="157"/>
                      <a:pt x="179" y="157"/>
                      <a:pt x="179" y="157"/>
                    </a:cubicBezTo>
                    <a:cubicBezTo>
                      <a:pt x="179" y="157"/>
                      <a:pt x="179" y="157"/>
                      <a:pt x="179" y="157"/>
                    </a:cubicBezTo>
                    <a:cubicBezTo>
                      <a:pt x="179" y="157"/>
                      <a:pt x="179" y="157"/>
                      <a:pt x="179" y="157"/>
                    </a:cubicBezTo>
                    <a:lnTo>
                      <a:pt x="179" y="156"/>
                    </a:lnTo>
                    <a:close/>
                    <a:moveTo>
                      <a:pt x="179" y="187"/>
                    </a:moveTo>
                    <a:cubicBezTo>
                      <a:pt x="178" y="187"/>
                      <a:pt x="178" y="187"/>
                      <a:pt x="178" y="187"/>
                    </a:cubicBezTo>
                    <a:cubicBezTo>
                      <a:pt x="179" y="187"/>
                      <a:pt x="179" y="187"/>
                      <a:pt x="179" y="187"/>
                    </a:cubicBezTo>
                    <a:cubicBezTo>
                      <a:pt x="178" y="187"/>
                      <a:pt x="178" y="187"/>
                      <a:pt x="178" y="187"/>
                    </a:cubicBezTo>
                    <a:cubicBezTo>
                      <a:pt x="179" y="187"/>
                      <a:pt x="179" y="187"/>
                      <a:pt x="179" y="187"/>
                    </a:cubicBezTo>
                    <a:close/>
                    <a:moveTo>
                      <a:pt x="177" y="195"/>
                    </a:moveTo>
                    <a:cubicBezTo>
                      <a:pt x="177" y="195"/>
                      <a:pt x="177" y="195"/>
                      <a:pt x="177" y="195"/>
                    </a:cubicBezTo>
                    <a:cubicBezTo>
                      <a:pt x="177" y="195"/>
                      <a:pt x="177" y="195"/>
                      <a:pt x="177" y="195"/>
                    </a:cubicBezTo>
                    <a:cubicBezTo>
                      <a:pt x="177" y="195"/>
                      <a:pt x="177" y="195"/>
                      <a:pt x="177" y="195"/>
                    </a:cubicBezTo>
                    <a:cubicBezTo>
                      <a:pt x="176" y="194"/>
                      <a:pt x="176" y="194"/>
                      <a:pt x="176" y="194"/>
                    </a:cubicBezTo>
                    <a:cubicBezTo>
                      <a:pt x="176" y="194"/>
                      <a:pt x="176" y="194"/>
                      <a:pt x="176" y="194"/>
                    </a:cubicBezTo>
                    <a:lnTo>
                      <a:pt x="177" y="195"/>
                    </a:lnTo>
                    <a:close/>
                    <a:moveTo>
                      <a:pt x="177" y="213"/>
                    </a:moveTo>
                    <a:cubicBezTo>
                      <a:pt x="175" y="211"/>
                      <a:pt x="175" y="211"/>
                      <a:pt x="175" y="211"/>
                    </a:cubicBezTo>
                    <a:cubicBezTo>
                      <a:pt x="175" y="210"/>
                      <a:pt x="175" y="210"/>
                      <a:pt x="175" y="210"/>
                    </a:cubicBezTo>
                    <a:cubicBezTo>
                      <a:pt x="175" y="210"/>
                      <a:pt x="175" y="210"/>
                      <a:pt x="175" y="210"/>
                    </a:cubicBezTo>
                    <a:cubicBezTo>
                      <a:pt x="175" y="210"/>
                      <a:pt x="175" y="210"/>
                      <a:pt x="175" y="210"/>
                    </a:cubicBezTo>
                    <a:cubicBezTo>
                      <a:pt x="175" y="211"/>
                      <a:pt x="175" y="211"/>
                      <a:pt x="175" y="211"/>
                    </a:cubicBezTo>
                    <a:cubicBezTo>
                      <a:pt x="177" y="213"/>
                      <a:pt x="177" y="213"/>
                      <a:pt x="177" y="213"/>
                    </a:cubicBezTo>
                    <a:cubicBezTo>
                      <a:pt x="178" y="213"/>
                      <a:pt x="178" y="213"/>
                      <a:pt x="178" y="213"/>
                    </a:cubicBezTo>
                    <a:cubicBezTo>
                      <a:pt x="177" y="215"/>
                      <a:pt x="177" y="215"/>
                      <a:pt x="177" y="215"/>
                    </a:cubicBezTo>
                    <a:cubicBezTo>
                      <a:pt x="177" y="215"/>
                      <a:pt x="177" y="215"/>
                      <a:pt x="177" y="215"/>
                    </a:cubicBezTo>
                    <a:cubicBezTo>
                      <a:pt x="177" y="215"/>
                      <a:pt x="177" y="215"/>
                      <a:pt x="177" y="215"/>
                    </a:cubicBezTo>
                    <a:cubicBezTo>
                      <a:pt x="178" y="213"/>
                      <a:pt x="178" y="213"/>
                      <a:pt x="178" y="213"/>
                    </a:cubicBezTo>
                    <a:lnTo>
                      <a:pt x="177" y="213"/>
                    </a:lnTo>
                    <a:close/>
                    <a:moveTo>
                      <a:pt x="177" y="189"/>
                    </a:moveTo>
                    <a:cubicBezTo>
                      <a:pt x="177" y="190"/>
                      <a:pt x="177" y="190"/>
                      <a:pt x="177" y="190"/>
                    </a:cubicBezTo>
                    <a:cubicBezTo>
                      <a:pt x="177" y="190"/>
                      <a:pt x="177" y="190"/>
                      <a:pt x="177" y="190"/>
                    </a:cubicBezTo>
                    <a:cubicBezTo>
                      <a:pt x="177" y="189"/>
                      <a:pt x="177" y="189"/>
                      <a:pt x="177" y="189"/>
                    </a:cubicBezTo>
                    <a:cubicBezTo>
                      <a:pt x="176" y="189"/>
                      <a:pt x="176" y="189"/>
                      <a:pt x="176" y="189"/>
                    </a:cubicBezTo>
                    <a:lnTo>
                      <a:pt x="177" y="189"/>
                    </a:lnTo>
                    <a:close/>
                    <a:moveTo>
                      <a:pt x="176" y="189"/>
                    </a:moveTo>
                    <a:cubicBezTo>
                      <a:pt x="176" y="189"/>
                      <a:pt x="176" y="189"/>
                      <a:pt x="176" y="189"/>
                    </a:cubicBezTo>
                    <a:cubicBezTo>
                      <a:pt x="174" y="190"/>
                      <a:pt x="174" y="190"/>
                      <a:pt x="174" y="190"/>
                    </a:cubicBezTo>
                    <a:cubicBezTo>
                      <a:pt x="176" y="191"/>
                      <a:pt x="176" y="191"/>
                      <a:pt x="176" y="191"/>
                    </a:cubicBezTo>
                    <a:cubicBezTo>
                      <a:pt x="175" y="192"/>
                      <a:pt x="175" y="192"/>
                      <a:pt x="175" y="192"/>
                    </a:cubicBezTo>
                    <a:cubicBezTo>
                      <a:pt x="176" y="193"/>
                      <a:pt x="176" y="193"/>
                      <a:pt x="176" y="193"/>
                    </a:cubicBezTo>
                    <a:cubicBezTo>
                      <a:pt x="175" y="192"/>
                      <a:pt x="175" y="192"/>
                      <a:pt x="175" y="192"/>
                    </a:cubicBezTo>
                    <a:cubicBezTo>
                      <a:pt x="176" y="191"/>
                      <a:pt x="176" y="191"/>
                      <a:pt x="176" y="191"/>
                    </a:cubicBezTo>
                    <a:cubicBezTo>
                      <a:pt x="174" y="190"/>
                      <a:pt x="174" y="190"/>
                      <a:pt x="174" y="190"/>
                    </a:cubicBezTo>
                    <a:cubicBezTo>
                      <a:pt x="169" y="190"/>
                      <a:pt x="169" y="190"/>
                      <a:pt x="169" y="190"/>
                    </a:cubicBezTo>
                    <a:cubicBezTo>
                      <a:pt x="169" y="190"/>
                      <a:pt x="169" y="190"/>
                      <a:pt x="169" y="190"/>
                    </a:cubicBezTo>
                    <a:cubicBezTo>
                      <a:pt x="174" y="190"/>
                      <a:pt x="174" y="190"/>
                      <a:pt x="174" y="190"/>
                    </a:cubicBezTo>
                    <a:cubicBezTo>
                      <a:pt x="174" y="190"/>
                      <a:pt x="174" y="190"/>
                      <a:pt x="174" y="190"/>
                    </a:cubicBezTo>
                    <a:lnTo>
                      <a:pt x="176" y="189"/>
                    </a:lnTo>
                    <a:close/>
                    <a:moveTo>
                      <a:pt x="170" y="193"/>
                    </a:moveTo>
                    <a:cubicBezTo>
                      <a:pt x="170" y="193"/>
                      <a:pt x="170" y="193"/>
                      <a:pt x="170" y="193"/>
                    </a:cubicBezTo>
                    <a:cubicBezTo>
                      <a:pt x="170" y="192"/>
                      <a:pt x="170" y="192"/>
                      <a:pt x="170" y="192"/>
                    </a:cubicBezTo>
                    <a:lnTo>
                      <a:pt x="170" y="193"/>
                    </a:lnTo>
                    <a:close/>
                    <a:moveTo>
                      <a:pt x="173" y="183"/>
                    </a:moveTo>
                    <a:cubicBezTo>
                      <a:pt x="174" y="183"/>
                      <a:pt x="174" y="183"/>
                      <a:pt x="174" y="183"/>
                    </a:cubicBezTo>
                    <a:cubicBezTo>
                      <a:pt x="174" y="183"/>
                      <a:pt x="174" y="183"/>
                      <a:pt x="174" y="183"/>
                    </a:cubicBezTo>
                    <a:lnTo>
                      <a:pt x="173" y="183"/>
                    </a:lnTo>
                    <a:close/>
                    <a:moveTo>
                      <a:pt x="171" y="177"/>
                    </a:moveTo>
                    <a:cubicBezTo>
                      <a:pt x="172" y="178"/>
                      <a:pt x="172" y="178"/>
                      <a:pt x="172" y="178"/>
                    </a:cubicBezTo>
                    <a:cubicBezTo>
                      <a:pt x="173" y="178"/>
                      <a:pt x="173" y="178"/>
                      <a:pt x="173" y="178"/>
                    </a:cubicBezTo>
                    <a:cubicBezTo>
                      <a:pt x="173" y="178"/>
                      <a:pt x="173" y="178"/>
                      <a:pt x="173" y="178"/>
                    </a:cubicBezTo>
                    <a:cubicBezTo>
                      <a:pt x="173" y="178"/>
                      <a:pt x="173" y="178"/>
                      <a:pt x="173" y="178"/>
                    </a:cubicBezTo>
                    <a:cubicBezTo>
                      <a:pt x="174" y="178"/>
                      <a:pt x="174" y="178"/>
                      <a:pt x="174" y="178"/>
                    </a:cubicBezTo>
                    <a:cubicBezTo>
                      <a:pt x="174" y="179"/>
                      <a:pt x="174" y="179"/>
                      <a:pt x="174" y="179"/>
                    </a:cubicBezTo>
                    <a:cubicBezTo>
                      <a:pt x="175" y="181"/>
                      <a:pt x="175" y="181"/>
                      <a:pt x="175" y="181"/>
                    </a:cubicBezTo>
                    <a:cubicBezTo>
                      <a:pt x="175" y="181"/>
                      <a:pt x="175" y="181"/>
                      <a:pt x="175" y="181"/>
                    </a:cubicBezTo>
                    <a:cubicBezTo>
                      <a:pt x="175" y="182"/>
                      <a:pt x="175" y="182"/>
                      <a:pt x="175" y="182"/>
                    </a:cubicBezTo>
                    <a:cubicBezTo>
                      <a:pt x="175" y="183"/>
                      <a:pt x="175" y="183"/>
                      <a:pt x="175" y="183"/>
                    </a:cubicBezTo>
                    <a:cubicBezTo>
                      <a:pt x="175" y="183"/>
                      <a:pt x="175" y="183"/>
                      <a:pt x="175" y="183"/>
                    </a:cubicBezTo>
                    <a:cubicBezTo>
                      <a:pt x="175" y="183"/>
                      <a:pt x="175" y="183"/>
                      <a:pt x="175" y="183"/>
                    </a:cubicBezTo>
                    <a:cubicBezTo>
                      <a:pt x="175" y="183"/>
                      <a:pt x="175" y="183"/>
                      <a:pt x="175" y="183"/>
                    </a:cubicBezTo>
                    <a:cubicBezTo>
                      <a:pt x="174" y="183"/>
                      <a:pt x="174" y="183"/>
                      <a:pt x="174" y="183"/>
                    </a:cubicBezTo>
                    <a:cubicBezTo>
                      <a:pt x="175" y="183"/>
                      <a:pt x="175" y="183"/>
                      <a:pt x="175" y="183"/>
                    </a:cubicBezTo>
                    <a:cubicBezTo>
                      <a:pt x="175" y="181"/>
                      <a:pt x="175" y="181"/>
                      <a:pt x="175" y="181"/>
                    </a:cubicBezTo>
                    <a:cubicBezTo>
                      <a:pt x="174" y="179"/>
                      <a:pt x="174" y="179"/>
                      <a:pt x="174" y="179"/>
                    </a:cubicBezTo>
                    <a:cubicBezTo>
                      <a:pt x="173" y="178"/>
                      <a:pt x="173" y="178"/>
                      <a:pt x="173" y="178"/>
                    </a:cubicBezTo>
                    <a:cubicBezTo>
                      <a:pt x="172" y="178"/>
                      <a:pt x="172" y="178"/>
                      <a:pt x="172" y="178"/>
                    </a:cubicBezTo>
                    <a:cubicBezTo>
                      <a:pt x="171" y="177"/>
                      <a:pt x="171" y="177"/>
                      <a:pt x="171" y="177"/>
                    </a:cubicBezTo>
                    <a:close/>
                    <a:moveTo>
                      <a:pt x="171" y="184"/>
                    </a:moveTo>
                    <a:cubicBezTo>
                      <a:pt x="170" y="184"/>
                      <a:pt x="170" y="184"/>
                      <a:pt x="170" y="184"/>
                    </a:cubicBezTo>
                    <a:cubicBezTo>
                      <a:pt x="170" y="184"/>
                      <a:pt x="170" y="184"/>
                      <a:pt x="170" y="184"/>
                    </a:cubicBezTo>
                    <a:lnTo>
                      <a:pt x="171" y="184"/>
                    </a:lnTo>
                    <a:close/>
                    <a:moveTo>
                      <a:pt x="168" y="177"/>
                    </a:moveTo>
                    <a:cubicBezTo>
                      <a:pt x="169" y="178"/>
                      <a:pt x="169" y="178"/>
                      <a:pt x="169" y="178"/>
                    </a:cubicBezTo>
                    <a:cubicBezTo>
                      <a:pt x="170" y="178"/>
                      <a:pt x="170" y="178"/>
                      <a:pt x="170" y="178"/>
                    </a:cubicBezTo>
                    <a:cubicBezTo>
                      <a:pt x="169" y="178"/>
                      <a:pt x="169" y="178"/>
                      <a:pt x="169" y="178"/>
                    </a:cubicBezTo>
                    <a:cubicBezTo>
                      <a:pt x="168" y="177"/>
                      <a:pt x="168" y="177"/>
                      <a:pt x="168" y="177"/>
                    </a:cubicBezTo>
                    <a:close/>
                    <a:moveTo>
                      <a:pt x="167" y="178"/>
                    </a:moveTo>
                    <a:cubicBezTo>
                      <a:pt x="167" y="178"/>
                      <a:pt x="167" y="178"/>
                      <a:pt x="167" y="178"/>
                    </a:cubicBezTo>
                    <a:cubicBezTo>
                      <a:pt x="168" y="177"/>
                      <a:pt x="168" y="177"/>
                      <a:pt x="168" y="177"/>
                    </a:cubicBezTo>
                    <a:cubicBezTo>
                      <a:pt x="167" y="178"/>
                      <a:pt x="167" y="178"/>
                      <a:pt x="167" y="178"/>
                    </a:cubicBezTo>
                    <a:cubicBezTo>
                      <a:pt x="167" y="178"/>
                      <a:pt x="167" y="178"/>
                      <a:pt x="167" y="178"/>
                    </a:cubicBezTo>
                    <a:cubicBezTo>
                      <a:pt x="167" y="178"/>
                      <a:pt x="167" y="178"/>
                      <a:pt x="167" y="178"/>
                    </a:cubicBezTo>
                    <a:close/>
                    <a:moveTo>
                      <a:pt x="150" y="209"/>
                    </a:moveTo>
                    <a:cubicBezTo>
                      <a:pt x="151" y="209"/>
                      <a:pt x="151" y="208"/>
                      <a:pt x="152" y="208"/>
                    </a:cubicBezTo>
                    <a:cubicBezTo>
                      <a:pt x="153" y="208"/>
                      <a:pt x="153" y="208"/>
                      <a:pt x="153" y="208"/>
                    </a:cubicBezTo>
                    <a:cubicBezTo>
                      <a:pt x="153" y="208"/>
                      <a:pt x="153" y="208"/>
                      <a:pt x="152" y="208"/>
                    </a:cubicBezTo>
                    <a:cubicBezTo>
                      <a:pt x="151" y="208"/>
                      <a:pt x="151" y="209"/>
                      <a:pt x="150" y="209"/>
                    </a:cubicBezTo>
                    <a:cubicBezTo>
                      <a:pt x="150" y="209"/>
                      <a:pt x="150" y="209"/>
                      <a:pt x="150" y="209"/>
                    </a:cubicBezTo>
                    <a:cubicBezTo>
                      <a:pt x="150" y="209"/>
                      <a:pt x="150" y="209"/>
                      <a:pt x="150" y="209"/>
                    </a:cubicBezTo>
                    <a:close/>
                    <a:moveTo>
                      <a:pt x="148" y="209"/>
                    </a:moveTo>
                    <a:cubicBezTo>
                      <a:pt x="148" y="209"/>
                      <a:pt x="148" y="209"/>
                      <a:pt x="148" y="209"/>
                    </a:cubicBezTo>
                    <a:cubicBezTo>
                      <a:pt x="148" y="209"/>
                      <a:pt x="148" y="209"/>
                      <a:pt x="148" y="209"/>
                    </a:cubicBezTo>
                    <a:cubicBezTo>
                      <a:pt x="148" y="209"/>
                      <a:pt x="148" y="209"/>
                      <a:pt x="148" y="209"/>
                    </a:cubicBezTo>
                    <a:cubicBezTo>
                      <a:pt x="148" y="209"/>
                      <a:pt x="148" y="209"/>
                      <a:pt x="149" y="209"/>
                    </a:cubicBezTo>
                    <a:cubicBezTo>
                      <a:pt x="148" y="209"/>
                      <a:pt x="148" y="209"/>
                      <a:pt x="148" y="209"/>
                    </a:cubicBezTo>
                    <a:close/>
                    <a:moveTo>
                      <a:pt x="149" y="237"/>
                    </a:moveTo>
                    <a:cubicBezTo>
                      <a:pt x="149" y="237"/>
                      <a:pt x="149" y="237"/>
                      <a:pt x="149" y="237"/>
                    </a:cubicBezTo>
                    <a:cubicBezTo>
                      <a:pt x="149" y="237"/>
                      <a:pt x="149" y="237"/>
                      <a:pt x="149" y="237"/>
                    </a:cubicBezTo>
                    <a:close/>
                    <a:moveTo>
                      <a:pt x="150" y="236"/>
                    </a:moveTo>
                    <a:cubicBezTo>
                      <a:pt x="150" y="236"/>
                      <a:pt x="150" y="236"/>
                      <a:pt x="149" y="236"/>
                    </a:cubicBezTo>
                    <a:cubicBezTo>
                      <a:pt x="150" y="236"/>
                      <a:pt x="150" y="236"/>
                      <a:pt x="150" y="236"/>
                    </a:cubicBezTo>
                    <a:cubicBezTo>
                      <a:pt x="151" y="236"/>
                      <a:pt x="151" y="236"/>
                      <a:pt x="151" y="236"/>
                    </a:cubicBezTo>
                    <a:lnTo>
                      <a:pt x="150" y="236"/>
                    </a:lnTo>
                    <a:close/>
                    <a:moveTo>
                      <a:pt x="151" y="236"/>
                    </a:moveTo>
                    <a:cubicBezTo>
                      <a:pt x="149" y="231"/>
                      <a:pt x="149" y="231"/>
                      <a:pt x="149" y="231"/>
                    </a:cubicBezTo>
                    <a:cubicBezTo>
                      <a:pt x="149" y="231"/>
                      <a:pt x="149" y="231"/>
                      <a:pt x="149" y="231"/>
                    </a:cubicBezTo>
                    <a:cubicBezTo>
                      <a:pt x="151" y="236"/>
                      <a:pt x="151" y="236"/>
                      <a:pt x="151" y="236"/>
                    </a:cubicBezTo>
                    <a:close/>
                    <a:moveTo>
                      <a:pt x="155" y="227"/>
                    </a:moveTo>
                    <a:cubicBezTo>
                      <a:pt x="154" y="223"/>
                      <a:pt x="154" y="223"/>
                      <a:pt x="154" y="223"/>
                    </a:cubicBezTo>
                    <a:cubicBezTo>
                      <a:pt x="150" y="227"/>
                      <a:pt x="150" y="227"/>
                      <a:pt x="150" y="227"/>
                    </a:cubicBezTo>
                    <a:cubicBezTo>
                      <a:pt x="154" y="223"/>
                      <a:pt x="154" y="223"/>
                      <a:pt x="154" y="223"/>
                    </a:cubicBezTo>
                    <a:cubicBezTo>
                      <a:pt x="154" y="223"/>
                      <a:pt x="154" y="223"/>
                      <a:pt x="154" y="223"/>
                    </a:cubicBezTo>
                    <a:cubicBezTo>
                      <a:pt x="155" y="227"/>
                      <a:pt x="155" y="227"/>
                      <a:pt x="155" y="227"/>
                    </a:cubicBezTo>
                    <a:close/>
                    <a:moveTo>
                      <a:pt x="154" y="209"/>
                    </a:moveTo>
                    <a:cubicBezTo>
                      <a:pt x="154" y="209"/>
                      <a:pt x="154" y="209"/>
                      <a:pt x="154" y="209"/>
                    </a:cubicBezTo>
                    <a:cubicBezTo>
                      <a:pt x="157" y="209"/>
                      <a:pt x="157" y="209"/>
                      <a:pt x="157" y="209"/>
                    </a:cubicBezTo>
                    <a:cubicBezTo>
                      <a:pt x="157" y="209"/>
                      <a:pt x="157" y="209"/>
                      <a:pt x="157" y="209"/>
                    </a:cubicBezTo>
                    <a:lnTo>
                      <a:pt x="154" y="209"/>
                    </a:lnTo>
                    <a:close/>
                    <a:moveTo>
                      <a:pt x="161" y="230"/>
                    </a:moveTo>
                    <a:cubicBezTo>
                      <a:pt x="156" y="229"/>
                      <a:pt x="156" y="229"/>
                      <a:pt x="156" y="229"/>
                    </a:cubicBezTo>
                    <a:cubicBezTo>
                      <a:pt x="156" y="229"/>
                      <a:pt x="156" y="229"/>
                      <a:pt x="156" y="229"/>
                    </a:cubicBezTo>
                    <a:cubicBezTo>
                      <a:pt x="161" y="230"/>
                      <a:pt x="161" y="230"/>
                      <a:pt x="161" y="230"/>
                    </a:cubicBezTo>
                    <a:cubicBezTo>
                      <a:pt x="162" y="231"/>
                      <a:pt x="162" y="231"/>
                      <a:pt x="162" y="231"/>
                    </a:cubicBezTo>
                    <a:lnTo>
                      <a:pt x="161" y="230"/>
                    </a:lnTo>
                    <a:close/>
                    <a:moveTo>
                      <a:pt x="160" y="207"/>
                    </a:moveTo>
                    <a:cubicBezTo>
                      <a:pt x="158" y="209"/>
                      <a:pt x="158" y="209"/>
                      <a:pt x="158" y="209"/>
                    </a:cubicBezTo>
                    <a:cubicBezTo>
                      <a:pt x="160" y="207"/>
                      <a:pt x="160" y="207"/>
                      <a:pt x="160" y="207"/>
                    </a:cubicBezTo>
                    <a:cubicBezTo>
                      <a:pt x="163" y="207"/>
                      <a:pt x="163" y="207"/>
                      <a:pt x="163" y="207"/>
                    </a:cubicBezTo>
                    <a:cubicBezTo>
                      <a:pt x="166" y="207"/>
                      <a:pt x="166" y="207"/>
                      <a:pt x="166" y="207"/>
                    </a:cubicBezTo>
                    <a:cubicBezTo>
                      <a:pt x="163" y="207"/>
                      <a:pt x="163" y="207"/>
                      <a:pt x="163" y="207"/>
                    </a:cubicBezTo>
                    <a:lnTo>
                      <a:pt x="160" y="207"/>
                    </a:lnTo>
                    <a:close/>
                    <a:moveTo>
                      <a:pt x="163" y="210"/>
                    </a:moveTo>
                    <a:cubicBezTo>
                      <a:pt x="166" y="209"/>
                      <a:pt x="166" y="209"/>
                      <a:pt x="166" y="209"/>
                    </a:cubicBezTo>
                    <a:cubicBezTo>
                      <a:pt x="166" y="207"/>
                      <a:pt x="166" y="207"/>
                      <a:pt x="166" y="207"/>
                    </a:cubicBezTo>
                    <a:cubicBezTo>
                      <a:pt x="166" y="209"/>
                      <a:pt x="166" y="209"/>
                      <a:pt x="166" y="209"/>
                    </a:cubicBezTo>
                    <a:lnTo>
                      <a:pt x="163" y="210"/>
                    </a:lnTo>
                    <a:close/>
                    <a:moveTo>
                      <a:pt x="166" y="234"/>
                    </a:moveTo>
                    <a:cubicBezTo>
                      <a:pt x="165" y="233"/>
                      <a:pt x="165" y="233"/>
                      <a:pt x="165" y="233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6" y="234"/>
                      <a:pt x="166" y="234"/>
                      <a:pt x="167" y="235"/>
                    </a:cubicBezTo>
                    <a:cubicBezTo>
                      <a:pt x="166" y="234"/>
                      <a:pt x="166" y="234"/>
                      <a:pt x="166" y="234"/>
                    </a:cubicBezTo>
                    <a:close/>
                    <a:moveTo>
                      <a:pt x="166" y="188"/>
                    </a:moveTo>
                    <a:cubicBezTo>
                      <a:pt x="166" y="188"/>
                      <a:pt x="166" y="188"/>
                      <a:pt x="166" y="188"/>
                    </a:cubicBezTo>
                    <a:cubicBezTo>
                      <a:pt x="167" y="187"/>
                      <a:pt x="167" y="187"/>
                      <a:pt x="167" y="187"/>
                    </a:cubicBezTo>
                    <a:cubicBezTo>
                      <a:pt x="167" y="187"/>
                      <a:pt x="167" y="187"/>
                      <a:pt x="167" y="187"/>
                    </a:cubicBezTo>
                    <a:lnTo>
                      <a:pt x="166" y="188"/>
                    </a:lnTo>
                    <a:close/>
                    <a:moveTo>
                      <a:pt x="166" y="181"/>
                    </a:moveTo>
                    <a:cubicBezTo>
                      <a:pt x="165" y="181"/>
                      <a:pt x="165" y="181"/>
                      <a:pt x="165" y="181"/>
                    </a:cubicBezTo>
                    <a:cubicBezTo>
                      <a:pt x="165" y="181"/>
                      <a:pt x="164" y="181"/>
                      <a:pt x="164" y="181"/>
                    </a:cubicBezTo>
                    <a:cubicBezTo>
                      <a:pt x="164" y="181"/>
                      <a:pt x="163" y="181"/>
                      <a:pt x="163" y="181"/>
                    </a:cubicBezTo>
                    <a:cubicBezTo>
                      <a:pt x="163" y="181"/>
                      <a:pt x="164" y="181"/>
                      <a:pt x="164" y="181"/>
                    </a:cubicBezTo>
                    <a:cubicBezTo>
                      <a:pt x="164" y="181"/>
                      <a:pt x="165" y="181"/>
                      <a:pt x="165" y="181"/>
                    </a:cubicBezTo>
                    <a:cubicBezTo>
                      <a:pt x="166" y="181"/>
                      <a:pt x="166" y="181"/>
                      <a:pt x="166" y="181"/>
                    </a:cubicBezTo>
                    <a:cubicBezTo>
                      <a:pt x="166" y="181"/>
                      <a:pt x="166" y="181"/>
                      <a:pt x="166" y="181"/>
                    </a:cubicBezTo>
                    <a:cubicBezTo>
                      <a:pt x="166" y="181"/>
                      <a:pt x="166" y="181"/>
                      <a:pt x="166" y="181"/>
                    </a:cubicBezTo>
                    <a:cubicBezTo>
                      <a:pt x="168" y="181"/>
                      <a:pt x="168" y="181"/>
                      <a:pt x="168" y="181"/>
                    </a:cubicBezTo>
                    <a:cubicBezTo>
                      <a:pt x="170" y="183"/>
                      <a:pt x="170" y="183"/>
                      <a:pt x="170" y="183"/>
                    </a:cubicBezTo>
                    <a:cubicBezTo>
                      <a:pt x="170" y="183"/>
                      <a:pt x="170" y="183"/>
                      <a:pt x="170" y="183"/>
                    </a:cubicBezTo>
                    <a:cubicBezTo>
                      <a:pt x="170" y="184"/>
                      <a:pt x="170" y="184"/>
                      <a:pt x="170" y="184"/>
                    </a:cubicBezTo>
                    <a:cubicBezTo>
                      <a:pt x="170" y="183"/>
                      <a:pt x="170" y="183"/>
                      <a:pt x="170" y="183"/>
                    </a:cubicBezTo>
                    <a:cubicBezTo>
                      <a:pt x="170" y="183"/>
                      <a:pt x="170" y="183"/>
                      <a:pt x="170" y="183"/>
                    </a:cubicBezTo>
                    <a:cubicBezTo>
                      <a:pt x="168" y="181"/>
                      <a:pt x="168" y="181"/>
                      <a:pt x="168" y="181"/>
                    </a:cubicBezTo>
                    <a:lnTo>
                      <a:pt x="166" y="181"/>
                    </a:lnTo>
                    <a:close/>
                    <a:moveTo>
                      <a:pt x="168" y="236"/>
                    </a:moveTo>
                    <a:cubicBezTo>
                      <a:pt x="168" y="236"/>
                      <a:pt x="168" y="236"/>
                      <a:pt x="167" y="235"/>
                    </a:cubicBezTo>
                    <a:cubicBezTo>
                      <a:pt x="168" y="236"/>
                      <a:pt x="168" y="236"/>
                      <a:pt x="168" y="236"/>
                    </a:cubicBezTo>
                    <a:cubicBezTo>
                      <a:pt x="168" y="236"/>
                      <a:pt x="169" y="237"/>
                      <a:pt x="170" y="238"/>
                    </a:cubicBezTo>
                    <a:cubicBezTo>
                      <a:pt x="169" y="237"/>
                      <a:pt x="168" y="236"/>
                      <a:pt x="168" y="236"/>
                    </a:cubicBezTo>
                    <a:close/>
                    <a:moveTo>
                      <a:pt x="170" y="288"/>
                    </a:moveTo>
                    <a:cubicBezTo>
                      <a:pt x="169" y="288"/>
                      <a:pt x="169" y="288"/>
                      <a:pt x="169" y="288"/>
                    </a:cubicBezTo>
                    <a:cubicBezTo>
                      <a:pt x="168" y="290"/>
                      <a:pt x="168" y="290"/>
                      <a:pt x="168" y="290"/>
                    </a:cubicBezTo>
                    <a:cubicBezTo>
                      <a:pt x="169" y="288"/>
                      <a:pt x="169" y="288"/>
                      <a:pt x="169" y="288"/>
                    </a:cubicBezTo>
                    <a:cubicBezTo>
                      <a:pt x="170" y="288"/>
                      <a:pt x="170" y="288"/>
                      <a:pt x="170" y="288"/>
                    </a:cubicBezTo>
                    <a:cubicBezTo>
                      <a:pt x="171" y="288"/>
                      <a:pt x="171" y="288"/>
                      <a:pt x="171" y="288"/>
                    </a:cubicBezTo>
                    <a:lnTo>
                      <a:pt x="170" y="288"/>
                    </a:lnTo>
                    <a:close/>
                    <a:moveTo>
                      <a:pt x="171" y="207"/>
                    </a:moveTo>
                    <a:cubicBezTo>
                      <a:pt x="171" y="207"/>
                      <a:pt x="171" y="207"/>
                      <a:pt x="171" y="207"/>
                    </a:cubicBezTo>
                    <a:cubicBezTo>
                      <a:pt x="171" y="207"/>
                      <a:pt x="171" y="207"/>
                      <a:pt x="171" y="207"/>
                    </a:cubicBezTo>
                    <a:cubicBezTo>
                      <a:pt x="171" y="207"/>
                      <a:pt x="171" y="207"/>
                      <a:pt x="171" y="207"/>
                    </a:cubicBezTo>
                    <a:close/>
                    <a:moveTo>
                      <a:pt x="172" y="197"/>
                    </a:moveTo>
                    <a:cubicBezTo>
                      <a:pt x="171" y="198"/>
                      <a:pt x="171" y="198"/>
                      <a:pt x="171" y="198"/>
                    </a:cubicBezTo>
                    <a:cubicBezTo>
                      <a:pt x="171" y="200"/>
                      <a:pt x="171" y="200"/>
                      <a:pt x="171" y="200"/>
                    </a:cubicBezTo>
                    <a:cubicBezTo>
                      <a:pt x="171" y="198"/>
                      <a:pt x="171" y="198"/>
                      <a:pt x="171" y="198"/>
                    </a:cubicBezTo>
                    <a:cubicBezTo>
                      <a:pt x="172" y="197"/>
                      <a:pt x="172" y="197"/>
                      <a:pt x="172" y="197"/>
                    </a:cubicBezTo>
                    <a:cubicBezTo>
                      <a:pt x="172" y="197"/>
                      <a:pt x="172" y="197"/>
                      <a:pt x="172" y="197"/>
                    </a:cubicBezTo>
                    <a:close/>
                    <a:moveTo>
                      <a:pt x="173" y="196"/>
                    </a:moveTo>
                    <a:cubicBezTo>
                      <a:pt x="171" y="194"/>
                      <a:pt x="171" y="194"/>
                      <a:pt x="171" y="194"/>
                    </a:cubicBezTo>
                    <a:cubicBezTo>
                      <a:pt x="170" y="194"/>
                      <a:pt x="170" y="194"/>
                      <a:pt x="170" y="194"/>
                    </a:cubicBezTo>
                    <a:cubicBezTo>
                      <a:pt x="170" y="194"/>
                      <a:pt x="170" y="194"/>
                      <a:pt x="170" y="194"/>
                    </a:cubicBezTo>
                    <a:cubicBezTo>
                      <a:pt x="171" y="194"/>
                      <a:pt x="171" y="194"/>
                      <a:pt x="171" y="194"/>
                    </a:cubicBezTo>
                    <a:cubicBezTo>
                      <a:pt x="173" y="196"/>
                      <a:pt x="173" y="196"/>
                      <a:pt x="173" y="196"/>
                    </a:cubicBezTo>
                    <a:cubicBezTo>
                      <a:pt x="175" y="198"/>
                      <a:pt x="175" y="198"/>
                      <a:pt x="175" y="198"/>
                    </a:cubicBezTo>
                    <a:cubicBezTo>
                      <a:pt x="176" y="199"/>
                      <a:pt x="176" y="199"/>
                      <a:pt x="176" y="199"/>
                    </a:cubicBezTo>
                    <a:cubicBezTo>
                      <a:pt x="175" y="198"/>
                      <a:pt x="175" y="198"/>
                      <a:pt x="175" y="198"/>
                    </a:cubicBezTo>
                    <a:cubicBezTo>
                      <a:pt x="173" y="196"/>
                      <a:pt x="173" y="196"/>
                      <a:pt x="173" y="196"/>
                    </a:cubicBezTo>
                    <a:close/>
                    <a:moveTo>
                      <a:pt x="173" y="207"/>
                    </a:moveTo>
                    <a:cubicBezTo>
                      <a:pt x="173" y="206"/>
                      <a:pt x="173" y="206"/>
                      <a:pt x="173" y="206"/>
                    </a:cubicBezTo>
                    <a:cubicBezTo>
                      <a:pt x="173" y="207"/>
                      <a:pt x="173" y="207"/>
                      <a:pt x="173" y="207"/>
                    </a:cubicBezTo>
                    <a:close/>
                    <a:moveTo>
                      <a:pt x="178" y="295"/>
                    </a:moveTo>
                    <a:cubicBezTo>
                      <a:pt x="178" y="291"/>
                      <a:pt x="178" y="291"/>
                      <a:pt x="178" y="291"/>
                    </a:cubicBezTo>
                    <a:cubicBezTo>
                      <a:pt x="174" y="289"/>
                      <a:pt x="174" y="289"/>
                      <a:pt x="174" y="289"/>
                    </a:cubicBezTo>
                    <a:cubicBezTo>
                      <a:pt x="178" y="291"/>
                      <a:pt x="178" y="291"/>
                      <a:pt x="178" y="291"/>
                    </a:cubicBezTo>
                    <a:cubicBezTo>
                      <a:pt x="178" y="295"/>
                      <a:pt x="178" y="295"/>
                      <a:pt x="178" y="295"/>
                    </a:cubicBezTo>
                    <a:close/>
                    <a:moveTo>
                      <a:pt x="177" y="200"/>
                    </a:moveTo>
                    <a:cubicBezTo>
                      <a:pt x="177" y="200"/>
                      <a:pt x="177" y="200"/>
                      <a:pt x="177" y="200"/>
                    </a:cubicBezTo>
                    <a:cubicBezTo>
                      <a:pt x="178" y="200"/>
                      <a:pt x="178" y="200"/>
                      <a:pt x="178" y="200"/>
                    </a:cubicBezTo>
                    <a:cubicBezTo>
                      <a:pt x="179" y="199"/>
                      <a:pt x="179" y="199"/>
                      <a:pt x="179" y="199"/>
                    </a:cubicBezTo>
                    <a:lnTo>
                      <a:pt x="177" y="200"/>
                    </a:lnTo>
                    <a:close/>
                    <a:moveTo>
                      <a:pt x="179" y="241"/>
                    </a:moveTo>
                    <a:cubicBezTo>
                      <a:pt x="180" y="241"/>
                      <a:pt x="180" y="241"/>
                      <a:pt x="180" y="241"/>
                    </a:cubicBezTo>
                    <a:cubicBezTo>
                      <a:pt x="179" y="241"/>
                      <a:pt x="179" y="241"/>
                      <a:pt x="179" y="241"/>
                    </a:cubicBezTo>
                    <a:cubicBezTo>
                      <a:pt x="179" y="241"/>
                      <a:pt x="179" y="241"/>
                      <a:pt x="179" y="241"/>
                    </a:cubicBezTo>
                    <a:cubicBezTo>
                      <a:pt x="182" y="237"/>
                      <a:pt x="182" y="237"/>
                      <a:pt x="182" y="237"/>
                    </a:cubicBezTo>
                    <a:cubicBezTo>
                      <a:pt x="182" y="237"/>
                      <a:pt x="182" y="237"/>
                      <a:pt x="182" y="237"/>
                    </a:cubicBezTo>
                    <a:lnTo>
                      <a:pt x="179" y="241"/>
                    </a:lnTo>
                    <a:close/>
                    <a:moveTo>
                      <a:pt x="187" y="285"/>
                    </a:moveTo>
                    <a:cubicBezTo>
                      <a:pt x="192" y="283"/>
                      <a:pt x="192" y="283"/>
                      <a:pt x="192" y="283"/>
                    </a:cubicBezTo>
                    <a:cubicBezTo>
                      <a:pt x="187" y="285"/>
                      <a:pt x="187" y="285"/>
                      <a:pt x="187" y="285"/>
                    </a:cubicBezTo>
                    <a:cubicBezTo>
                      <a:pt x="182" y="291"/>
                      <a:pt x="182" y="291"/>
                      <a:pt x="182" y="291"/>
                    </a:cubicBezTo>
                    <a:lnTo>
                      <a:pt x="187" y="285"/>
                    </a:lnTo>
                    <a:close/>
                    <a:moveTo>
                      <a:pt x="183" y="190"/>
                    </a:moveTo>
                    <a:cubicBezTo>
                      <a:pt x="182" y="190"/>
                      <a:pt x="182" y="190"/>
                      <a:pt x="182" y="189"/>
                    </a:cubicBezTo>
                    <a:cubicBezTo>
                      <a:pt x="182" y="189"/>
                      <a:pt x="181" y="189"/>
                      <a:pt x="181" y="189"/>
                    </a:cubicBezTo>
                    <a:cubicBezTo>
                      <a:pt x="181" y="189"/>
                      <a:pt x="182" y="189"/>
                      <a:pt x="182" y="189"/>
                    </a:cubicBezTo>
                    <a:cubicBezTo>
                      <a:pt x="182" y="190"/>
                      <a:pt x="182" y="190"/>
                      <a:pt x="183" y="190"/>
                    </a:cubicBezTo>
                    <a:cubicBezTo>
                      <a:pt x="183" y="190"/>
                      <a:pt x="183" y="190"/>
                      <a:pt x="183" y="190"/>
                    </a:cubicBezTo>
                    <a:cubicBezTo>
                      <a:pt x="183" y="190"/>
                      <a:pt x="183" y="190"/>
                      <a:pt x="183" y="190"/>
                    </a:cubicBezTo>
                    <a:close/>
                    <a:moveTo>
                      <a:pt x="182" y="182"/>
                    </a:moveTo>
                    <a:cubicBezTo>
                      <a:pt x="182" y="181"/>
                      <a:pt x="182" y="181"/>
                      <a:pt x="182" y="181"/>
                    </a:cubicBezTo>
                    <a:cubicBezTo>
                      <a:pt x="182" y="181"/>
                      <a:pt x="182" y="181"/>
                      <a:pt x="182" y="182"/>
                    </a:cubicBezTo>
                    <a:cubicBezTo>
                      <a:pt x="183" y="183"/>
                      <a:pt x="183" y="183"/>
                      <a:pt x="183" y="183"/>
                    </a:cubicBezTo>
                    <a:cubicBezTo>
                      <a:pt x="184" y="183"/>
                      <a:pt x="184" y="183"/>
                      <a:pt x="184" y="183"/>
                    </a:cubicBezTo>
                    <a:cubicBezTo>
                      <a:pt x="184" y="184"/>
                      <a:pt x="185" y="186"/>
                      <a:pt x="185" y="186"/>
                    </a:cubicBezTo>
                    <a:cubicBezTo>
                      <a:pt x="185" y="186"/>
                      <a:pt x="185" y="186"/>
                      <a:pt x="185" y="187"/>
                    </a:cubicBezTo>
                    <a:cubicBezTo>
                      <a:pt x="185" y="186"/>
                      <a:pt x="185" y="186"/>
                      <a:pt x="185" y="186"/>
                    </a:cubicBezTo>
                    <a:cubicBezTo>
                      <a:pt x="185" y="186"/>
                      <a:pt x="184" y="184"/>
                      <a:pt x="184" y="183"/>
                    </a:cubicBezTo>
                    <a:cubicBezTo>
                      <a:pt x="183" y="183"/>
                      <a:pt x="183" y="183"/>
                      <a:pt x="183" y="183"/>
                    </a:cubicBezTo>
                    <a:cubicBezTo>
                      <a:pt x="183" y="183"/>
                      <a:pt x="183" y="183"/>
                      <a:pt x="182" y="182"/>
                    </a:cubicBezTo>
                    <a:close/>
                    <a:moveTo>
                      <a:pt x="183" y="196"/>
                    </a:moveTo>
                    <a:cubicBezTo>
                      <a:pt x="184" y="196"/>
                      <a:pt x="184" y="196"/>
                      <a:pt x="184" y="196"/>
                    </a:cubicBezTo>
                    <a:cubicBezTo>
                      <a:pt x="185" y="198"/>
                      <a:pt x="185" y="198"/>
                      <a:pt x="185" y="198"/>
                    </a:cubicBezTo>
                    <a:cubicBezTo>
                      <a:pt x="185" y="198"/>
                      <a:pt x="185" y="198"/>
                      <a:pt x="185" y="198"/>
                    </a:cubicBezTo>
                    <a:cubicBezTo>
                      <a:pt x="184" y="196"/>
                      <a:pt x="184" y="196"/>
                      <a:pt x="184" y="196"/>
                    </a:cubicBezTo>
                    <a:lnTo>
                      <a:pt x="183" y="196"/>
                    </a:lnTo>
                    <a:close/>
                    <a:moveTo>
                      <a:pt x="186" y="203"/>
                    </a:moveTo>
                    <a:cubicBezTo>
                      <a:pt x="186" y="203"/>
                      <a:pt x="186" y="203"/>
                      <a:pt x="186" y="203"/>
                    </a:cubicBezTo>
                    <a:cubicBezTo>
                      <a:pt x="186" y="203"/>
                      <a:pt x="186" y="203"/>
                      <a:pt x="186" y="203"/>
                    </a:cubicBezTo>
                    <a:cubicBezTo>
                      <a:pt x="186" y="203"/>
                      <a:pt x="186" y="203"/>
                      <a:pt x="186" y="203"/>
                    </a:cubicBezTo>
                    <a:close/>
                    <a:moveTo>
                      <a:pt x="186" y="202"/>
                    </a:moveTo>
                    <a:cubicBezTo>
                      <a:pt x="186" y="202"/>
                      <a:pt x="186" y="202"/>
                      <a:pt x="186" y="202"/>
                    </a:cubicBezTo>
                    <a:cubicBezTo>
                      <a:pt x="186" y="202"/>
                      <a:pt x="186" y="202"/>
                      <a:pt x="186" y="202"/>
                    </a:cubicBezTo>
                    <a:cubicBezTo>
                      <a:pt x="186" y="202"/>
                      <a:pt x="185" y="201"/>
                      <a:pt x="184" y="201"/>
                    </a:cubicBezTo>
                    <a:cubicBezTo>
                      <a:pt x="185" y="201"/>
                      <a:pt x="186" y="202"/>
                      <a:pt x="186" y="202"/>
                    </a:cubicBezTo>
                    <a:cubicBezTo>
                      <a:pt x="186" y="202"/>
                      <a:pt x="186" y="202"/>
                      <a:pt x="186" y="202"/>
                    </a:cubicBezTo>
                    <a:cubicBezTo>
                      <a:pt x="186" y="202"/>
                      <a:pt x="186" y="202"/>
                      <a:pt x="186" y="202"/>
                    </a:cubicBezTo>
                    <a:close/>
                    <a:moveTo>
                      <a:pt x="186" y="201"/>
                    </a:moveTo>
                    <a:cubicBezTo>
                      <a:pt x="186" y="201"/>
                      <a:pt x="186" y="200"/>
                      <a:pt x="186" y="200"/>
                    </a:cubicBezTo>
                    <a:cubicBezTo>
                      <a:pt x="186" y="200"/>
                      <a:pt x="187" y="198"/>
                      <a:pt x="187" y="198"/>
                    </a:cubicBezTo>
                    <a:cubicBezTo>
                      <a:pt x="187" y="198"/>
                      <a:pt x="186" y="200"/>
                      <a:pt x="186" y="200"/>
                    </a:cubicBezTo>
                    <a:cubicBezTo>
                      <a:pt x="186" y="200"/>
                      <a:pt x="186" y="201"/>
                      <a:pt x="186" y="201"/>
                    </a:cubicBezTo>
                    <a:close/>
                    <a:moveTo>
                      <a:pt x="187" y="204"/>
                    </a:moveTo>
                    <a:cubicBezTo>
                      <a:pt x="187" y="204"/>
                      <a:pt x="187" y="204"/>
                      <a:pt x="187" y="205"/>
                    </a:cubicBezTo>
                    <a:cubicBezTo>
                      <a:pt x="187" y="204"/>
                      <a:pt x="187" y="204"/>
                      <a:pt x="187" y="204"/>
                    </a:cubicBezTo>
                    <a:close/>
                    <a:moveTo>
                      <a:pt x="188" y="206"/>
                    </a:moveTo>
                    <a:cubicBezTo>
                      <a:pt x="188" y="206"/>
                      <a:pt x="187" y="205"/>
                      <a:pt x="187" y="205"/>
                    </a:cubicBezTo>
                    <a:cubicBezTo>
                      <a:pt x="187" y="205"/>
                      <a:pt x="188" y="206"/>
                      <a:pt x="188" y="206"/>
                    </a:cubicBezTo>
                    <a:cubicBezTo>
                      <a:pt x="188" y="206"/>
                      <a:pt x="188" y="206"/>
                      <a:pt x="188" y="206"/>
                    </a:cubicBezTo>
                    <a:cubicBezTo>
                      <a:pt x="188" y="206"/>
                      <a:pt x="188" y="206"/>
                      <a:pt x="188" y="206"/>
                    </a:cubicBezTo>
                    <a:close/>
                    <a:moveTo>
                      <a:pt x="188" y="146"/>
                    </a:moveTo>
                    <a:cubicBezTo>
                      <a:pt x="188" y="146"/>
                      <a:pt x="188" y="146"/>
                      <a:pt x="188" y="146"/>
                    </a:cubicBezTo>
                    <a:cubicBezTo>
                      <a:pt x="188" y="146"/>
                      <a:pt x="188" y="145"/>
                      <a:pt x="188" y="145"/>
                    </a:cubicBezTo>
                    <a:cubicBezTo>
                      <a:pt x="188" y="145"/>
                      <a:pt x="188" y="145"/>
                      <a:pt x="188" y="145"/>
                    </a:cubicBezTo>
                    <a:cubicBezTo>
                      <a:pt x="188" y="145"/>
                      <a:pt x="188" y="146"/>
                      <a:pt x="188" y="146"/>
                    </a:cubicBezTo>
                    <a:close/>
                    <a:moveTo>
                      <a:pt x="201" y="143"/>
                    </a:moveTo>
                    <a:cubicBezTo>
                      <a:pt x="202" y="144"/>
                      <a:pt x="202" y="144"/>
                      <a:pt x="202" y="144"/>
                    </a:cubicBezTo>
                    <a:cubicBezTo>
                      <a:pt x="202" y="144"/>
                      <a:pt x="202" y="144"/>
                      <a:pt x="202" y="144"/>
                    </a:cubicBezTo>
                    <a:cubicBezTo>
                      <a:pt x="202" y="144"/>
                      <a:pt x="202" y="144"/>
                      <a:pt x="202" y="144"/>
                    </a:cubicBezTo>
                    <a:cubicBezTo>
                      <a:pt x="201" y="143"/>
                      <a:pt x="201" y="143"/>
                      <a:pt x="201" y="143"/>
                    </a:cubicBezTo>
                    <a:close/>
                    <a:moveTo>
                      <a:pt x="201" y="171"/>
                    </a:moveTo>
                    <a:cubicBezTo>
                      <a:pt x="201" y="171"/>
                      <a:pt x="201" y="171"/>
                      <a:pt x="201" y="172"/>
                    </a:cubicBezTo>
                    <a:cubicBezTo>
                      <a:pt x="201" y="171"/>
                      <a:pt x="201" y="171"/>
                      <a:pt x="201" y="171"/>
                    </a:cubicBezTo>
                    <a:cubicBezTo>
                      <a:pt x="201" y="171"/>
                      <a:pt x="201" y="171"/>
                      <a:pt x="201" y="171"/>
                    </a:cubicBezTo>
                    <a:cubicBezTo>
                      <a:pt x="201" y="171"/>
                      <a:pt x="201" y="171"/>
                      <a:pt x="201" y="171"/>
                    </a:cubicBezTo>
                    <a:close/>
                    <a:moveTo>
                      <a:pt x="199" y="170"/>
                    </a:moveTo>
                    <a:cubicBezTo>
                      <a:pt x="200" y="171"/>
                      <a:pt x="200" y="171"/>
                      <a:pt x="200" y="171"/>
                    </a:cubicBezTo>
                    <a:cubicBezTo>
                      <a:pt x="201" y="171"/>
                      <a:pt x="201" y="171"/>
                      <a:pt x="201" y="171"/>
                    </a:cubicBezTo>
                    <a:cubicBezTo>
                      <a:pt x="201" y="171"/>
                      <a:pt x="201" y="171"/>
                      <a:pt x="200" y="171"/>
                    </a:cubicBezTo>
                    <a:cubicBezTo>
                      <a:pt x="200" y="171"/>
                      <a:pt x="200" y="171"/>
                      <a:pt x="199" y="170"/>
                    </a:cubicBezTo>
                    <a:cubicBezTo>
                      <a:pt x="199" y="170"/>
                      <a:pt x="199" y="170"/>
                      <a:pt x="199" y="170"/>
                    </a:cubicBezTo>
                    <a:cubicBezTo>
                      <a:pt x="199" y="169"/>
                      <a:pt x="199" y="169"/>
                      <a:pt x="200" y="169"/>
                    </a:cubicBezTo>
                    <a:cubicBezTo>
                      <a:pt x="200" y="169"/>
                      <a:pt x="200" y="168"/>
                      <a:pt x="200" y="168"/>
                    </a:cubicBezTo>
                    <a:cubicBezTo>
                      <a:pt x="200" y="168"/>
                      <a:pt x="200" y="167"/>
                      <a:pt x="200" y="167"/>
                    </a:cubicBezTo>
                    <a:cubicBezTo>
                      <a:pt x="200" y="167"/>
                      <a:pt x="200" y="166"/>
                      <a:pt x="200" y="166"/>
                    </a:cubicBezTo>
                    <a:cubicBezTo>
                      <a:pt x="200" y="166"/>
                      <a:pt x="200" y="166"/>
                      <a:pt x="200" y="166"/>
                    </a:cubicBezTo>
                    <a:cubicBezTo>
                      <a:pt x="200" y="166"/>
                      <a:pt x="200" y="166"/>
                      <a:pt x="200" y="166"/>
                    </a:cubicBezTo>
                    <a:cubicBezTo>
                      <a:pt x="200" y="166"/>
                      <a:pt x="200" y="167"/>
                      <a:pt x="200" y="167"/>
                    </a:cubicBezTo>
                    <a:cubicBezTo>
                      <a:pt x="200" y="167"/>
                      <a:pt x="200" y="168"/>
                      <a:pt x="200" y="168"/>
                    </a:cubicBezTo>
                    <a:cubicBezTo>
                      <a:pt x="200" y="168"/>
                      <a:pt x="200" y="169"/>
                      <a:pt x="200" y="169"/>
                    </a:cubicBezTo>
                    <a:cubicBezTo>
                      <a:pt x="199" y="169"/>
                      <a:pt x="199" y="169"/>
                      <a:pt x="199" y="170"/>
                    </a:cubicBezTo>
                    <a:cubicBezTo>
                      <a:pt x="199" y="170"/>
                      <a:pt x="199" y="170"/>
                      <a:pt x="199" y="170"/>
                    </a:cubicBezTo>
                    <a:close/>
                    <a:moveTo>
                      <a:pt x="198" y="164"/>
                    </a:moveTo>
                    <a:cubicBezTo>
                      <a:pt x="198" y="164"/>
                      <a:pt x="199" y="164"/>
                      <a:pt x="199" y="164"/>
                    </a:cubicBezTo>
                    <a:cubicBezTo>
                      <a:pt x="200" y="164"/>
                      <a:pt x="200" y="164"/>
                      <a:pt x="200" y="164"/>
                    </a:cubicBezTo>
                    <a:cubicBezTo>
                      <a:pt x="200" y="165"/>
                      <a:pt x="200" y="165"/>
                      <a:pt x="200" y="165"/>
                    </a:cubicBezTo>
                    <a:cubicBezTo>
                      <a:pt x="200" y="165"/>
                      <a:pt x="200" y="165"/>
                      <a:pt x="200" y="164"/>
                    </a:cubicBezTo>
                    <a:cubicBezTo>
                      <a:pt x="200" y="164"/>
                      <a:pt x="200" y="164"/>
                      <a:pt x="199" y="164"/>
                    </a:cubicBezTo>
                    <a:cubicBezTo>
                      <a:pt x="199" y="164"/>
                      <a:pt x="198" y="164"/>
                      <a:pt x="198" y="164"/>
                    </a:cubicBezTo>
                    <a:cubicBezTo>
                      <a:pt x="198" y="164"/>
                      <a:pt x="198" y="164"/>
                      <a:pt x="198" y="165"/>
                    </a:cubicBezTo>
                    <a:cubicBezTo>
                      <a:pt x="197" y="165"/>
                      <a:pt x="197" y="165"/>
                      <a:pt x="197" y="165"/>
                    </a:cubicBezTo>
                    <a:cubicBezTo>
                      <a:pt x="197" y="165"/>
                      <a:pt x="197" y="164"/>
                      <a:pt x="197" y="164"/>
                    </a:cubicBezTo>
                    <a:cubicBezTo>
                      <a:pt x="197" y="164"/>
                      <a:pt x="197" y="165"/>
                      <a:pt x="197" y="165"/>
                    </a:cubicBezTo>
                    <a:cubicBezTo>
                      <a:pt x="198" y="165"/>
                      <a:pt x="198" y="165"/>
                      <a:pt x="198" y="165"/>
                    </a:cubicBezTo>
                    <a:cubicBezTo>
                      <a:pt x="198" y="164"/>
                      <a:pt x="198" y="164"/>
                      <a:pt x="198" y="164"/>
                    </a:cubicBezTo>
                    <a:close/>
                    <a:moveTo>
                      <a:pt x="198" y="185"/>
                    </a:moveTo>
                    <a:cubicBezTo>
                      <a:pt x="198" y="185"/>
                      <a:pt x="198" y="185"/>
                      <a:pt x="198" y="185"/>
                    </a:cubicBezTo>
                    <a:cubicBezTo>
                      <a:pt x="198" y="185"/>
                      <a:pt x="198" y="185"/>
                      <a:pt x="198" y="185"/>
                    </a:cubicBezTo>
                    <a:cubicBezTo>
                      <a:pt x="199" y="184"/>
                      <a:pt x="199" y="184"/>
                      <a:pt x="199" y="184"/>
                    </a:cubicBezTo>
                    <a:cubicBezTo>
                      <a:pt x="199" y="184"/>
                      <a:pt x="199" y="184"/>
                      <a:pt x="199" y="184"/>
                    </a:cubicBezTo>
                    <a:cubicBezTo>
                      <a:pt x="199" y="184"/>
                      <a:pt x="199" y="184"/>
                      <a:pt x="199" y="184"/>
                    </a:cubicBezTo>
                    <a:cubicBezTo>
                      <a:pt x="199" y="184"/>
                      <a:pt x="199" y="184"/>
                      <a:pt x="198" y="185"/>
                    </a:cubicBezTo>
                    <a:close/>
                    <a:moveTo>
                      <a:pt x="197" y="182"/>
                    </a:moveTo>
                    <a:cubicBezTo>
                      <a:pt x="197" y="182"/>
                      <a:pt x="197" y="182"/>
                      <a:pt x="197" y="182"/>
                    </a:cubicBezTo>
                    <a:cubicBezTo>
                      <a:pt x="197" y="182"/>
                      <a:pt x="197" y="182"/>
                      <a:pt x="197" y="182"/>
                    </a:cubicBezTo>
                    <a:cubicBezTo>
                      <a:pt x="198" y="182"/>
                      <a:pt x="198" y="182"/>
                      <a:pt x="198" y="183"/>
                    </a:cubicBezTo>
                    <a:cubicBezTo>
                      <a:pt x="198" y="182"/>
                      <a:pt x="198" y="182"/>
                      <a:pt x="197" y="182"/>
                    </a:cubicBezTo>
                    <a:close/>
                    <a:moveTo>
                      <a:pt x="197" y="141"/>
                    </a:moveTo>
                    <a:cubicBezTo>
                      <a:pt x="197" y="141"/>
                      <a:pt x="197" y="141"/>
                      <a:pt x="197" y="141"/>
                    </a:cubicBezTo>
                    <a:cubicBezTo>
                      <a:pt x="196" y="143"/>
                      <a:pt x="196" y="143"/>
                      <a:pt x="196" y="143"/>
                    </a:cubicBezTo>
                    <a:cubicBezTo>
                      <a:pt x="196" y="143"/>
                      <a:pt x="196" y="143"/>
                      <a:pt x="196" y="143"/>
                    </a:cubicBezTo>
                    <a:lnTo>
                      <a:pt x="197" y="141"/>
                    </a:lnTo>
                    <a:close/>
                    <a:moveTo>
                      <a:pt x="197" y="182"/>
                    </a:moveTo>
                    <a:cubicBezTo>
                      <a:pt x="197" y="182"/>
                      <a:pt x="197" y="183"/>
                      <a:pt x="196" y="183"/>
                    </a:cubicBezTo>
                    <a:cubicBezTo>
                      <a:pt x="196" y="183"/>
                      <a:pt x="196" y="183"/>
                      <a:pt x="196" y="183"/>
                    </a:cubicBezTo>
                    <a:cubicBezTo>
                      <a:pt x="197" y="183"/>
                      <a:pt x="197" y="182"/>
                      <a:pt x="197" y="182"/>
                    </a:cubicBezTo>
                    <a:close/>
                    <a:moveTo>
                      <a:pt x="196" y="182"/>
                    </a:moveTo>
                    <a:cubicBezTo>
                      <a:pt x="196" y="182"/>
                      <a:pt x="196" y="182"/>
                      <a:pt x="196" y="182"/>
                    </a:cubicBezTo>
                    <a:cubicBezTo>
                      <a:pt x="196" y="182"/>
                      <a:pt x="196" y="182"/>
                      <a:pt x="196" y="182"/>
                    </a:cubicBezTo>
                    <a:cubicBezTo>
                      <a:pt x="196" y="182"/>
                      <a:pt x="195" y="181"/>
                      <a:pt x="195" y="181"/>
                    </a:cubicBezTo>
                    <a:cubicBezTo>
                      <a:pt x="195" y="181"/>
                      <a:pt x="196" y="182"/>
                      <a:pt x="196" y="182"/>
                    </a:cubicBezTo>
                    <a:close/>
                    <a:moveTo>
                      <a:pt x="194" y="171"/>
                    </a:moveTo>
                    <a:cubicBezTo>
                      <a:pt x="194" y="170"/>
                      <a:pt x="194" y="170"/>
                      <a:pt x="194" y="170"/>
                    </a:cubicBezTo>
                    <a:cubicBezTo>
                      <a:pt x="194" y="170"/>
                      <a:pt x="194" y="170"/>
                      <a:pt x="194" y="170"/>
                    </a:cubicBezTo>
                    <a:cubicBezTo>
                      <a:pt x="194" y="171"/>
                      <a:pt x="194" y="171"/>
                      <a:pt x="194" y="171"/>
                    </a:cubicBezTo>
                    <a:cubicBezTo>
                      <a:pt x="194" y="171"/>
                      <a:pt x="194" y="171"/>
                      <a:pt x="194" y="171"/>
                    </a:cubicBezTo>
                    <a:close/>
                    <a:moveTo>
                      <a:pt x="194" y="181"/>
                    </a:moveTo>
                    <a:cubicBezTo>
                      <a:pt x="194" y="181"/>
                      <a:pt x="194" y="181"/>
                      <a:pt x="194" y="181"/>
                    </a:cubicBezTo>
                    <a:cubicBezTo>
                      <a:pt x="194" y="181"/>
                      <a:pt x="194" y="181"/>
                      <a:pt x="194" y="181"/>
                    </a:cubicBezTo>
                    <a:cubicBezTo>
                      <a:pt x="194" y="181"/>
                      <a:pt x="194" y="181"/>
                      <a:pt x="194" y="181"/>
                    </a:cubicBezTo>
                    <a:close/>
                    <a:moveTo>
                      <a:pt x="193" y="141"/>
                    </a:moveTo>
                    <a:cubicBezTo>
                      <a:pt x="194" y="142"/>
                      <a:pt x="194" y="142"/>
                      <a:pt x="194" y="142"/>
                    </a:cubicBezTo>
                    <a:cubicBezTo>
                      <a:pt x="193" y="141"/>
                      <a:pt x="193" y="141"/>
                      <a:pt x="193" y="141"/>
                    </a:cubicBezTo>
                    <a:close/>
                    <a:moveTo>
                      <a:pt x="194" y="181"/>
                    </a:moveTo>
                    <a:cubicBezTo>
                      <a:pt x="194" y="181"/>
                      <a:pt x="194" y="181"/>
                      <a:pt x="194" y="181"/>
                    </a:cubicBezTo>
                    <a:cubicBezTo>
                      <a:pt x="194" y="181"/>
                      <a:pt x="194" y="181"/>
                      <a:pt x="194" y="181"/>
                    </a:cubicBezTo>
                    <a:cubicBezTo>
                      <a:pt x="194" y="181"/>
                      <a:pt x="194" y="181"/>
                      <a:pt x="194" y="181"/>
                    </a:cubicBezTo>
                    <a:close/>
                    <a:moveTo>
                      <a:pt x="194" y="179"/>
                    </a:moveTo>
                    <a:cubicBezTo>
                      <a:pt x="194" y="179"/>
                      <a:pt x="193" y="178"/>
                      <a:pt x="193" y="178"/>
                    </a:cubicBezTo>
                    <a:cubicBezTo>
                      <a:pt x="193" y="177"/>
                      <a:pt x="193" y="177"/>
                      <a:pt x="193" y="177"/>
                    </a:cubicBezTo>
                    <a:cubicBezTo>
                      <a:pt x="193" y="177"/>
                      <a:pt x="193" y="177"/>
                      <a:pt x="193" y="177"/>
                    </a:cubicBezTo>
                    <a:cubicBezTo>
                      <a:pt x="193" y="177"/>
                      <a:pt x="193" y="177"/>
                      <a:pt x="192" y="176"/>
                    </a:cubicBezTo>
                    <a:cubicBezTo>
                      <a:pt x="193" y="177"/>
                      <a:pt x="193" y="177"/>
                      <a:pt x="193" y="177"/>
                    </a:cubicBezTo>
                    <a:cubicBezTo>
                      <a:pt x="193" y="177"/>
                      <a:pt x="193" y="177"/>
                      <a:pt x="193" y="177"/>
                    </a:cubicBezTo>
                    <a:cubicBezTo>
                      <a:pt x="193" y="178"/>
                      <a:pt x="193" y="178"/>
                      <a:pt x="193" y="178"/>
                    </a:cubicBezTo>
                    <a:cubicBezTo>
                      <a:pt x="193" y="178"/>
                      <a:pt x="194" y="179"/>
                      <a:pt x="194" y="179"/>
                    </a:cubicBezTo>
                    <a:cubicBezTo>
                      <a:pt x="194" y="179"/>
                      <a:pt x="194" y="179"/>
                      <a:pt x="194" y="179"/>
                    </a:cubicBezTo>
                    <a:cubicBezTo>
                      <a:pt x="194" y="179"/>
                      <a:pt x="194" y="179"/>
                      <a:pt x="194" y="179"/>
                    </a:cubicBezTo>
                    <a:close/>
                    <a:moveTo>
                      <a:pt x="194" y="173"/>
                    </a:moveTo>
                    <a:cubicBezTo>
                      <a:pt x="193" y="173"/>
                      <a:pt x="193" y="173"/>
                      <a:pt x="193" y="173"/>
                    </a:cubicBezTo>
                    <a:cubicBezTo>
                      <a:pt x="193" y="173"/>
                      <a:pt x="193" y="173"/>
                      <a:pt x="193" y="173"/>
                    </a:cubicBezTo>
                    <a:cubicBezTo>
                      <a:pt x="193" y="173"/>
                      <a:pt x="193" y="173"/>
                      <a:pt x="193" y="173"/>
                    </a:cubicBezTo>
                    <a:cubicBezTo>
                      <a:pt x="193" y="173"/>
                      <a:pt x="193" y="173"/>
                      <a:pt x="194" y="173"/>
                    </a:cubicBezTo>
                    <a:close/>
                    <a:moveTo>
                      <a:pt x="189" y="206"/>
                    </a:moveTo>
                    <a:cubicBezTo>
                      <a:pt x="189" y="206"/>
                      <a:pt x="189" y="206"/>
                      <a:pt x="188" y="206"/>
                    </a:cubicBezTo>
                    <a:cubicBezTo>
                      <a:pt x="189" y="206"/>
                      <a:pt x="189" y="206"/>
                      <a:pt x="189" y="206"/>
                    </a:cubicBezTo>
                    <a:cubicBezTo>
                      <a:pt x="189" y="206"/>
                      <a:pt x="190" y="206"/>
                      <a:pt x="190" y="206"/>
                    </a:cubicBezTo>
                    <a:cubicBezTo>
                      <a:pt x="190" y="206"/>
                      <a:pt x="189" y="206"/>
                      <a:pt x="189" y="206"/>
                    </a:cubicBezTo>
                    <a:close/>
                    <a:moveTo>
                      <a:pt x="189" y="165"/>
                    </a:moveTo>
                    <a:cubicBezTo>
                      <a:pt x="189" y="165"/>
                      <a:pt x="189" y="165"/>
                      <a:pt x="188" y="166"/>
                    </a:cubicBezTo>
                    <a:cubicBezTo>
                      <a:pt x="189" y="165"/>
                      <a:pt x="189" y="165"/>
                      <a:pt x="189" y="165"/>
                    </a:cubicBezTo>
                    <a:cubicBezTo>
                      <a:pt x="190" y="165"/>
                      <a:pt x="190" y="165"/>
                      <a:pt x="191" y="165"/>
                    </a:cubicBezTo>
                    <a:cubicBezTo>
                      <a:pt x="190" y="165"/>
                      <a:pt x="190" y="165"/>
                      <a:pt x="189" y="165"/>
                    </a:cubicBezTo>
                    <a:close/>
                    <a:moveTo>
                      <a:pt x="191" y="175"/>
                    </a:moveTo>
                    <a:cubicBezTo>
                      <a:pt x="191" y="175"/>
                      <a:pt x="191" y="175"/>
                      <a:pt x="191" y="175"/>
                    </a:cubicBezTo>
                    <a:cubicBezTo>
                      <a:pt x="191" y="175"/>
                      <a:pt x="192" y="175"/>
                      <a:pt x="192" y="175"/>
                    </a:cubicBezTo>
                    <a:cubicBezTo>
                      <a:pt x="193" y="175"/>
                      <a:pt x="193" y="175"/>
                      <a:pt x="193" y="175"/>
                    </a:cubicBezTo>
                    <a:cubicBezTo>
                      <a:pt x="193" y="175"/>
                      <a:pt x="193" y="175"/>
                      <a:pt x="193" y="175"/>
                    </a:cubicBezTo>
                    <a:cubicBezTo>
                      <a:pt x="193" y="175"/>
                      <a:pt x="193" y="175"/>
                      <a:pt x="193" y="175"/>
                    </a:cubicBezTo>
                    <a:cubicBezTo>
                      <a:pt x="193" y="175"/>
                      <a:pt x="193" y="175"/>
                      <a:pt x="193" y="175"/>
                    </a:cubicBezTo>
                    <a:cubicBezTo>
                      <a:pt x="193" y="175"/>
                      <a:pt x="193" y="175"/>
                      <a:pt x="193" y="175"/>
                    </a:cubicBezTo>
                    <a:cubicBezTo>
                      <a:pt x="192" y="175"/>
                      <a:pt x="192" y="175"/>
                      <a:pt x="192" y="175"/>
                    </a:cubicBezTo>
                    <a:cubicBezTo>
                      <a:pt x="192" y="175"/>
                      <a:pt x="191" y="175"/>
                      <a:pt x="191" y="175"/>
                    </a:cubicBezTo>
                    <a:cubicBezTo>
                      <a:pt x="191" y="175"/>
                      <a:pt x="191" y="175"/>
                      <a:pt x="191" y="175"/>
                    </a:cubicBezTo>
                    <a:cubicBezTo>
                      <a:pt x="191" y="176"/>
                      <a:pt x="191" y="176"/>
                      <a:pt x="191" y="176"/>
                    </a:cubicBezTo>
                    <a:cubicBezTo>
                      <a:pt x="191" y="176"/>
                      <a:pt x="191" y="176"/>
                      <a:pt x="191" y="176"/>
                    </a:cubicBezTo>
                    <a:cubicBezTo>
                      <a:pt x="192" y="176"/>
                      <a:pt x="192" y="176"/>
                      <a:pt x="192" y="176"/>
                    </a:cubicBezTo>
                    <a:cubicBezTo>
                      <a:pt x="192" y="176"/>
                      <a:pt x="192" y="176"/>
                      <a:pt x="192" y="176"/>
                    </a:cubicBezTo>
                    <a:cubicBezTo>
                      <a:pt x="191" y="176"/>
                      <a:pt x="191" y="176"/>
                      <a:pt x="191" y="176"/>
                    </a:cubicBezTo>
                    <a:cubicBezTo>
                      <a:pt x="191" y="176"/>
                      <a:pt x="191" y="176"/>
                      <a:pt x="191" y="176"/>
                    </a:cubicBezTo>
                    <a:cubicBezTo>
                      <a:pt x="191" y="176"/>
                      <a:pt x="191" y="176"/>
                      <a:pt x="191" y="175"/>
                    </a:cubicBezTo>
                    <a:close/>
                    <a:moveTo>
                      <a:pt x="196" y="210"/>
                    </a:moveTo>
                    <a:cubicBezTo>
                      <a:pt x="195" y="210"/>
                      <a:pt x="195" y="210"/>
                      <a:pt x="194" y="209"/>
                    </a:cubicBezTo>
                    <a:cubicBezTo>
                      <a:pt x="194" y="209"/>
                      <a:pt x="192" y="209"/>
                      <a:pt x="192" y="208"/>
                    </a:cubicBezTo>
                    <a:cubicBezTo>
                      <a:pt x="192" y="208"/>
                      <a:pt x="192" y="207"/>
                      <a:pt x="191" y="207"/>
                    </a:cubicBezTo>
                    <a:cubicBezTo>
                      <a:pt x="192" y="207"/>
                      <a:pt x="192" y="208"/>
                      <a:pt x="192" y="208"/>
                    </a:cubicBezTo>
                    <a:cubicBezTo>
                      <a:pt x="192" y="209"/>
                      <a:pt x="194" y="209"/>
                      <a:pt x="194" y="209"/>
                    </a:cubicBezTo>
                    <a:cubicBezTo>
                      <a:pt x="195" y="210"/>
                      <a:pt x="195" y="210"/>
                      <a:pt x="196" y="210"/>
                    </a:cubicBezTo>
                    <a:cubicBezTo>
                      <a:pt x="197" y="210"/>
                      <a:pt x="197" y="210"/>
                      <a:pt x="197" y="210"/>
                    </a:cubicBezTo>
                    <a:cubicBezTo>
                      <a:pt x="197" y="210"/>
                      <a:pt x="197" y="210"/>
                      <a:pt x="196" y="210"/>
                    </a:cubicBezTo>
                    <a:close/>
                    <a:moveTo>
                      <a:pt x="198" y="186"/>
                    </a:moveTo>
                    <a:cubicBezTo>
                      <a:pt x="198" y="186"/>
                      <a:pt x="198" y="186"/>
                      <a:pt x="198" y="186"/>
                    </a:cubicBezTo>
                    <a:cubicBezTo>
                      <a:pt x="198" y="186"/>
                      <a:pt x="198" y="186"/>
                      <a:pt x="198" y="186"/>
                    </a:cubicBezTo>
                    <a:cubicBezTo>
                      <a:pt x="198" y="187"/>
                      <a:pt x="198" y="187"/>
                      <a:pt x="198" y="187"/>
                    </a:cubicBezTo>
                    <a:cubicBezTo>
                      <a:pt x="198" y="187"/>
                      <a:pt x="198" y="187"/>
                      <a:pt x="198" y="186"/>
                    </a:cubicBezTo>
                    <a:close/>
                    <a:moveTo>
                      <a:pt x="198" y="171"/>
                    </a:moveTo>
                    <a:cubicBezTo>
                      <a:pt x="198" y="171"/>
                      <a:pt x="198" y="171"/>
                      <a:pt x="198" y="171"/>
                    </a:cubicBezTo>
                    <a:cubicBezTo>
                      <a:pt x="198" y="171"/>
                      <a:pt x="198" y="171"/>
                      <a:pt x="198" y="171"/>
                    </a:cubicBezTo>
                    <a:cubicBezTo>
                      <a:pt x="198" y="171"/>
                      <a:pt x="198" y="171"/>
                      <a:pt x="198" y="171"/>
                    </a:cubicBezTo>
                    <a:cubicBezTo>
                      <a:pt x="198" y="171"/>
                      <a:pt x="198" y="171"/>
                      <a:pt x="198" y="171"/>
                    </a:cubicBezTo>
                    <a:close/>
                    <a:moveTo>
                      <a:pt x="198" y="183"/>
                    </a:moveTo>
                    <a:cubicBezTo>
                      <a:pt x="199" y="183"/>
                      <a:pt x="199" y="183"/>
                      <a:pt x="199" y="183"/>
                    </a:cubicBezTo>
                    <a:cubicBezTo>
                      <a:pt x="199" y="183"/>
                      <a:pt x="199" y="183"/>
                      <a:pt x="198" y="183"/>
                    </a:cubicBezTo>
                    <a:cubicBezTo>
                      <a:pt x="198" y="183"/>
                      <a:pt x="198" y="183"/>
                      <a:pt x="198" y="183"/>
                    </a:cubicBezTo>
                    <a:close/>
                    <a:moveTo>
                      <a:pt x="199" y="188"/>
                    </a:moveTo>
                    <a:cubicBezTo>
                      <a:pt x="198" y="188"/>
                      <a:pt x="198" y="188"/>
                      <a:pt x="198" y="188"/>
                    </a:cubicBezTo>
                    <a:cubicBezTo>
                      <a:pt x="198" y="188"/>
                      <a:pt x="198" y="188"/>
                      <a:pt x="199" y="188"/>
                    </a:cubicBezTo>
                    <a:cubicBezTo>
                      <a:pt x="199" y="189"/>
                      <a:pt x="199" y="189"/>
                      <a:pt x="199" y="189"/>
                    </a:cubicBezTo>
                    <a:cubicBezTo>
                      <a:pt x="199" y="189"/>
                      <a:pt x="199" y="189"/>
                      <a:pt x="199" y="188"/>
                    </a:cubicBezTo>
                    <a:close/>
                    <a:moveTo>
                      <a:pt x="199" y="187"/>
                    </a:moveTo>
                    <a:cubicBezTo>
                      <a:pt x="199" y="187"/>
                      <a:pt x="199" y="187"/>
                      <a:pt x="199" y="187"/>
                    </a:cubicBezTo>
                    <a:cubicBezTo>
                      <a:pt x="199" y="187"/>
                      <a:pt x="199" y="187"/>
                      <a:pt x="199" y="187"/>
                    </a:cubicBezTo>
                    <a:cubicBezTo>
                      <a:pt x="199" y="187"/>
                      <a:pt x="199" y="188"/>
                      <a:pt x="199" y="188"/>
                    </a:cubicBezTo>
                    <a:cubicBezTo>
                      <a:pt x="199" y="188"/>
                      <a:pt x="199" y="187"/>
                      <a:pt x="199" y="187"/>
                    </a:cubicBezTo>
                    <a:close/>
                    <a:moveTo>
                      <a:pt x="200" y="189"/>
                    </a:moveTo>
                    <a:cubicBezTo>
                      <a:pt x="200" y="189"/>
                      <a:pt x="200" y="188"/>
                      <a:pt x="199" y="188"/>
                    </a:cubicBezTo>
                    <a:cubicBezTo>
                      <a:pt x="199" y="188"/>
                      <a:pt x="199" y="188"/>
                      <a:pt x="199" y="188"/>
                    </a:cubicBezTo>
                    <a:cubicBezTo>
                      <a:pt x="199" y="188"/>
                      <a:pt x="199" y="188"/>
                      <a:pt x="199" y="188"/>
                    </a:cubicBezTo>
                    <a:cubicBezTo>
                      <a:pt x="200" y="188"/>
                      <a:pt x="200" y="189"/>
                      <a:pt x="200" y="189"/>
                    </a:cubicBezTo>
                    <a:cubicBezTo>
                      <a:pt x="200" y="190"/>
                      <a:pt x="200" y="190"/>
                      <a:pt x="200" y="191"/>
                    </a:cubicBezTo>
                    <a:cubicBezTo>
                      <a:pt x="200" y="191"/>
                      <a:pt x="200" y="191"/>
                      <a:pt x="200" y="191"/>
                    </a:cubicBezTo>
                    <a:cubicBezTo>
                      <a:pt x="201" y="191"/>
                      <a:pt x="201" y="192"/>
                      <a:pt x="201" y="192"/>
                    </a:cubicBezTo>
                    <a:cubicBezTo>
                      <a:pt x="201" y="192"/>
                      <a:pt x="201" y="192"/>
                      <a:pt x="201" y="192"/>
                    </a:cubicBezTo>
                    <a:cubicBezTo>
                      <a:pt x="201" y="192"/>
                      <a:pt x="201" y="192"/>
                      <a:pt x="201" y="192"/>
                    </a:cubicBezTo>
                    <a:cubicBezTo>
                      <a:pt x="201" y="192"/>
                      <a:pt x="201" y="191"/>
                      <a:pt x="200" y="191"/>
                    </a:cubicBezTo>
                    <a:cubicBezTo>
                      <a:pt x="200" y="191"/>
                      <a:pt x="200" y="191"/>
                      <a:pt x="200" y="191"/>
                    </a:cubicBezTo>
                    <a:cubicBezTo>
                      <a:pt x="200" y="190"/>
                      <a:pt x="200" y="190"/>
                      <a:pt x="200" y="189"/>
                    </a:cubicBezTo>
                    <a:close/>
                    <a:moveTo>
                      <a:pt x="200" y="186"/>
                    </a:moveTo>
                    <a:cubicBezTo>
                      <a:pt x="200" y="186"/>
                      <a:pt x="200" y="186"/>
                      <a:pt x="200" y="186"/>
                    </a:cubicBezTo>
                    <a:cubicBezTo>
                      <a:pt x="201" y="186"/>
                      <a:pt x="201" y="186"/>
                      <a:pt x="201" y="186"/>
                    </a:cubicBezTo>
                    <a:cubicBezTo>
                      <a:pt x="201" y="186"/>
                      <a:pt x="201" y="186"/>
                      <a:pt x="201" y="186"/>
                    </a:cubicBezTo>
                    <a:cubicBezTo>
                      <a:pt x="201" y="186"/>
                      <a:pt x="201" y="186"/>
                      <a:pt x="201" y="186"/>
                    </a:cubicBezTo>
                    <a:cubicBezTo>
                      <a:pt x="200" y="186"/>
                      <a:pt x="200" y="186"/>
                      <a:pt x="200" y="186"/>
                    </a:cubicBezTo>
                    <a:close/>
                    <a:moveTo>
                      <a:pt x="201" y="195"/>
                    </a:moveTo>
                    <a:cubicBezTo>
                      <a:pt x="201" y="195"/>
                      <a:pt x="201" y="195"/>
                      <a:pt x="202" y="195"/>
                    </a:cubicBezTo>
                    <a:cubicBezTo>
                      <a:pt x="202" y="195"/>
                      <a:pt x="202" y="195"/>
                      <a:pt x="202" y="195"/>
                    </a:cubicBezTo>
                    <a:cubicBezTo>
                      <a:pt x="201" y="195"/>
                      <a:pt x="201" y="195"/>
                      <a:pt x="201" y="195"/>
                    </a:cubicBezTo>
                    <a:cubicBezTo>
                      <a:pt x="200" y="195"/>
                      <a:pt x="200" y="195"/>
                      <a:pt x="200" y="195"/>
                    </a:cubicBezTo>
                    <a:cubicBezTo>
                      <a:pt x="200" y="195"/>
                      <a:pt x="200" y="195"/>
                      <a:pt x="201" y="195"/>
                    </a:cubicBezTo>
                    <a:close/>
                    <a:moveTo>
                      <a:pt x="202" y="186"/>
                    </a:moveTo>
                    <a:cubicBezTo>
                      <a:pt x="202" y="186"/>
                      <a:pt x="202" y="186"/>
                      <a:pt x="202" y="186"/>
                    </a:cubicBezTo>
                    <a:cubicBezTo>
                      <a:pt x="203" y="186"/>
                      <a:pt x="203" y="186"/>
                      <a:pt x="203" y="186"/>
                    </a:cubicBezTo>
                    <a:cubicBezTo>
                      <a:pt x="203" y="186"/>
                      <a:pt x="203" y="186"/>
                      <a:pt x="202" y="186"/>
                    </a:cubicBezTo>
                    <a:cubicBezTo>
                      <a:pt x="202" y="186"/>
                      <a:pt x="202" y="186"/>
                      <a:pt x="202" y="186"/>
                    </a:cubicBezTo>
                    <a:close/>
                    <a:moveTo>
                      <a:pt x="200" y="198"/>
                    </a:moveTo>
                    <a:cubicBezTo>
                      <a:pt x="200" y="198"/>
                      <a:pt x="200" y="197"/>
                      <a:pt x="200" y="197"/>
                    </a:cubicBezTo>
                    <a:cubicBezTo>
                      <a:pt x="200" y="197"/>
                      <a:pt x="201" y="197"/>
                      <a:pt x="201" y="197"/>
                    </a:cubicBezTo>
                    <a:cubicBezTo>
                      <a:pt x="201" y="197"/>
                      <a:pt x="200" y="197"/>
                      <a:pt x="200" y="197"/>
                    </a:cubicBezTo>
                    <a:cubicBezTo>
                      <a:pt x="200" y="197"/>
                      <a:pt x="200" y="198"/>
                      <a:pt x="200" y="198"/>
                    </a:cubicBezTo>
                    <a:close/>
                    <a:moveTo>
                      <a:pt x="201" y="198"/>
                    </a:moveTo>
                    <a:cubicBezTo>
                      <a:pt x="201" y="198"/>
                      <a:pt x="201" y="198"/>
                      <a:pt x="201" y="198"/>
                    </a:cubicBezTo>
                    <a:cubicBezTo>
                      <a:pt x="201" y="198"/>
                      <a:pt x="201" y="198"/>
                      <a:pt x="201" y="198"/>
                    </a:cubicBezTo>
                    <a:cubicBezTo>
                      <a:pt x="201" y="198"/>
                      <a:pt x="201" y="198"/>
                      <a:pt x="201" y="198"/>
                    </a:cubicBezTo>
                    <a:cubicBezTo>
                      <a:pt x="201" y="198"/>
                      <a:pt x="201" y="198"/>
                      <a:pt x="201" y="198"/>
                    </a:cubicBezTo>
                    <a:close/>
                    <a:moveTo>
                      <a:pt x="201" y="197"/>
                    </a:moveTo>
                    <a:cubicBezTo>
                      <a:pt x="201" y="197"/>
                      <a:pt x="201" y="197"/>
                      <a:pt x="201" y="197"/>
                    </a:cubicBezTo>
                    <a:cubicBezTo>
                      <a:pt x="201" y="197"/>
                      <a:pt x="201" y="196"/>
                      <a:pt x="201" y="196"/>
                    </a:cubicBezTo>
                    <a:cubicBezTo>
                      <a:pt x="201" y="196"/>
                      <a:pt x="201" y="197"/>
                      <a:pt x="201" y="197"/>
                    </a:cubicBezTo>
                    <a:close/>
                    <a:moveTo>
                      <a:pt x="201" y="209"/>
                    </a:moveTo>
                    <a:cubicBezTo>
                      <a:pt x="201" y="209"/>
                      <a:pt x="201" y="209"/>
                      <a:pt x="200" y="209"/>
                    </a:cubicBezTo>
                    <a:cubicBezTo>
                      <a:pt x="201" y="209"/>
                      <a:pt x="201" y="209"/>
                      <a:pt x="201" y="209"/>
                    </a:cubicBezTo>
                    <a:cubicBezTo>
                      <a:pt x="201" y="209"/>
                      <a:pt x="201" y="209"/>
                      <a:pt x="201" y="209"/>
                    </a:cubicBezTo>
                    <a:cubicBezTo>
                      <a:pt x="201" y="209"/>
                      <a:pt x="201" y="209"/>
                      <a:pt x="201" y="209"/>
                    </a:cubicBezTo>
                    <a:close/>
                    <a:moveTo>
                      <a:pt x="201" y="198"/>
                    </a:moveTo>
                    <a:cubicBezTo>
                      <a:pt x="201" y="198"/>
                      <a:pt x="201" y="198"/>
                      <a:pt x="202" y="198"/>
                    </a:cubicBezTo>
                    <a:cubicBezTo>
                      <a:pt x="202" y="198"/>
                      <a:pt x="202" y="198"/>
                      <a:pt x="202" y="198"/>
                    </a:cubicBezTo>
                    <a:cubicBezTo>
                      <a:pt x="202" y="198"/>
                      <a:pt x="202" y="198"/>
                      <a:pt x="202" y="198"/>
                    </a:cubicBezTo>
                    <a:cubicBezTo>
                      <a:pt x="201" y="198"/>
                      <a:pt x="201" y="198"/>
                      <a:pt x="201" y="198"/>
                    </a:cubicBezTo>
                    <a:close/>
                    <a:moveTo>
                      <a:pt x="202" y="208"/>
                    </a:moveTo>
                    <a:cubicBezTo>
                      <a:pt x="202" y="208"/>
                      <a:pt x="203" y="208"/>
                      <a:pt x="203" y="207"/>
                    </a:cubicBezTo>
                    <a:cubicBezTo>
                      <a:pt x="203" y="208"/>
                      <a:pt x="202" y="208"/>
                      <a:pt x="202" y="208"/>
                    </a:cubicBezTo>
                    <a:close/>
                    <a:moveTo>
                      <a:pt x="203" y="200"/>
                    </a:moveTo>
                    <a:cubicBezTo>
                      <a:pt x="203" y="201"/>
                      <a:pt x="203" y="201"/>
                      <a:pt x="203" y="201"/>
                    </a:cubicBezTo>
                    <a:cubicBezTo>
                      <a:pt x="203" y="202"/>
                      <a:pt x="203" y="202"/>
                      <a:pt x="203" y="202"/>
                    </a:cubicBezTo>
                    <a:cubicBezTo>
                      <a:pt x="203" y="203"/>
                      <a:pt x="202" y="205"/>
                      <a:pt x="203" y="206"/>
                    </a:cubicBezTo>
                    <a:cubicBezTo>
                      <a:pt x="203" y="206"/>
                      <a:pt x="203" y="206"/>
                      <a:pt x="203" y="206"/>
                    </a:cubicBezTo>
                    <a:cubicBezTo>
                      <a:pt x="203" y="206"/>
                      <a:pt x="203" y="206"/>
                      <a:pt x="203" y="206"/>
                    </a:cubicBezTo>
                    <a:cubicBezTo>
                      <a:pt x="202" y="205"/>
                      <a:pt x="203" y="203"/>
                      <a:pt x="203" y="202"/>
                    </a:cubicBezTo>
                    <a:cubicBezTo>
                      <a:pt x="203" y="201"/>
                      <a:pt x="203" y="201"/>
                      <a:pt x="203" y="201"/>
                    </a:cubicBezTo>
                    <a:cubicBezTo>
                      <a:pt x="203" y="201"/>
                      <a:pt x="203" y="201"/>
                      <a:pt x="203" y="200"/>
                    </a:cubicBezTo>
                    <a:close/>
                    <a:moveTo>
                      <a:pt x="203" y="192"/>
                    </a:moveTo>
                    <a:cubicBezTo>
                      <a:pt x="203" y="192"/>
                      <a:pt x="202" y="192"/>
                      <a:pt x="202" y="192"/>
                    </a:cubicBezTo>
                    <a:cubicBezTo>
                      <a:pt x="202" y="192"/>
                      <a:pt x="203" y="192"/>
                      <a:pt x="203" y="192"/>
                    </a:cubicBezTo>
                    <a:close/>
                    <a:moveTo>
                      <a:pt x="205" y="191"/>
                    </a:moveTo>
                    <a:cubicBezTo>
                      <a:pt x="205" y="191"/>
                      <a:pt x="205" y="191"/>
                      <a:pt x="205" y="191"/>
                    </a:cubicBezTo>
                    <a:cubicBezTo>
                      <a:pt x="205" y="191"/>
                      <a:pt x="205" y="191"/>
                      <a:pt x="205" y="191"/>
                    </a:cubicBezTo>
                    <a:close/>
                    <a:moveTo>
                      <a:pt x="205" y="190"/>
                    </a:moveTo>
                    <a:cubicBezTo>
                      <a:pt x="205" y="190"/>
                      <a:pt x="205" y="190"/>
                      <a:pt x="205" y="190"/>
                    </a:cubicBezTo>
                    <a:cubicBezTo>
                      <a:pt x="205" y="190"/>
                      <a:pt x="205" y="190"/>
                      <a:pt x="205" y="190"/>
                    </a:cubicBezTo>
                    <a:cubicBezTo>
                      <a:pt x="205" y="190"/>
                      <a:pt x="205" y="190"/>
                      <a:pt x="205" y="191"/>
                    </a:cubicBezTo>
                    <a:cubicBezTo>
                      <a:pt x="205" y="190"/>
                      <a:pt x="205" y="190"/>
                      <a:pt x="205" y="190"/>
                    </a:cubicBezTo>
                    <a:close/>
                    <a:moveTo>
                      <a:pt x="204" y="184"/>
                    </a:moveTo>
                    <a:cubicBezTo>
                      <a:pt x="199" y="185"/>
                      <a:pt x="199" y="185"/>
                      <a:pt x="199" y="185"/>
                    </a:cubicBezTo>
                    <a:cubicBezTo>
                      <a:pt x="198" y="185"/>
                      <a:pt x="198" y="185"/>
                      <a:pt x="198" y="185"/>
                    </a:cubicBezTo>
                    <a:cubicBezTo>
                      <a:pt x="199" y="185"/>
                      <a:pt x="199" y="185"/>
                      <a:pt x="199" y="185"/>
                    </a:cubicBezTo>
                    <a:cubicBezTo>
                      <a:pt x="204" y="184"/>
                      <a:pt x="204" y="184"/>
                      <a:pt x="204" y="184"/>
                    </a:cubicBezTo>
                    <a:cubicBezTo>
                      <a:pt x="205" y="186"/>
                      <a:pt x="205" y="186"/>
                      <a:pt x="205" y="186"/>
                    </a:cubicBezTo>
                    <a:lnTo>
                      <a:pt x="204" y="184"/>
                    </a:lnTo>
                    <a:close/>
                    <a:moveTo>
                      <a:pt x="207" y="148"/>
                    </a:moveTo>
                    <a:cubicBezTo>
                      <a:pt x="207" y="148"/>
                      <a:pt x="208" y="148"/>
                      <a:pt x="208" y="147"/>
                    </a:cubicBezTo>
                    <a:cubicBezTo>
                      <a:pt x="208" y="148"/>
                      <a:pt x="207" y="148"/>
                      <a:pt x="207" y="148"/>
                    </a:cubicBezTo>
                    <a:cubicBezTo>
                      <a:pt x="207" y="147"/>
                      <a:pt x="207" y="147"/>
                      <a:pt x="207" y="147"/>
                    </a:cubicBezTo>
                    <a:cubicBezTo>
                      <a:pt x="207" y="147"/>
                      <a:pt x="207" y="147"/>
                      <a:pt x="207" y="148"/>
                    </a:cubicBezTo>
                    <a:close/>
                    <a:moveTo>
                      <a:pt x="207" y="205"/>
                    </a:moveTo>
                    <a:cubicBezTo>
                      <a:pt x="206" y="205"/>
                      <a:pt x="206" y="205"/>
                      <a:pt x="206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4"/>
                      <a:pt x="207" y="204"/>
                      <a:pt x="207" y="204"/>
                    </a:cubicBezTo>
                    <a:lnTo>
                      <a:pt x="207" y="205"/>
                    </a:lnTo>
                    <a:close/>
                    <a:moveTo>
                      <a:pt x="208" y="190"/>
                    </a:moveTo>
                    <a:cubicBezTo>
                      <a:pt x="206" y="187"/>
                      <a:pt x="206" y="187"/>
                      <a:pt x="206" y="187"/>
                    </a:cubicBezTo>
                    <a:cubicBezTo>
                      <a:pt x="208" y="190"/>
                      <a:pt x="208" y="190"/>
                      <a:pt x="208" y="190"/>
                    </a:cubicBezTo>
                    <a:cubicBezTo>
                      <a:pt x="209" y="189"/>
                      <a:pt x="209" y="189"/>
                      <a:pt x="209" y="189"/>
                    </a:cubicBezTo>
                    <a:lnTo>
                      <a:pt x="208" y="190"/>
                    </a:lnTo>
                    <a:close/>
                    <a:moveTo>
                      <a:pt x="211" y="145"/>
                    </a:moveTo>
                    <a:cubicBezTo>
                      <a:pt x="210" y="146"/>
                      <a:pt x="210" y="146"/>
                      <a:pt x="210" y="146"/>
                    </a:cubicBezTo>
                    <a:cubicBezTo>
                      <a:pt x="210" y="146"/>
                      <a:pt x="210" y="146"/>
                      <a:pt x="211" y="145"/>
                    </a:cubicBezTo>
                    <a:cubicBezTo>
                      <a:pt x="211" y="145"/>
                      <a:pt x="211" y="145"/>
                      <a:pt x="211" y="145"/>
                    </a:cubicBezTo>
                    <a:cubicBezTo>
                      <a:pt x="211" y="145"/>
                      <a:pt x="211" y="145"/>
                      <a:pt x="211" y="145"/>
                    </a:cubicBezTo>
                    <a:close/>
                    <a:moveTo>
                      <a:pt x="212" y="203"/>
                    </a:moveTo>
                    <a:cubicBezTo>
                      <a:pt x="212" y="203"/>
                      <a:pt x="212" y="203"/>
                      <a:pt x="212" y="203"/>
                    </a:cubicBezTo>
                    <a:cubicBezTo>
                      <a:pt x="213" y="203"/>
                      <a:pt x="213" y="203"/>
                      <a:pt x="213" y="203"/>
                    </a:cubicBezTo>
                    <a:lnTo>
                      <a:pt x="212" y="203"/>
                    </a:lnTo>
                    <a:close/>
                    <a:moveTo>
                      <a:pt x="218" y="146"/>
                    </a:moveTo>
                    <a:cubicBezTo>
                      <a:pt x="218" y="146"/>
                      <a:pt x="218" y="146"/>
                      <a:pt x="218" y="146"/>
                    </a:cubicBezTo>
                    <a:cubicBezTo>
                      <a:pt x="218" y="146"/>
                      <a:pt x="218" y="146"/>
                      <a:pt x="218" y="146"/>
                    </a:cubicBezTo>
                    <a:close/>
                    <a:moveTo>
                      <a:pt x="218" y="179"/>
                    </a:moveTo>
                    <a:cubicBezTo>
                      <a:pt x="218" y="179"/>
                      <a:pt x="218" y="179"/>
                      <a:pt x="218" y="179"/>
                    </a:cubicBezTo>
                    <a:cubicBezTo>
                      <a:pt x="218" y="179"/>
                      <a:pt x="218" y="179"/>
                      <a:pt x="218" y="179"/>
                    </a:cubicBezTo>
                    <a:cubicBezTo>
                      <a:pt x="218" y="179"/>
                      <a:pt x="218" y="179"/>
                      <a:pt x="218" y="179"/>
                    </a:cubicBezTo>
                    <a:cubicBezTo>
                      <a:pt x="218" y="179"/>
                      <a:pt x="218" y="179"/>
                      <a:pt x="218" y="179"/>
                    </a:cubicBezTo>
                    <a:close/>
                    <a:moveTo>
                      <a:pt x="218" y="170"/>
                    </a:moveTo>
                    <a:cubicBezTo>
                      <a:pt x="218" y="170"/>
                      <a:pt x="218" y="170"/>
                      <a:pt x="218" y="170"/>
                    </a:cubicBezTo>
                    <a:cubicBezTo>
                      <a:pt x="218" y="170"/>
                      <a:pt x="218" y="170"/>
                      <a:pt x="218" y="170"/>
                    </a:cubicBezTo>
                    <a:cubicBezTo>
                      <a:pt x="218" y="170"/>
                      <a:pt x="218" y="171"/>
                      <a:pt x="218" y="171"/>
                    </a:cubicBezTo>
                    <a:cubicBezTo>
                      <a:pt x="217" y="171"/>
                      <a:pt x="217" y="172"/>
                      <a:pt x="217" y="172"/>
                    </a:cubicBezTo>
                    <a:cubicBezTo>
                      <a:pt x="217" y="172"/>
                      <a:pt x="217" y="171"/>
                      <a:pt x="218" y="170"/>
                    </a:cubicBezTo>
                    <a:cubicBezTo>
                      <a:pt x="218" y="170"/>
                      <a:pt x="218" y="170"/>
                      <a:pt x="218" y="170"/>
                    </a:cubicBezTo>
                    <a:cubicBezTo>
                      <a:pt x="218" y="170"/>
                      <a:pt x="218" y="170"/>
                      <a:pt x="218" y="170"/>
                    </a:cubicBezTo>
                    <a:cubicBezTo>
                      <a:pt x="216" y="170"/>
                      <a:pt x="216" y="170"/>
                      <a:pt x="216" y="170"/>
                    </a:cubicBezTo>
                    <a:lnTo>
                      <a:pt x="218" y="170"/>
                    </a:lnTo>
                    <a:close/>
                    <a:moveTo>
                      <a:pt x="217" y="179"/>
                    </a:moveTo>
                    <a:cubicBezTo>
                      <a:pt x="217" y="179"/>
                      <a:pt x="217" y="179"/>
                      <a:pt x="217" y="179"/>
                    </a:cubicBezTo>
                    <a:cubicBezTo>
                      <a:pt x="217" y="179"/>
                      <a:pt x="217" y="179"/>
                      <a:pt x="217" y="179"/>
                    </a:cubicBezTo>
                    <a:cubicBezTo>
                      <a:pt x="217" y="179"/>
                      <a:pt x="217" y="179"/>
                      <a:pt x="217" y="179"/>
                    </a:cubicBezTo>
                    <a:close/>
                    <a:moveTo>
                      <a:pt x="215" y="145"/>
                    </a:moveTo>
                    <a:cubicBezTo>
                      <a:pt x="215" y="145"/>
                      <a:pt x="215" y="145"/>
                      <a:pt x="215" y="145"/>
                    </a:cubicBezTo>
                    <a:cubicBezTo>
                      <a:pt x="215" y="145"/>
                      <a:pt x="215" y="145"/>
                      <a:pt x="215" y="145"/>
                    </a:cubicBezTo>
                    <a:cubicBezTo>
                      <a:pt x="215" y="145"/>
                      <a:pt x="215" y="145"/>
                      <a:pt x="215" y="145"/>
                    </a:cubicBezTo>
                    <a:cubicBezTo>
                      <a:pt x="214" y="145"/>
                      <a:pt x="214" y="145"/>
                      <a:pt x="214" y="145"/>
                    </a:cubicBezTo>
                    <a:lnTo>
                      <a:pt x="215" y="145"/>
                    </a:lnTo>
                    <a:close/>
                    <a:moveTo>
                      <a:pt x="213" y="187"/>
                    </a:moveTo>
                    <a:cubicBezTo>
                      <a:pt x="213" y="188"/>
                      <a:pt x="213" y="188"/>
                      <a:pt x="213" y="188"/>
                    </a:cubicBezTo>
                    <a:cubicBezTo>
                      <a:pt x="213" y="190"/>
                      <a:pt x="213" y="190"/>
                      <a:pt x="213" y="190"/>
                    </a:cubicBezTo>
                    <a:cubicBezTo>
                      <a:pt x="213" y="188"/>
                      <a:pt x="213" y="188"/>
                      <a:pt x="213" y="188"/>
                    </a:cubicBezTo>
                    <a:cubicBezTo>
                      <a:pt x="213" y="187"/>
                      <a:pt x="213" y="187"/>
                      <a:pt x="213" y="187"/>
                    </a:cubicBezTo>
                    <a:cubicBezTo>
                      <a:pt x="215" y="186"/>
                      <a:pt x="215" y="186"/>
                      <a:pt x="215" y="186"/>
                    </a:cubicBezTo>
                    <a:cubicBezTo>
                      <a:pt x="215" y="186"/>
                      <a:pt x="215" y="186"/>
                      <a:pt x="215" y="186"/>
                    </a:cubicBezTo>
                    <a:lnTo>
                      <a:pt x="213" y="187"/>
                    </a:lnTo>
                    <a:close/>
                    <a:moveTo>
                      <a:pt x="215" y="204"/>
                    </a:moveTo>
                    <a:cubicBezTo>
                      <a:pt x="214" y="204"/>
                      <a:pt x="214" y="204"/>
                      <a:pt x="214" y="204"/>
                    </a:cubicBezTo>
                    <a:cubicBezTo>
                      <a:pt x="214" y="204"/>
                      <a:pt x="214" y="204"/>
                      <a:pt x="215" y="204"/>
                    </a:cubicBezTo>
                    <a:cubicBezTo>
                      <a:pt x="215" y="204"/>
                      <a:pt x="216" y="204"/>
                      <a:pt x="217" y="205"/>
                    </a:cubicBezTo>
                    <a:cubicBezTo>
                      <a:pt x="216" y="204"/>
                      <a:pt x="215" y="204"/>
                      <a:pt x="215" y="204"/>
                    </a:cubicBezTo>
                    <a:close/>
                    <a:moveTo>
                      <a:pt x="217" y="174"/>
                    </a:moveTo>
                    <a:cubicBezTo>
                      <a:pt x="217" y="174"/>
                      <a:pt x="217" y="173"/>
                      <a:pt x="217" y="173"/>
                    </a:cubicBezTo>
                    <a:cubicBezTo>
                      <a:pt x="217" y="173"/>
                      <a:pt x="217" y="174"/>
                      <a:pt x="217" y="174"/>
                    </a:cubicBezTo>
                    <a:cubicBezTo>
                      <a:pt x="217" y="174"/>
                      <a:pt x="217" y="174"/>
                      <a:pt x="217" y="174"/>
                    </a:cubicBezTo>
                    <a:cubicBezTo>
                      <a:pt x="217" y="174"/>
                      <a:pt x="217" y="174"/>
                      <a:pt x="217" y="174"/>
                    </a:cubicBezTo>
                    <a:cubicBezTo>
                      <a:pt x="217" y="174"/>
                      <a:pt x="217" y="174"/>
                      <a:pt x="217" y="174"/>
                    </a:cubicBezTo>
                    <a:cubicBezTo>
                      <a:pt x="217" y="174"/>
                      <a:pt x="217" y="174"/>
                      <a:pt x="217" y="174"/>
                    </a:cubicBezTo>
                    <a:close/>
                    <a:moveTo>
                      <a:pt x="217" y="172"/>
                    </a:moveTo>
                    <a:cubicBezTo>
                      <a:pt x="217" y="172"/>
                      <a:pt x="217" y="172"/>
                      <a:pt x="217" y="172"/>
                    </a:cubicBezTo>
                    <a:cubicBezTo>
                      <a:pt x="217" y="172"/>
                      <a:pt x="217" y="172"/>
                      <a:pt x="217" y="172"/>
                    </a:cubicBezTo>
                    <a:cubicBezTo>
                      <a:pt x="217" y="172"/>
                      <a:pt x="217" y="172"/>
                      <a:pt x="217" y="172"/>
                    </a:cubicBezTo>
                    <a:close/>
                    <a:moveTo>
                      <a:pt x="217" y="176"/>
                    </a:moveTo>
                    <a:cubicBezTo>
                      <a:pt x="217" y="176"/>
                      <a:pt x="217" y="176"/>
                      <a:pt x="217" y="176"/>
                    </a:cubicBezTo>
                    <a:cubicBezTo>
                      <a:pt x="217" y="176"/>
                      <a:pt x="217" y="176"/>
                      <a:pt x="217" y="176"/>
                    </a:cubicBezTo>
                    <a:cubicBezTo>
                      <a:pt x="217" y="176"/>
                      <a:pt x="217" y="176"/>
                      <a:pt x="217" y="176"/>
                    </a:cubicBezTo>
                    <a:cubicBezTo>
                      <a:pt x="217" y="176"/>
                      <a:pt x="217" y="176"/>
                      <a:pt x="217" y="176"/>
                    </a:cubicBezTo>
                    <a:close/>
                    <a:moveTo>
                      <a:pt x="217" y="185"/>
                    </a:moveTo>
                    <a:cubicBezTo>
                      <a:pt x="218" y="184"/>
                      <a:pt x="218" y="184"/>
                      <a:pt x="218" y="184"/>
                    </a:cubicBezTo>
                    <a:cubicBezTo>
                      <a:pt x="218" y="184"/>
                      <a:pt x="218" y="184"/>
                      <a:pt x="218" y="184"/>
                    </a:cubicBezTo>
                    <a:lnTo>
                      <a:pt x="217" y="185"/>
                    </a:lnTo>
                    <a:close/>
                    <a:moveTo>
                      <a:pt x="271" y="131"/>
                    </a:moveTo>
                    <a:cubicBezTo>
                      <a:pt x="272" y="130"/>
                      <a:pt x="272" y="130"/>
                      <a:pt x="272" y="130"/>
                    </a:cubicBezTo>
                    <a:cubicBezTo>
                      <a:pt x="271" y="131"/>
                      <a:pt x="271" y="131"/>
                      <a:pt x="271" y="131"/>
                    </a:cubicBezTo>
                    <a:cubicBezTo>
                      <a:pt x="271" y="131"/>
                      <a:pt x="271" y="131"/>
                      <a:pt x="270" y="132"/>
                    </a:cubicBezTo>
                    <a:cubicBezTo>
                      <a:pt x="271" y="131"/>
                      <a:pt x="271" y="131"/>
                      <a:pt x="271" y="131"/>
                    </a:cubicBezTo>
                    <a:close/>
                    <a:moveTo>
                      <a:pt x="270" y="204"/>
                    </a:moveTo>
                    <a:cubicBezTo>
                      <a:pt x="270" y="202"/>
                      <a:pt x="270" y="202"/>
                      <a:pt x="270" y="202"/>
                    </a:cubicBezTo>
                    <a:cubicBezTo>
                      <a:pt x="270" y="202"/>
                      <a:pt x="270" y="202"/>
                      <a:pt x="270" y="202"/>
                    </a:cubicBezTo>
                    <a:cubicBezTo>
                      <a:pt x="270" y="202"/>
                      <a:pt x="270" y="202"/>
                      <a:pt x="270" y="202"/>
                    </a:cubicBezTo>
                    <a:lnTo>
                      <a:pt x="270" y="204"/>
                    </a:lnTo>
                    <a:close/>
                    <a:moveTo>
                      <a:pt x="270" y="194"/>
                    </a:moveTo>
                    <a:cubicBezTo>
                      <a:pt x="270" y="194"/>
                      <a:pt x="270" y="194"/>
                      <a:pt x="270" y="194"/>
                    </a:cubicBezTo>
                    <a:cubicBezTo>
                      <a:pt x="270" y="194"/>
                      <a:pt x="270" y="194"/>
                      <a:pt x="270" y="194"/>
                    </a:cubicBezTo>
                    <a:close/>
                    <a:moveTo>
                      <a:pt x="267" y="133"/>
                    </a:moveTo>
                    <a:cubicBezTo>
                      <a:pt x="268" y="133"/>
                      <a:pt x="268" y="133"/>
                      <a:pt x="268" y="133"/>
                    </a:cubicBezTo>
                    <a:cubicBezTo>
                      <a:pt x="268" y="133"/>
                      <a:pt x="268" y="133"/>
                      <a:pt x="268" y="133"/>
                    </a:cubicBezTo>
                    <a:cubicBezTo>
                      <a:pt x="267" y="133"/>
                      <a:pt x="267" y="133"/>
                      <a:pt x="267" y="133"/>
                    </a:cubicBezTo>
                    <a:close/>
                    <a:moveTo>
                      <a:pt x="268" y="181"/>
                    </a:move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8" y="181"/>
                      <a:pt x="267" y="182"/>
                      <a:pt x="267" y="182"/>
                    </a:cubicBezTo>
                    <a:cubicBezTo>
                      <a:pt x="267" y="182"/>
                      <a:pt x="268" y="181"/>
                      <a:pt x="268" y="181"/>
                    </a:cubicBezTo>
                    <a:close/>
                    <a:moveTo>
                      <a:pt x="267" y="209"/>
                    </a:moveTo>
                    <a:cubicBezTo>
                      <a:pt x="267" y="209"/>
                      <a:pt x="267" y="209"/>
                      <a:pt x="267" y="209"/>
                    </a:cubicBezTo>
                    <a:cubicBezTo>
                      <a:pt x="266" y="210"/>
                      <a:pt x="266" y="210"/>
                      <a:pt x="266" y="210"/>
                    </a:cubicBezTo>
                    <a:cubicBezTo>
                      <a:pt x="265" y="210"/>
                      <a:pt x="265" y="210"/>
                      <a:pt x="265" y="210"/>
                    </a:cubicBezTo>
                    <a:cubicBezTo>
                      <a:pt x="266" y="210"/>
                      <a:pt x="266" y="210"/>
                      <a:pt x="266" y="210"/>
                    </a:cubicBezTo>
                    <a:lnTo>
                      <a:pt x="267" y="209"/>
                    </a:lnTo>
                    <a:close/>
                    <a:moveTo>
                      <a:pt x="266" y="200"/>
                    </a:moveTo>
                    <a:cubicBezTo>
                      <a:pt x="266" y="200"/>
                      <a:pt x="266" y="200"/>
                      <a:pt x="266" y="200"/>
                    </a:cubicBezTo>
                    <a:cubicBezTo>
                      <a:pt x="266" y="200"/>
                      <a:pt x="266" y="200"/>
                      <a:pt x="266" y="200"/>
                    </a:cubicBezTo>
                    <a:cubicBezTo>
                      <a:pt x="266" y="199"/>
                      <a:pt x="266" y="199"/>
                      <a:pt x="266" y="199"/>
                    </a:cubicBezTo>
                    <a:lnTo>
                      <a:pt x="266" y="200"/>
                    </a:lnTo>
                    <a:close/>
                    <a:moveTo>
                      <a:pt x="265" y="183"/>
                    </a:moveTo>
                    <a:cubicBezTo>
                      <a:pt x="265" y="183"/>
                      <a:pt x="265" y="183"/>
                      <a:pt x="265" y="183"/>
                    </a:cubicBezTo>
                    <a:cubicBezTo>
                      <a:pt x="265" y="183"/>
                      <a:pt x="265" y="183"/>
                      <a:pt x="265" y="183"/>
                    </a:cubicBezTo>
                    <a:cubicBezTo>
                      <a:pt x="265" y="183"/>
                      <a:pt x="265" y="183"/>
                      <a:pt x="265" y="183"/>
                    </a:cubicBezTo>
                    <a:close/>
                    <a:moveTo>
                      <a:pt x="266" y="197"/>
                    </a:moveTo>
                    <a:cubicBezTo>
                      <a:pt x="263" y="198"/>
                      <a:pt x="263" y="198"/>
                      <a:pt x="263" y="198"/>
                    </a:cubicBezTo>
                    <a:cubicBezTo>
                      <a:pt x="261" y="199"/>
                      <a:pt x="261" y="199"/>
                      <a:pt x="261" y="199"/>
                    </a:cubicBezTo>
                    <a:cubicBezTo>
                      <a:pt x="261" y="199"/>
                      <a:pt x="261" y="199"/>
                      <a:pt x="261" y="199"/>
                    </a:cubicBezTo>
                    <a:cubicBezTo>
                      <a:pt x="263" y="198"/>
                      <a:pt x="263" y="198"/>
                      <a:pt x="263" y="198"/>
                    </a:cubicBezTo>
                    <a:lnTo>
                      <a:pt x="266" y="197"/>
                    </a:lnTo>
                    <a:close/>
                    <a:moveTo>
                      <a:pt x="265" y="206"/>
                    </a:moveTo>
                    <a:cubicBezTo>
                      <a:pt x="265" y="206"/>
                      <a:pt x="264" y="206"/>
                      <a:pt x="264" y="206"/>
                    </a:cubicBezTo>
                    <a:cubicBezTo>
                      <a:pt x="263" y="206"/>
                      <a:pt x="262" y="207"/>
                      <a:pt x="262" y="207"/>
                    </a:cubicBezTo>
                    <a:cubicBezTo>
                      <a:pt x="259" y="209"/>
                      <a:pt x="259" y="209"/>
                      <a:pt x="259" y="209"/>
                    </a:cubicBezTo>
                    <a:cubicBezTo>
                      <a:pt x="259" y="209"/>
                      <a:pt x="259" y="209"/>
                      <a:pt x="259" y="209"/>
                    </a:cubicBezTo>
                    <a:cubicBezTo>
                      <a:pt x="262" y="207"/>
                      <a:pt x="262" y="207"/>
                      <a:pt x="262" y="207"/>
                    </a:cubicBezTo>
                    <a:cubicBezTo>
                      <a:pt x="262" y="207"/>
                      <a:pt x="263" y="206"/>
                      <a:pt x="264" y="206"/>
                    </a:cubicBezTo>
                    <a:cubicBezTo>
                      <a:pt x="264" y="206"/>
                      <a:pt x="265" y="206"/>
                      <a:pt x="265" y="206"/>
                    </a:cubicBezTo>
                    <a:close/>
                    <a:moveTo>
                      <a:pt x="263" y="192"/>
                    </a:moveTo>
                    <a:cubicBezTo>
                      <a:pt x="262" y="192"/>
                      <a:pt x="262" y="192"/>
                      <a:pt x="262" y="192"/>
                    </a:cubicBezTo>
                    <a:cubicBezTo>
                      <a:pt x="262" y="192"/>
                      <a:pt x="262" y="192"/>
                      <a:pt x="263" y="192"/>
                    </a:cubicBezTo>
                    <a:cubicBezTo>
                      <a:pt x="263" y="192"/>
                      <a:pt x="263" y="192"/>
                      <a:pt x="264" y="192"/>
                    </a:cubicBezTo>
                    <a:cubicBezTo>
                      <a:pt x="263" y="192"/>
                      <a:pt x="263" y="192"/>
                      <a:pt x="263" y="192"/>
                    </a:cubicBezTo>
                    <a:close/>
                    <a:moveTo>
                      <a:pt x="263" y="183"/>
                    </a:moveTo>
                    <a:cubicBezTo>
                      <a:pt x="263" y="183"/>
                      <a:pt x="262" y="183"/>
                      <a:pt x="261" y="182"/>
                    </a:cubicBezTo>
                    <a:cubicBezTo>
                      <a:pt x="261" y="182"/>
                      <a:pt x="261" y="182"/>
                      <a:pt x="261" y="182"/>
                    </a:cubicBezTo>
                    <a:cubicBezTo>
                      <a:pt x="261" y="182"/>
                      <a:pt x="261" y="182"/>
                      <a:pt x="261" y="182"/>
                    </a:cubicBezTo>
                    <a:cubicBezTo>
                      <a:pt x="262" y="183"/>
                      <a:pt x="263" y="183"/>
                      <a:pt x="263" y="183"/>
                    </a:cubicBezTo>
                    <a:close/>
                    <a:moveTo>
                      <a:pt x="262" y="130"/>
                    </a:moveTo>
                    <a:cubicBezTo>
                      <a:pt x="262" y="130"/>
                      <a:pt x="262" y="130"/>
                      <a:pt x="262" y="130"/>
                    </a:cubicBezTo>
                    <a:cubicBezTo>
                      <a:pt x="260" y="130"/>
                      <a:pt x="260" y="130"/>
                      <a:pt x="260" y="130"/>
                    </a:cubicBezTo>
                    <a:lnTo>
                      <a:pt x="262" y="130"/>
                    </a:lnTo>
                    <a:close/>
                    <a:moveTo>
                      <a:pt x="260" y="189"/>
                    </a:moveTo>
                    <a:cubicBezTo>
                      <a:pt x="260" y="189"/>
                      <a:pt x="260" y="189"/>
                      <a:pt x="260" y="189"/>
                    </a:cubicBezTo>
                    <a:cubicBezTo>
                      <a:pt x="260" y="189"/>
                      <a:pt x="260" y="189"/>
                      <a:pt x="260" y="189"/>
                    </a:cubicBezTo>
                    <a:close/>
                    <a:moveTo>
                      <a:pt x="259" y="194"/>
                    </a:moveTo>
                    <a:cubicBezTo>
                      <a:pt x="259" y="194"/>
                      <a:pt x="260" y="193"/>
                      <a:pt x="261" y="193"/>
                    </a:cubicBezTo>
                    <a:cubicBezTo>
                      <a:pt x="260" y="193"/>
                      <a:pt x="259" y="194"/>
                      <a:pt x="259" y="194"/>
                    </a:cubicBezTo>
                    <a:cubicBezTo>
                      <a:pt x="258" y="193"/>
                      <a:pt x="258" y="193"/>
                      <a:pt x="258" y="193"/>
                    </a:cubicBezTo>
                    <a:cubicBezTo>
                      <a:pt x="256" y="194"/>
                      <a:pt x="256" y="194"/>
                      <a:pt x="256" y="194"/>
                    </a:cubicBezTo>
                    <a:cubicBezTo>
                      <a:pt x="256" y="194"/>
                      <a:pt x="256" y="194"/>
                      <a:pt x="256" y="194"/>
                    </a:cubicBezTo>
                    <a:cubicBezTo>
                      <a:pt x="255" y="193"/>
                      <a:pt x="255" y="193"/>
                      <a:pt x="255" y="193"/>
                    </a:cubicBezTo>
                    <a:cubicBezTo>
                      <a:pt x="255" y="193"/>
                      <a:pt x="255" y="193"/>
                      <a:pt x="255" y="193"/>
                    </a:cubicBezTo>
                    <a:cubicBezTo>
                      <a:pt x="256" y="194"/>
                      <a:pt x="256" y="194"/>
                      <a:pt x="256" y="194"/>
                    </a:cubicBezTo>
                    <a:cubicBezTo>
                      <a:pt x="258" y="193"/>
                      <a:pt x="258" y="193"/>
                      <a:pt x="258" y="193"/>
                    </a:cubicBezTo>
                    <a:lnTo>
                      <a:pt x="259" y="194"/>
                    </a:lnTo>
                    <a:close/>
                    <a:moveTo>
                      <a:pt x="258" y="202"/>
                    </a:moveTo>
                    <a:cubicBezTo>
                      <a:pt x="259" y="202"/>
                      <a:pt x="259" y="202"/>
                      <a:pt x="259" y="202"/>
                    </a:cubicBezTo>
                    <a:cubicBezTo>
                      <a:pt x="259" y="205"/>
                      <a:pt x="259" y="205"/>
                      <a:pt x="259" y="205"/>
                    </a:cubicBezTo>
                    <a:cubicBezTo>
                      <a:pt x="259" y="205"/>
                      <a:pt x="259" y="205"/>
                      <a:pt x="259" y="205"/>
                    </a:cubicBezTo>
                    <a:cubicBezTo>
                      <a:pt x="259" y="202"/>
                      <a:pt x="259" y="202"/>
                      <a:pt x="259" y="202"/>
                    </a:cubicBezTo>
                    <a:lnTo>
                      <a:pt x="258" y="202"/>
                    </a:lnTo>
                    <a:close/>
                    <a:moveTo>
                      <a:pt x="258" y="197"/>
                    </a:moveTo>
                    <a:cubicBezTo>
                      <a:pt x="259" y="197"/>
                      <a:pt x="259" y="197"/>
                      <a:pt x="259" y="197"/>
                    </a:cubicBezTo>
                    <a:cubicBezTo>
                      <a:pt x="259" y="197"/>
                      <a:pt x="259" y="197"/>
                      <a:pt x="259" y="197"/>
                    </a:cubicBezTo>
                    <a:lnTo>
                      <a:pt x="258" y="197"/>
                    </a:lnTo>
                    <a:close/>
                    <a:moveTo>
                      <a:pt x="254" y="245"/>
                    </a:moveTo>
                    <a:cubicBezTo>
                      <a:pt x="254" y="245"/>
                      <a:pt x="254" y="245"/>
                      <a:pt x="254" y="245"/>
                    </a:cubicBezTo>
                    <a:cubicBezTo>
                      <a:pt x="254" y="245"/>
                      <a:pt x="254" y="246"/>
                      <a:pt x="254" y="246"/>
                    </a:cubicBezTo>
                    <a:cubicBezTo>
                      <a:pt x="254" y="246"/>
                      <a:pt x="254" y="245"/>
                      <a:pt x="254" y="245"/>
                    </a:cubicBezTo>
                    <a:close/>
                    <a:moveTo>
                      <a:pt x="254" y="221"/>
                    </a:moveTo>
                    <a:cubicBezTo>
                      <a:pt x="254" y="221"/>
                      <a:pt x="254" y="221"/>
                      <a:pt x="254" y="221"/>
                    </a:cubicBezTo>
                    <a:cubicBezTo>
                      <a:pt x="254" y="222"/>
                      <a:pt x="254" y="222"/>
                      <a:pt x="254" y="222"/>
                    </a:cubicBezTo>
                    <a:lnTo>
                      <a:pt x="254" y="221"/>
                    </a:lnTo>
                    <a:close/>
                    <a:moveTo>
                      <a:pt x="254" y="225"/>
                    </a:moveTo>
                    <a:cubicBezTo>
                      <a:pt x="255" y="223"/>
                      <a:pt x="255" y="223"/>
                      <a:pt x="255" y="223"/>
                    </a:cubicBezTo>
                    <a:cubicBezTo>
                      <a:pt x="254" y="223"/>
                      <a:pt x="254" y="223"/>
                      <a:pt x="254" y="223"/>
                    </a:cubicBezTo>
                    <a:cubicBezTo>
                      <a:pt x="255" y="223"/>
                      <a:pt x="255" y="223"/>
                      <a:pt x="255" y="223"/>
                    </a:cubicBezTo>
                    <a:lnTo>
                      <a:pt x="254" y="225"/>
                    </a:lnTo>
                    <a:close/>
                    <a:moveTo>
                      <a:pt x="255" y="221"/>
                    </a:moveTo>
                    <a:cubicBezTo>
                      <a:pt x="254" y="221"/>
                      <a:pt x="254" y="221"/>
                      <a:pt x="254" y="221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5" y="221"/>
                      <a:pt x="255" y="221"/>
                      <a:pt x="255" y="221"/>
                    </a:cubicBezTo>
                    <a:close/>
                    <a:moveTo>
                      <a:pt x="256" y="188"/>
                    </a:moveTo>
                    <a:cubicBezTo>
                      <a:pt x="256" y="188"/>
                      <a:pt x="256" y="188"/>
                      <a:pt x="256" y="188"/>
                    </a:cubicBezTo>
                    <a:cubicBezTo>
                      <a:pt x="256" y="188"/>
                      <a:pt x="254" y="188"/>
                      <a:pt x="255" y="188"/>
                    </a:cubicBezTo>
                    <a:cubicBezTo>
                      <a:pt x="255" y="188"/>
                      <a:pt x="255" y="188"/>
                      <a:pt x="255" y="188"/>
                    </a:cubicBezTo>
                    <a:cubicBezTo>
                      <a:pt x="255" y="188"/>
                      <a:pt x="255" y="188"/>
                      <a:pt x="255" y="188"/>
                    </a:cubicBezTo>
                    <a:cubicBezTo>
                      <a:pt x="254" y="188"/>
                      <a:pt x="256" y="188"/>
                      <a:pt x="256" y="188"/>
                    </a:cubicBezTo>
                    <a:close/>
                    <a:moveTo>
                      <a:pt x="256" y="191"/>
                    </a:moveTo>
                    <a:cubicBezTo>
                      <a:pt x="256" y="190"/>
                      <a:pt x="256" y="190"/>
                      <a:pt x="256" y="190"/>
                    </a:cubicBezTo>
                    <a:cubicBezTo>
                      <a:pt x="256" y="190"/>
                      <a:pt x="256" y="190"/>
                      <a:pt x="256" y="190"/>
                    </a:cubicBezTo>
                    <a:cubicBezTo>
                      <a:pt x="256" y="190"/>
                      <a:pt x="256" y="190"/>
                      <a:pt x="256" y="190"/>
                    </a:cubicBezTo>
                    <a:lnTo>
                      <a:pt x="256" y="191"/>
                    </a:lnTo>
                    <a:close/>
                    <a:moveTo>
                      <a:pt x="256" y="187"/>
                    </a:moveTo>
                    <a:cubicBezTo>
                      <a:pt x="256" y="186"/>
                      <a:pt x="256" y="186"/>
                      <a:pt x="256" y="186"/>
                    </a:cubicBezTo>
                    <a:cubicBezTo>
                      <a:pt x="256" y="186"/>
                      <a:pt x="256" y="186"/>
                      <a:pt x="256" y="186"/>
                    </a:cubicBezTo>
                    <a:cubicBezTo>
                      <a:pt x="256" y="186"/>
                      <a:pt x="256" y="186"/>
                      <a:pt x="256" y="187"/>
                    </a:cubicBezTo>
                    <a:close/>
                    <a:moveTo>
                      <a:pt x="257" y="192"/>
                    </a:moveTo>
                    <a:cubicBezTo>
                      <a:pt x="257" y="192"/>
                      <a:pt x="257" y="192"/>
                      <a:pt x="257" y="192"/>
                    </a:cubicBezTo>
                    <a:cubicBezTo>
                      <a:pt x="255" y="193"/>
                      <a:pt x="255" y="193"/>
                      <a:pt x="255" y="193"/>
                    </a:cubicBezTo>
                    <a:lnTo>
                      <a:pt x="257" y="192"/>
                    </a:lnTo>
                    <a:close/>
                    <a:moveTo>
                      <a:pt x="255" y="204"/>
                    </a:moveTo>
                    <a:cubicBezTo>
                      <a:pt x="256" y="206"/>
                      <a:pt x="256" y="206"/>
                      <a:pt x="256" y="206"/>
                    </a:cubicBezTo>
                    <a:cubicBezTo>
                      <a:pt x="256" y="206"/>
                      <a:pt x="256" y="206"/>
                      <a:pt x="256" y="206"/>
                    </a:cubicBezTo>
                    <a:lnTo>
                      <a:pt x="255" y="204"/>
                    </a:lnTo>
                    <a:close/>
                    <a:moveTo>
                      <a:pt x="255" y="197"/>
                    </a:moveTo>
                    <a:cubicBezTo>
                      <a:pt x="255" y="197"/>
                      <a:pt x="255" y="197"/>
                      <a:pt x="255" y="197"/>
                    </a:cubicBezTo>
                    <a:cubicBezTo>
                      <a:pt x="257" y="197"/>
                      <a:pt x="257" y="197"/>
                      <a:pt x="257" y="197"/>
                    </a:cubicBezTo>
                    <a:cubicBezTo>
                      <a:pt x="257" y="197"/>
                      <a:pt x="257" y="197"/>
                      <a:pt x="257" y="197"/>
                    </a:cubicBezTo>
                    <a:lnTo>
                      <a:pt x="255" y="197"/>
                    </a:lnTo>
                    <a:close/>
                    <a:moveTo>
                      <a:pt x="257" y="219"/>
                    </a:moveTo>
                    <a:cubicBezTo>
                      <a:pt x="257" y="220"/>
                      <a:pt x="257" y="220"/>
                      <a:pt x="257" y="220"/>
                    </a:cubicBezTo>
                    <a:cubicBezTo>
                      <a:pt x="257" y="220"/>
                      <a:pt x="257" y="220"/>
                      <a:pt x="257" y="220"/>
                    </a:cubicBezTo>
                    <a:cubicBezTo>
                      <a:pt x="257" y="219"/>
                      <a:pt x="257" y="219"/>
                      <a:pt x="257" y="219"/>
                    </a:cubicBezTo>
                    <a:close/>
                    <a:moveTo>
                      <a:pt x="258" y="190"/>
                    </a:moveTo>
                    <a:cubicBezTo>
                      <a:pt x="257" y="189"/>
                      <a:pt x="257" y="189"/>
                      <a:pt x="257" y="189"/>
                    </a:cubicBezTo>
                    <a:cubicBezTo>
                      <a:pt x="258" y="190"/>
                      <a:pt x="258" y="190"/>
                      <a:pt x="258" y="190"/>
                    </a:cubicBezTo>
                    <a:cubicBezTo>
                      <a:pt x="259" y="189"/>
                      <a:pt x="259" y="189"/>
                      <a:pt x="259" y="189"/>
                    </a:cubicBezTo>
                    <a:lnTo>
                      <a:pt x="258" y="190"/>
                    </a:lnTo>
                    <a:close/>
                    <a:moveTo>
                      <a:pt x="258" y="127"/>
                    </a:moveTo>
                    <a:cubicBezTo>
                      <a:pt x="258" y="127"/>
                      <a:pt x="258" y="127"/>
                      <a:pt x="258" y="127"/>
                    </a:cubicBezTo>
                    <a:cubicBezTo>
                      <a:pt x="258" y="127"/>
                      <a:pt x="258" y="128"/>
                      <a:pt x="258" y="128"/>
                    </a:cubicBezTo>
                    <a:cubicBezTo>
                      <a:pt x="258" y="128"/>
                      <a:pt x="258" y="127"/>
                      <a:pt x="258" y="127"/>
                    </a:cubicBezTo>
                    <a:close/>
                    <a:moveTo>
                      <a:pt x="258" y="128"/>
                    </a:moveTo>
                    <a:cubicBezTo>
                      <a:pt x="257" y="129"/>
                      <a:pt x="257" y="129"/>
                      <a:pt x="257" y="129"/>
                    </a:cubicBezTo>
                    <a:cubicBezTo>
                      <a:pt x="259" y="130"/>
                      <a:pt x="259" y="130"/>
                      <a:pt x="259" y="130"/>
                    </a:cubicBezTo>
                    <a:cubicBezTo>
                      <a:pt x="259" y="130"/>
                      <a:pt x="259" y="130"/>
                      <a:pt x="259" y="130"/>
                    </a:cubicBezTo>
                    <a:cubicBezTo>
                      <a:pt x="257" y="129"/>
                      <a:pt x="257" y="129"/>
                      <a:pt x="257" y="129"/>
                    </a:cubicBezTo>
                    <a:lnTo>
                      <a:pt x="258" y="128"/>
                    </a:lnTo>
                    <a:close/>
                    <a:moveTo>
                      <a:pt x="258" y="183"/>
                    </a:moveTo>
                    <a:cubicBezTo>
                      <a:pt x="258" y="183"/>
                      <a:pt x="258" y="183"/>
                      <a:pt x="258" y="183"/>
                    </a:cubicBezTo>
                    <a:cubicBezTo>
                      <a:pt x="258" y="183"/>
                      <a:pt x="258" y="183"/>
                      <a:pt x="258" y="183"/>
                    </a:cubicBezTo>
                    <a:cubicBezTo>
                      <a:pt x="257" y="185"/>
                      <a:pt x="257" y="185"/>
                      <a:pt x="257" y="185"/>
                    </a:cubicBezTo>
                    <a:cubicBezTo>
                      <a:pt x="256" y="186"/>
                      <a:pt x="256" y="186"/>
                      <a:pt x="256" y="186"/>
                    </a:cubicBezTo>
                    <a:cubicBezTo>
                      <a:pt x="256" y="186"/>
                      <a:pt x="256" y="186"/>
                      <a:pt x="256" y="186"/>
                    </a:cubicBezTo>
                    <a:cubicBezTo>
                      <a:pt x="256" y="186"/>
                      <a:pt x="256" y="186"/>
                      <a:pt x="256" y="186"/>
                    </a:cubicBezTo>
                    <a:cubicBezTo>
                      <a:pt x="257" y="185"/>
                      <a:pt x="257" y="185"/>
                      <a:pt x="257" y="185"/>
                    </a:cubicBezTo>
                    <a:lnTo>
                      <a:pt x="258" y="183"/>
                    </a:lnTo>
                    <a:close/>
                    <a:moveTo>
                      <a:pt x="255" y="124"/>
                    </a:moveTo>
                    <a:cubicBezTo>
                      <a:pt x="256" y="124"/>
                      <a:pt x="256" y="124"/>
                      <a:pt x="256" y="124"/>
                    </a:cubicBezTo>
                    <a:cubicBezTo>
                      <a:pt x="256" y="124"/>
                      <a:pt x="257" y="124"/>
                      <a:pt x="257" y="125"/>
                    </a:cubicBezTo>
                    <a:cubicBezTo>
                      <a:pt x="257" y="124"/>
                      <a:pt x="256" y="124"/>
                      <a:pt x="256" y="124"/>
                    </a:cubicBezTo>
                    <a:cubicBezTo>
                      <a:pt x="255" y="124"/>
                      <a:pt x="255" y="124"/>
                      <a:pt x="255" y="124"/>
                    </a:cubicBezTo>
                    <a:close/>
                    <a:moveTo>
                      <a:pt x="250" y="124"/>
                    </a:moveTo>
                    <a:cubicBezTo>
                      <a:pt x="250" y="124"/>
                      <a:pt x="250" y="124"/>
                      <a:pt x="250" y="124"/>
                    </a:cubicBezTo>
                    <a:cubicBezTo>
                      <a:pt x="251" y="123"/>
                      <a:pt x="251" y="123"/>
                      <a:pt x="251" y="123"/>
                    </a:cubicBezTo>
                    <a:cubicBezTo>
                      <a:pt x="255" y="125"/>
                      <a:pt x="255" y="125"/>
                      <a:pt x="255" y="125"/>
                    </a:cubicBezTo>
                    <a:cubicBezTo>
                      <a:pt x="255" y="125"/>
                      <a:pt x="255" y="125"/>
                      <a:pt x="255" y="125"/>
                    </a:cubicBezTo>
                    <a:cubicBezTo>
                      <a:pt x="251" y="123"/>
                      <a:pt x="251" y="123"/>
                      <a:pt x="251" y="123"/>
                    </a:cubicBezTo>
                    <a:cubicBezTo>
                      <a:pt x="250" y="124"/>
                      <a:pt x="250" y="124"/>
                      <a:pt x="250" y="124"/>
                    </a:cubicBezTo>
                    <a:cubicBezTo>
                      <a:pt x="250" y="124"/>
                      <a:pt x="250" y="124"/>
                      <a:pt x="250" y="124"/>
                    </a:cubicBezTo>
                    <a:close/>
                    <a:moveTo>
                      <a:pt x="252" y="251"/>
                    </a:moveTo>
                    <a:cubicBezTo>
                      <a:pt x="252" y="251"/>
                      <a:pt x="252" y="251"/>
                      <a:pt x="252" y="251"/>
                    </a:cubicBezTo>
                    <a:cubicBezTo>
                      <a:pt x="253" y="249"/>
                      <a:pt x="253" y="249"/>
                      <a:pt x="253" y="249"/>
                    </a:cubicBezTo>
                    <a:cubicBezTo>
                      <a:pt x="253" y="248"/>
                      <a:pt x="253" y="248"/>
                      <a:pt x="253" y="248"/>
                    </a:cubicBezTo>
                    <a:cubicBezTo>
                      <a:pt x="253" y="249"/>
                      <a:pt x="253" y="249"/>
                      <a:pt x="253" y="249"/>
                    </a:cubicBezTo>
                    <a:cubicBezTo>
                      <a:pt x="252" y="251"/>
                      <a:pt x="252" y="251"/>
                      <a:pt x="252" y="251"/>
                    </a:cubicBezTo>
                    <a:close/>
                    <a:moveTo>
                      <a:pt x="252" y="229"/>
                    </a:moveTo>
                    <a:cubicBezTo>
                      <a:pt x="252" y="230"/>
                      <a:pt x="252" y="230"/>
                      <a:pt x="252" y="230"/>
                    </a:cubicBezTo>
                    <a:cubicBezTo>
                      <a:pt x="252" y="230"/>
                      <a:pt x="252" y="230"/>
                      <a:pt x="252" y="230"/>
                    </a:cubicBezTo>
                    <a:lnTo>
                      <a:pt x="252" y="229"/>
                    </a:lnTo>
                    <a:close/>
                    <a:moveTo>
                      <a:pt x="253" y="225"/>
                    </a:moveTo>
                    <a:cubicBezTo>
                      <a:pt x="252" y="228"/>
                      <a:pt x="252" y="228"/>
                      <a:pt x="252" y="228"/>
                    </a:cubicBezTo>
                    <a:cubicBezTo>
                      <a:pt x="252" y="228"/>
                      <a:pt x="252" y="228"/>
                      <a:pt x="252" y="228"/>
                    </a:cubicBezTo>
                    <a:cubicBezTo>
                      <a:pt x="253" y="225"/>
                      <a:pt x="253" y="225"/>
                      <a:pt x="253" y="225"/>
                    </a:cubicBezTo>
                    <a:cubicBezTo>
                      <a:pt x="253" y="225"/>
                      <a:pt x="253" y="225"/>
                      <a:pt x="253" y="225"/>
                    </a:cubicBezTo>
                    <a:close/>
                    <a:moveTo>
                      <a:pt x="252" y="197"/>
                    </a:moveTo>
                    <a:cubicBezTo>
                      <a:pt x="252" y="197"/>
                      <a:pt x="252" y="197"/>
                      <a:pt x="252" y="197"/>
                    </a:cubicBezTo>
                    <a:cubicBezTo>
                      <a:pt x="254" y="197"/>
                      <a:pt x="254" y="197"/>
                      <a:pt x="254" y="197"/>
                    </a:cubicBezTo>
                    <a:lnTo>
                      <a:pt x="252" y="197"/>
                    </a:lnTo>
                    <a:close/>
                    <a:moveTo>
                      <a:pt x="253" y="195"/>
                    </a:moveTo>
                    <a:cubicBezTo>
                      <a:pt x="252" y="196"/>
                      <a:pt x="252" y="196"/>
                      <a:pt x="252" y="196"/>
                    </a:cubicBezTo>
                    <a:cubicBezTo>
                      <a:pt x="252" y="196"/>
                      <a:pt x="252" y="196"/>
                      <a:pt x="252" y="196"/>
                    </a:cubicBezTo>
                    <a:cubicBezTo>
                      <a:pt x="252" y="196"/>
                      <a:pt x="252" y="196"/>
                      <a:pt x="252" y="196"/>
                    </a:cubicBezTo>
                    <a:lnTo>
                      <a:pt x="253" y="195"/>
                    </a:lnTo>
                    <a:close/>
                    <a:moveTo>
                      <a:pt x="253" y="192"/>
                    </a:moveTo>
                    <a:cubicBezTo>
                      <a:pt x="253" y="192"/>
                      <a:pt x="253" y="192"/>
                      <a:pt x="253" y="192"/>
                    </a:cubicBezTo>
                    <a:cubicBezTo>
                      <a:pt x="253" y="192"/>
                      <a:pt x="253" y="192"/>
                      <a:pt x="253" y="192"/>
                    </a:cubicBezTo>
                    <a:close/>
                    <a:moveTo>
                      <a:pt x="250" y="194"/>
                    </a:moveTo>
                    <a:cubicBezTo>
                      <a:pt x="250" y="194"/>
                      <a:pt x="250" y="194"/>
                      <a:pt x="250" y="194"/>
                    </a:cubicBezTo>
                    <a:cubicBezTo>
                      <a:pt x="250" y="194"/>
                      <a:pt x="250" y="194"/>
                      <a:pt x="250" y="194"/>
                    </a:cubicBezTo>
                    <a:close/>
                    <a:moveTo>
                      <a:pt x="248" y="125"/>
                    </a:moveTo>
                    <a:cubicBezTo>
                      <a:pt x="248" y="125"/>
                      <a:pt x="248" y="125"/>
                      <a:pt x="248" y="125"/>
                    </a:cubicBezTo>
                    <a:cubicBezTo>
                      <a:pt x="248" y="125"/>
                      <a:pt x="248" y="126"/>
                      <a:pt x="249" y="126"/>
                    </a:cubicBezTo>
                    <a:cubicBezTo>
                      <a:pt x="248" y="126"/>
                      <a:pt x="248" y="125"/>
                      <a:pt x="248" y="125"/>
                    </a:cubicBezTo>
                    <a:cubicBezTo>
                      <a:pt x="248" y="125"/>
                      <a:pt x="248" y="125"/>
                      <a:pt x="248" y="125"/>
                    </a:cubicBezTo>
                    <a:close/>
                    <a:moveTo>
                      <a:pt x="248" y="190"/>
                    </a:moveTo>
                    <a:cubicBezTo>
                      <a:pt x="248" y="190"/>
                      <a:pt x="248" y="190"/>
                      <a:pt x="248" y="190"/>
                    </a:cubicBezTo>
                    <a:cubicBezTo>
                      <a:pt x="247" y="191"/>
                      <a:pt x="247" y="191"/>
                      <a:pt x="247" y="191"/>
                    </a:cubicBezTo>
                    <a:cubicBezTo>
                      <a:pt x="247" y="191"/>
                      <a:pt x="247" y="191"/>
                      <a:pt x="247" y="191"/>
                    </a:cubicBezTo>
                    <a:lnTo>
                      <a:pt x="248" y="190"/>
                    </a:lnTo>
                    <a:close/>
                    <a:moveTo>
                      <a:pt x="249" y="196"/>
                    </a:moveTo>
                    <a:cubicBezTo>
                      <a:pt x="250" y="196"/>
                      <a:pt x="250" y="196"/>
                      <a:pt x="250" y="195"/>
                    </a:cubicBezTo>
                    <a:cubicBezTo>
                      <a:pt x="250" y="196"/>
                      <a:pt x="250" y="196"/>
                      <a:pt x="249" y="196"/>
                    </a:cubicBezTo>
                    <a:cubicBezTo>
                      <a:pt x="249" y="197"/>
                      <a:pt x="246" y="197"/>
                      <a:pt x="246" y="197"/>
                    </a:cubicBezTo>
                    <a:cubicBezTo>
                      <a:pt x="246" y="198"/>
                      <a:pt x="246" y="198"/>
                      <a:pt x="246" y="198"/>
                    </a:cubicBezTo>
                    <a:cubicBezTo>
                      <a:pt x="246" y="197"/>
                      <a:pt x="246" y="197"/>
                      <a:pt x="246" y="197"/>
                    </a:cubicBezTo>
                    <a:cubicBezTo>
                      <a:pt x="245" y="193"/>
                      <a:pt x="245" y="193"/>
                      <a:pt x="245" y="193"/>
                    </a:cubicBezTo>
                    <a:cubicBezTo>
                      <a:pt x="244" y="192"/>
                      <a:pt x="244" y="192"/>
                      <a:pt x="244" y="192"/>
                    </a:cubicBezTo>
                    <a:cubicBezTo>
                      <a:pt x="245" y="193"/>
                      <a:pt x="245" y="193"/>
                      <a:pt x="245" y="193"/>
                    </a:cubicBezTo>
                    <a:cubicBezTo>
                      <a:pt x="246" y="197"/>
                      <a:pt x="246" y="197"/>
                      <a:pt x="246" y="197"/>
                    </a:cubicBezTo>
                    <a:cubicBezTo>
                      <a:pt x="246" y="197"/>
                      <a:pt x="249" y="197"/>
                      <a:pt x="249" y="196"/>
                    </a:cubicBezTo>
                    <a:close/>
                    <a:moveTo>
                      <a:pt x="246" y="231"/>
                    </a:moveTo>
                    <a:cubicBezTo>
                      <a:pt x="247" y="232"/>
                      <a:pt x="247" y="232"/>
                      <a:pt x="247" y="232"/>
                    </a:cubicBezTo>
                    <a:cubicBezTo>
                      <a:pt x="246" y="231"/>
                      <a:pt x="246" y="231"/>
                      <a:pt x="246" y="231"/>
                    </a:cubicBezTo>
                    <a:close/>
                    <a:moveTo>
                      <a:pt x="246" y="199"/>
                    </a:moveTo>
                    <a:cubicBezTo>
                      <a:pt x="246" y="199"/>
                      <a:pt x="246" y="199"/>
                      <a:pt x="246" y="199"/>
                    </a:cubicBezTo>
                    <a:cubicBezTo>
                      <a:pt x="246" y="199"/>
                      <a:pt x="246" y="199"/>
                      <a:pt x="246" y="199"/>
                    </a:cubicBezTo>
                    <a:close/>
                    <a:moveTo>
                      <a:pt x="247" y="190"/>
                    </a:moveTo>
                    <a:cubicBezTo>
                      <a:pt x="244" y="190"/>
                      <a:pt x="244" y="190"/>
                      <a:pt x="244" y="190"/>
                    </a:cubicBezTo>
                    <a:cubicBezTo>
                      <a:pt x="244" y="190"/>
                      <a:pt x="244" y="190"/>
                      <a:pt x="244" y="190"/>
                    </a:cubicBezTo>
                    <a:cubicBezTo>
                      <a:pt x="244" y="190"/>
                      <a:pt x="244" y="190"/>
                      <a:pt x="244" y="190"/>
                    </a:cubicBezTo>
                    <a:lnTo>
                      <a:pt x="247" y="190"/>
                    </a:lnTo>
                    <a:close/>
                    <a:moveTo>
                      <a:pt x="243" y="190"/>
                    </a:moveTo>
                    <a:cubicBezTo>
                      <a:pt x="244" y="190"/>
                      <a:pt x="244" y="190"/>
                      <a:pt x="244" y="190"/>
                    </a:cubicBezTo>
                    <a:cubicBezTo>
                      <a:pt x="243" y="190"/>
                      <a:pt x="243" y="190"/>
                      <a:pt x="243" y="190"/>
                    </a:cubicBezTo>
                    <a:cubicBezTo>
                      <a:pt x="243" y="188"/>
                      <a:pt x="243" y="188"/>
                      <a:pt x="243" y="188"/>
                    </a:cubicBezTo>
                    <a:lnTo>
                      <a:pt x="243" y="190"/>
                    </a:lnTo>
                    <a:close/>
                    <a:moveTo>
                      <a:pt x="243" y="204"/>
                    </a:moveTo>
                    <a:cubicBezTo>
                      <a:pt x="243" y="207"/>
                      <a:pt x="243" y="207"/>
                      <a:pt x="243" y="207"/>
                    </a:cubicBezTo>
                    <a:cubicBezTo>
                      <a:pt x="245" y="206"/>
                      <a:pt x="245" y="206"/>
                      <a:pt x="245" y="206"/>
                    </a:cubicBezTo>
                    <a:cubicBezTo>
                      <a:pt x="246" y="208"/>
                      <a:pt x="246" y="208"/>
                      <a:pt x="246" y="208"/>
                    </a:cubicBezTo>
                    <a:cubicBezTo>
                      <a:pt x="246" y="208"/>
                      <a:pt x="246" y="208"/>
                      <a:pt x="246" y="208"/>
                    </a:cubicBezTo>
                    <a:cubicBezTo>
                      <a:pt x="246" y="208"/>
                      <a:pt x="246" y="208"/>
                      <a:pt x="246" y="208"/>
                    </a:cubicBezTo>
                    <a:cubicBezTo>
                      <a:pt x="245" y="206"/>
                      <a:pt x="245" y="206"/>
                      <a:pt x="245" y="206"/>
                    </a:cubicBezTo>
                    <a:cubicBezTo>
                      <a:pt x="243" y="207"/>
                      <a:pt x="243" y="207"/>
                      <a:pt x="243" y="207"/>
                    </a:cubicBezTo>
                    <a:cubicBezTo>
                      <a:pt x="243" y="207"/>
                      <a:pt x="243" y="207"/>
                      <a:pt x="243" y="207"/>
                    </a:cubicBezTo>
                    <a:cubicBezTo>
                      <a:pt x="243" y="204"/>
                      <a:pt x="243" y="204"/>
                      <a:pt x="243" y="204"/>
                    </a:cubicBezTo>
                    <a:close/>
                    <a:moveTo>
                      <a:pt x="242" y="186"/>
                    </a:moveTo>
                    <a:cubicBezTo>
                      <a:pt x="242" y="186"/>
                      <a:pt x="242" y="186"/>
                      <a:pt x="242" y="186"/>
                    </a:cubicBezTo>
                    <a:cubicBezTo>
                      <a:pt x="242" y="186"/>
                      <a:pt x="242" y="186"/>
                      <a:pt x="242" y="186"/>
                    </a:cubicBezTo>
                    <a:close/>
                    <a:moveTo>
                      <a:pt x="236" y="128"/>
                    </a:moveTo>
                    <a:cubicBezTo>
                      <a:pt x="236" y="128"/>
                      <a:pt x="236" y="128"/>
                      <a:pt x="236" y="128"/>
                    </a:cubicBezTo>
                    <a:cubicBezTo>
                      <a:pt x="235" y="130"/>
                      <a:pt x="235" y="130"/>
                      <a:pt x="235" y="130"/>
                    </a:cubicBezTo>
                    <a:cubicBezTo>
                      <a:pt x="235" y="130"/>
                      <a:pt x="235" y="130"/>
                      <a:pt x="235" y="130"/>
                    </a:cubicBezTo>
                    <a:lnTo>
                      <a:pt x="236" y="128"/>
                    </a:lnTo>
                    <a:close/>
                    <a:moveTo>
                      <a:pt x="232" y="130"/>
                    </a:moveTo>
                    <a:cubicBezTo>
                      <a:pt x="234" y="129"/>
                      <a:pt x="234" y="129"/>
                      <a:pt x="234" y="129"/>
                    </a:cubicBezTo>
                    <a:cubicBezTo>
                      <a:pt x="232" y="130"/>
                      <a:pt x="232" y="130"/>
                      <a:pt x="232" y="130"/>
                    </a:cubicBezTo>
                    <a:cubicBezTo>
                      <a:pt x="231" y="131"/>
                      <a:pt x="231" y="131"/>
                      <a:pt x="231" y="131"/>
                    </a:cubicBezTo>
                    <a:lnTo>
                      <a:pt x="232" y="130"/>
                    </a:lnTo>
                    <a:close/>
                    <a:moveTo>
                      <a:pt x="229" y="130"/>
                    </a:moveTo>
                    <a:cubicBezTo>
                      <a:pt x="229" y="130"/>
                      <a:pt x="229" y="130"/>
                      <a:pt x="229" y="130"/>
                    </a:cubicBezTo>
                    <a:cubicBezTo>
                      <a:pt x="229" y="130"/>
                      <a:pt x="229" y="130"/>
                      <a:pt x="229" y="130"/>
                    </a:cubicBezTo>
                    <a:cubicBezTo>
                      <a:pt x="228" y="131"/>
                      <a:pt x="228" y="131"/>
                      <a:pt x="228" y="131"/>
                    </a:cubicBezTo>
                    <a:lnTo>
                      <a:pt x="229" y="130"/>
                    </a:lnTo>
                    <a:close/>
                    <a:moveTo>
                      <a:pt x="229" y="192"/>
                    </a:moveTo>
                    <a:cubicBezTo>
                      <a:pt x="229" y="192"/>
                      <a:pt x="229" y="192"/>
                      <a:pt x="228" y="192"/>
                    </a:cubicBezTo>
                    <a:cubicBezTo>
                      <a:pt x="229" y="192"/>
                      <a:pt x="229" y="192"/>
                      <a:pt x="229" y="192"/>
                    </a:cubicBezTo>
                    <a:cubicBezTo>
                      <a:pt x="229" y="193"/>
                      <a:pt x="230" y="194"/>
                      <a:pt x="231" y="195"/>
                    </a:cubicBezTo>
                    <a:cubicBezTo>
                      <a:pt x="230" y="194"/>
                      <a:pt x="229" y="193"/>
                      <a:pt x="229" y="192"/>
                    </a:cubicBezTo>
                    <a:close/>
                    <a:moveTo>
                      <a:pt x="230" y="216"/>
                    </a:moveTo>
                    <a:cubicBezTo>
                      <a:pt x="230" y="216"/>
                      <a:pt x="230" y="216"/>
                      <a:pt x="230" y="216"/>
                    </a:cubicBezTo>
                    <a:cubicBezTo>
                      <a:pt x="230" y="216"/>
                      <a:pt x="230" y="216"/>
                      <a:pt x="230" y="216"/>
                    </a:cubicBezTo>
                    <a:close/>
                    <a:moveTo>
                      <a:pt x="229" y="135"/>
                    </a:moveTo>
                    <a:cubicBezTo>
                      <a:pt x="228" y="136"/>
                      <a:pt x="228" y="136"/>
                      <a:pt x="228" y="136"/>
                    </a:cubicBezTo>
                    <a:cubicBezTo>
                      <a:pt x="228" y="136"/>
                      <a:pt x="228" y="136"/>
                      <a:pt x="228" y="136"/>
                    </a:cubicBezTo>
                    <a:cubicBezTo>
                      <a:pt x="229" y="135"/>
                      <a:pt x="229" y="135"/>
                      <a:pt x="229" y="135"/>
                    </a:cubicBezTo>
                    <a:cubicBezTo>
                      <a:pt x="228" y="135"/>
                      <a:pt x="228" y="135"/>
                      <a:pt x="228" y="135"/>
                    </a:cubicBezTo>
                    <a:lnTo>
                      <a:pt x="229" y="135"/>
                    </a:lnTo>
                    <a:close/>
                    <a:moveTo>
                      <a:pt x="228" y="172"/>
                    </a:moveTo>
                    <a:cubicBezTo>
                      <a:pt x="228" y="172"/>
                      <a:pt x="228" y="172"/>
                      <a:pt x="228" y="172"/>
                    </a:cubicBezTo>
                    <a:cubicBezTo>
                      <a:pt x="228" y="172"/>
                      <a:pt x="228" y="172"/>
                      <a:pt x="228" y="172"/>
                    </a:cubicBezTo>
                    <a:cubicBezTo>
                      <a:pt x="228" y="172"/>
                      <a:pt x="228" y="172"/>
                      <a:pt x="228" y="172"/>
                    </a:cubicBezTo>
                    <a:close/>
                    <a:moveTo>
                      <a:pt x="226" y="210"/>
                    </a:moveTo>
                    <a:cubicBezTo>
                      <a:pt x="226" y="210"/>
                      <a:pt x="226" y="210"/>
                      <a:pt x="226" y="210"/>
                    </a:cubicBezTo>
                    <a:cubicBezTo>
                      <a:pt x="226" y="210"/>
                      <a:pt x="226" y="210"/>
                      <a:pt x="226" y="210"/>
                    </a:cubicBezTo>
                    <a:cubicBezTo>
                      <a:pt x="227" y="214"/>
                      <a:pt x="227" y="214"/>
                      <a:pt x="227" y="214"/>
                    </a:cubicBezTo>
                    <a:cubicBezTo>
                      <a:pt x="227" y="214"/>
                      <a:pt x="227" y="214"/>
                      <a:pt x="227" y="214"/>
                    </a:cubicBezTo>
                    <a:cubicBezTo>
                      <a:pt x="227" y="214"/>
                      <a:pt x="227" y="214"/>
                      <a:pt x="227" y="214"/>
                    </a:cubicBezTo>
                    <a:cubicBezTo>
                      <a:pt x="227" y="214"/>
                      <a:pt x="227" y="214"/>
                      <a:pt x="227" y="214"/>
                    </a:cubicBezTo>
                    <a:lnTo>
                      <a:pt x="226" y="210"/>
                    </a:lnTo>
                    <a:close/>
                    <a:moveTo>
                      <a:pt x="225" y="175"/>
                    </a:moveTo>
                    <a:cubicBezTo>
                      <a:pt x="225" y="175"/>
                      <a:pt x="226" y="175"/>
                      <a:pt x="226" y="176"/>
                    </a:cubicBezTo>
                    <a:cubicBezTo>
                      <a:pt x="226" y="175"/>
                      <a:pt x="225" y="175"/>
                      <a:pt x="225" y="175"/>
                    </a:cubicBezTo>
                    <a:cubicBezTo>
                      <a:pt x="225" y="175"/>
                      <a:pt x="225" y="175"/>
                      <a:pt x="225" y="175"/>
                    </a:cubicBezTo>
                    <a:cubicBezTo>
                      <a:pt x="225" y="175"/>
                      <a:pt x="225" y="175"/>
                      <a:pt x="225" y="175"/>
                    </a:cubicBezTo>
                    <a:cubicBezTo>
                      <a:pt x="225" y="175"/>
                      <a:pt x="225" y="175"/>
                      <a:pt x="225" y="175"/>
                    </a:cubicBezTo>
                    <a:close/>
                    <a:moveTo>
                      <a:pt x="225" y="177"/>
                    </a:moveTo>
                    <a:cubicBezTo>
                      <a:pt x="225" y="177"/>
                      <a:pt x="225" y="177"/>
                      <a:pt x="225" y="177"/>
                    </a:cubicBezTo>
                    <a:cubicBezTo>
                      <a:pt x="225" y="177"/>
                      <a:pt x="225" y="177"/>
                      <a:pt x="225" y="177"/>
                    </a:cubicBezTo>
                    <a:close/>
                    <a:moveTo>
                      <a:pt x="226" y="219"/>
                    </a:moveTo>
                    <a:cubicBezTo>
                      <a:pt x="226" y="218"/>
                      <a:pt x="226" y="218"/>
                      <a:pt x="226" y="218"/>
                    </a:cubicBezTo>
                    <a:cubicBezTo>
                      <a:pt x="226" y="216"/>
                      <a:pt x="226" y="216"/>
                      <a:pt x="226" y="216"/>
                    </a:cubicBezTo>
                    <a:cubicBezTo>
                      <a:pt x="226" y="218"/>
                      <a:pt x="226" y="218"/>
                      <a:pt x="226" y="218"/>
                    </a:cubicBezTo>
                    <a:cubicBezTo>
                      <a:pt x="226" y="219"/>
                      <a:pt x="226" y="219"/>
                      <a:pt x="226" y="219"/>
                    </a:cubicBezTo>
                    <a:cubicBezTo>
                      <a:pt x="225" y="220"/>
                      <a:pt x="225" y="220"/>
                      <a:pt x="225" y="220"/>
                    </a:cubicBezTo>
                    <a:lnTo>
                      <a:pt x="226" y="219"/>
                    </a:lnTo>
                    <a:close/>
                    <a:moveTo>
                      <a:pt x="226" y="176"/>
                    </a:moveTo>
                    <a:cubicBezTo>
                      <a:pt x="226" y="176"/>
                      <a:pt x="226" y="176"/>
                      <a:pt x="226" y="176"/>
                    </a:cubicBezTo>
                    <a:cubicBezTo>
                      <a:pt x="226" y="176"/>
                      <a:pt x="226" y="176"/>
                      <a:pt x="226" y="176"/>
                    </a:cubicBezTo>
                    <a:close/>
                    <a:moveTo>
                      <a:pt x="226" y="170"/>
                    </a:moveTo>
                    <a:cubicBezTo>
                      <a:pt x="226" y="170"/>
                      <a:pt x="226" y="170"/>
                      <a:pt x="226" y="170"/>
                    </a:cubicBezTo>
                    <a:cubicBezTo>
                      <a:pt x="226" y="170"/>
                      <a:pt x="226" y="170"/>
                      <a:pt x="226" y="170"/>
                    </a:cubicBezTo>
                    <a:cubicBezTo>
                      <a:pt x="226" y="170"/>
                      <a:pt x="226" y="170"/>
                      <a:pt x="226" y="170"/>
                    </a:cubicBezTo>
                    <a:close/>
                    <a:moveTo>
                      <a:pt x="226" y="170"/>
                    </a:moveTo>
                    <a:cubicBezTo>
                      <a:pt x="226" y="170"/>
                      <a:pt x="226" y="170"/>
                      <a:pt x="226" y="170"/>
                    </a:cubicBezTo>
                    <a:cubicBezTo>
                      <a:pt x="226" y="170"/>
                      <a:pt x="226" y="170"/>
                      <a:pt x="226" y="171"/>
                    </a:cubicBezTo>
                    <a:cubicBezTo>
                      <a:pt x="226" y="170"/>
                      <a:pt x="226" y="170"/>
                      <a:pt x="226" y="170"/>
                    </a:cubicBezTo>
                    <a:cubicBezTo>
                      <a:pt x="226" y="170"/>
                      <a:pt x="226" y="170"/>
                      <a:pt x="226" y="170"/>
                    </a:cubicBezTo>
                    <a:close/>
                    <a:moveTo>
                      <a:pt x="227" y="177"/>
                    </a:moveTo>
                    <a:cubicBezTo>
                      <a:pt x="228" y="179"/>
                      <a:pt x="228" y="179"/>
                      <a:pt x="228" y="179"/>
                    </a:cubicBezTo>
                    <a:cubicBezTo>
                      <a:pt x="228" y="179"/>
                      <a:pt x="228" y="179"/>
                      <a:pt x="228" y="179"/>
                    </a:cubicBezTo>
                    <a:lnTo>
                      <a:pt x="227" y="177"/>
                    </a:lnTo>
                    <a:close/>
                    <a:moveTo>
                      <a:pt x="227" y="174"/>
                    </a:moveTo>
                    <a:cubicBezTo>
                      <a:pt x="227" y="174"/>
                      <a:pt x="227" y="174"/>
                      <a:pt x="227" y="174"/>
                    </a:cubicBezTo>
                    <a:cubicBezTo>
                      <a:pt x="227" y="174"/>
                      <a:pt x="227" y="174"/>
                      <a:pt x="227" y="174"/>
                    </a:cubicBezTo>
                    <a:cubicBezTo>
                      <a:pt x="227" y="174"/>
                      <a:pt x="227" y="174"/>
                      <a:pt x="227" y="174"/>
                    </a:cubicBezTo>
                    <a:cubicBezTo>
                      <a:pt x="228" y="174"/>
                      <a:pt x="228" y="174"/>
                      <a:pt x="228" y="173"/>
                    </a:cubicBezTo>
                    <a:cubicBezTo>
                      <a:pt x="227" y="174"/>
                      <a:pt x="227" y="174"/>
                      <a:pt x="227" y="174"/>
                    </a:cubicBezTo>
                    <a:close/>
                    <a:moveTo>
                      <a:pt x="227" y="172"/>
                    </a:moveTo>
                    <a:cubicBezTo>
                      <a:pt x="227" y="172"/>
                      <a:pt x="227" y="172"/>
                      <a:pt x="227" y="172"/>
                    </a:cubicBezTo>
                    <a:cubicBezTo>
                      <a:pt x="227" y="172"/>
                      <a:pt x="227" y="172"/>
                      <a:pt x="227" y="172"/>
                    </a:cubicBezTo>
                    <a:cubicBezTo>
                      <a:pt x="227" y="172"/>
                      <a:pt x="227" y="172"/>
                      <a:pt x="227" y="172"/>
                    </a:cubicBezTo>
                    <a:cubicBezTo>
                      <a:pt x="227" y="171"/>
                      <a:pt x="227" y="171"/>
                      <a:pt x="227" y="171"/>
                    </a:cubicBezTo>
                    <a:cubicBezTo>
                      <a:pt x="227" y="171"/>
                      <a:pt x="227" y="171"/>
                      <a:pt x="227" y="172"/>
                    </a:cubicBezTo>
                    <a:close/>
                    <a:moveTo>
                      <a:pt x="226" y="134"/>
                    </a:moveTo>
                    <a:cubicBezTo>
                      <a:pt x="226" y="134"/>
                      <a:pt x="226" y="134"/>
                      <a:pt x="226" y="134"/>
                    </a:cubicBezTo>
                    <a:cubicBezTo>
                      <a:pt x="226" y="134"/>
                      <a:pt x="226" y="134"/>
                      <a:pt x="226" y="134"/>
                    </a:cubicBezTo>
                    <a:cubicBezTo>
                      <a:pt x="226" y="134"/>
                      <a:pt x="227" y="133"/>
                      <a:pt x="227" y="132"/>
                    </a:cubicBezTo>
                    <a:cubicBezTo>
                      <a:pt x="227" y="132"/>
                      <a:pt x="227" y="132"/>
                      <a:pt x="227" y="132"/>
                    </a:cubicBezTo>
                    <a:cubicBezTo>
                      <a:pt x="227" y="133"/>
                      <a:pt x="226" y="134"/>
                      <a:pt x="226" y="134"/>
                    </a:cubicBezTo>
                    <a:close/>
                    <a:moveTo>
                      <a:pt x="226" y="130"/>
                    </a:moveTo>
                    <a:cubicBezTo>
                      <a:pt x="226" y="130"/>
                      <a:pt x="226" y="130"/>
                      <a:pt x="227" y="130"/>
                    </a:cubicBezTo>
                    <a:cubicBezTo>
                      <a:pt x="227" y="130"/>
                      <a:pt x="227" y="130"/>
                      <a:pt x="227" y="131"/>
                    </a:cubicBezTo>
                    <a:cubicBezTo>
                      <a:pt x="227" y="130"/>
                      <a:pt x="227" y="130"/>
                      <a:pt x="227" y="130"/>
                    </a:cubicBezTo>
                    <a:cubicBezTo>
                      <a:pt x="226" y="130"/>
                      <a:pt x="226" y="130"/>
                      <a:pt x="226" y="130"/>
                    </a:cubicBezTo>
                    <a:close/>
                    <a:moveTo>
                      <a:pt x="225" y="135"/>
                    </a:moveTo>
                    <a:cubicBezTo>
                      <a:pt x="225" y="137"/>
                      <a:pt x="225" y="137"/>
                      <a:pt x="225" y="137"/>
                    </a:cubicBezTo>
                    <a:cubicBezTo>
                      <a:pt x="225" y="137"/>
                      <a:pt x="226" y="138"/>
                      <a:pt x="226" y="138"/>
                    </a:cubicBezTo>
                    <a:cubicBezTo>
                      <a:pt x="226" y="138"/>
                      <a:pt x="225" y="137"/>
                      <a:pt x="225" y="137"/>
                    </a:cubicBezTo>
                    <a:cubicBezTo>
                      <a:pt x="225" y="135"/>
                      <a:pt x="225" y="135"/>
                      <a:pt x="225" y="135"/>
                    </a:cubicBezTo>
                    <a:close/>
                    <a:moveTo>
                      <a:pt x="225" y="138"/>
                    </a:moveTo>
                    <a:cubicBezTo>
                      <a:pt x="225" y="139"/>
                      <a:pt x="225" y="139"/>
                      <a:pt x="225" y="139"/>
                    </a:cubicBezTo>
                    <a:cubicBezTo>
                      <a:pt x="225" y="139"/>
                      <a:pt x="225" y="139"/>
                      <a:pt x="225" y="139"/>
                    </a:cubicBezTo>
                    <a:cubicBezTo>
                      <a:pt x="225" y="139"/>
                      <a:pt x="225" y="139"/>
                      <a:pt x="225" y="138"/>
                    </a:cubicBezTo>
                    <a:close/>
                    <a:moveTo>
                      <a:pt x="223" y="140"/>
                    </a:moveTo>
                    <a:cubicBezTo>
                      <a:pt x="223" y="140"/>
                      <a:pt x="223" y="140"/>
                      <a:pt x="223" y="140"/>
                    </a:cubicBezTo>
                    <a:cubicBezTo>
                      <a:pt x="223" y="140"/>
                      <a:pt x="223" y="140"/>
                      <a:pt x="223" y="140"/>
                    </a:cubicBezTo>
                    <a:cubicBezTo>
                      <a:pt x="223" y="140"/>
                      <a:pt x="223" y="140"/>
                      <a:pt x="223" y="140"/>
                    </a:cubicBezTo>
                    <a:cubicBezTo>
                      <a:pt x="223" y="140"/>
                      <a:pt x="223" y="140"/>
                      <a:pt x="223" y="140"/>
                    </a:cubicBezTo>
                    <a:cubicBezTo>
                      <a:pt x="223" y="140"/>
                      <a:pt x="223" y="140"/>
                      <a:pt x="223" y="140"/>
                    </a:cubicBezTo>
                    <a:close/>
                    <a:moveTo>
                      <a:pt x="222" y="146"/>
                    </a:moveTo>
                    <a:cubicBezTo>
                      <a:pt x="222" y="146"/>
                      <a:pt x="222" y="146"/>
                      <a:pt x="222" y="146"/>
                    </a:cubicBezTo>
                    <a:cubicBezTo>
                      <a:pt x="222" y="146"/>
                      <a:pt x="222" y="146"/>
                      <a:pt x="222" y="146"/>
                    </a:cubicBezTo>
                    <a:cubicBezTo>
                      <a:pt x="222" y="146"/>
                      <a:pt x="222" y="146"/>
                      <a:pt x="222" y="146"/>
                    </a:cubicBezTo>
                    <a:close/>
                    <a:moveTo>
                      <a:pt x="222" y="180"/>
                    </a:moveTo>
                    <a:cubicBezTo>
                      <a:pt x="222" y="180"/>
                      <a:pt x="222" y="180"/>
                      <a:pt x="222" y="180"/>
                    </a:cubicBezTo>
                    <a:cubicBezTo>
                      <a:pt x="222" y="180"/>
                      <a:pt x="222" y="180"/>
                      <a:pt x="222" y="180"/>
                    </a:cubicBezTo>
                    <a:cubicBezTo>
                      <a:pt x="222" y="180"/>
                      <a:pt x="222" y="180"/>
                      <a:pt x="222" y="180"/>
                    </a:cubicBezTo>
                    <a:close/>
                    <a:moveTo>
                      <a:pt x="221" y="180"/>
                    </a:moveTo>
                    <a:cubicBezTo>
                      <a:pt x="221" y="180"/>
                      <a:pt x="221" y="179"/>
                      <a:pt x="221" y="179"/>
                    </a:cubicBezTo>
                    <a:cubicBezTo>
                      <a:pt x="221" y="179"/>
                      <a:pt x="221" y="179"/>
                      <a:pt x="221" y="179"/>
                    </a:cubicBezTo>
                    <a:cubicBezTo>
                      <a:pt x="221" y="179"/>
                      <a:pt x="221" y="179"/>
                      <a:pt x="221" y="179"/>
                    </a:cubicBezTo>
                    <a:cubicBezTo>
                      <a:pt x="221" y="179"/>
                      <a:pt x="221" y="179"/>
                      <a:pt x="221" y="179"/>
                    </a:cubicBezTo>
                    <a:cubicBezTo>
                      <a:pt x="221" y="179"/>
                      <a:pt x="221" y="180"/>
                      <a:pt x="221" y="180"/>
                    </a:cubicBezTo>
                    <a:close/>
                    <a:moveTo>
                      <a:pt x="221" y="167"/>
                    </a:moveTo>
                    <a:cubicBezTo>
                      <a:pt x="221" y="167"/>
                      <a:pt x="221" y="167"/>
                      <a:pt x="221" y="167"/>
                    </a:cubicBezTo>
                    <a:cubicBezTo>
                      <a:pt x="221" y="167"/>
                      <a:pt x="221" y="167"/>
                      <a:pt x="221" y="167"/>
                    </a:cubicBezTo>
                    <a:cubicBezTo>
                      <a:pt x="221" y="167"/>
                      <a:pt x="221" y="167"/>
                      <a:pt x="221" y="167"/>
                    </a:cubicBezTo>
                    <a:cubicBezTo>
                      <a:pt x="221" y="167"/>
                      <a:pt x="221" y="167"/>
                      <a:pt x="221" y="167"/>
                    </a:cubicBezTo>
                    <a:cubicBezTo>
                      <a:pt x="221" y="167"/>
                      <a:pt x="221" y="167"/>
                      <a:pt x="221" y="167"/>
                    </a:cubicBezTo>
                    <a:close/>
                    <a:moveTo>
                      <a:pt x="221" y="169"/>
                    </a:moveTo>
                    <a:cubicBezTo>
                      <a:pt x="221" y="169"/>
                      <a:pt x="221" y="169"/>
                      <a:pt x="221" y="169"/>
                    </a:cubicBezTo>
                    <a:cubicBezTo>
                      <a:pt x="221" y="169"/>
                      <a:pt x="221" y="169"/>
                      <a:pt x="221" y="169"/>
                    </a:cubicBezTo>
                    <a:cubicBezTo>
                      <a:pt x="221" y="169"/>
                      <a:pt x="221" y="169"/>
                      <a:pt x="221" y="169"/>
                    </a:cubicBezTo>
                    <a:close/>
                    <a:moveTo>
                      <a:pt x="223" y="209"/>
                    </a:moveTo>
                    <a:cubicBezTo>
                      <a:pt x="222" y="208"/>
                      <a:pt x="222" y="208"/>
                      <a:pt x="222" y="208"/>
                    </a:cubicBezTo>
                    <a:cubicBezTo>
                      <a:pt x="221" y="208"/>
                      <a:pt x="221" y="208"/>
                      <a:pt x="221" y="208"/>
                    </a:cubicBezTo>
                    <a:cubicBezTo>
                      <a:pt x="221" y="206"/>
                      <a:pt x="221" y="206"/>
                      <a:pt x="221" y="206"/>
                    </a:cubicBezTo>
                    <a:cubicBezTo>
                      <a:pt x="221" y="206"/>
                      <a:pt x="221" y="206"/>
                      <a:pt x="221" y="206"/>
                    </a:cubicBezTo>
                    <a:cubicBezTo>
                      <a:pt x="221" y="206"/>
                      <a:pt x="221" y="206"/>
                      <a:pt x="221" y="206"/>
                    </a:cubicBezTo>
                    <a:cubicBezTo>
                      <a:pt x="221" y="208"/>
                      <a:pt x="221" y="208"/>
                      <a:pt x="221" y="208"/>
                    </a:cubicBezTo>
                    <a:cubicBezTo>
                      <a:pt x="222" y="208"/>
                      <a:pt x="222" y="208"/>
                      <a:pt x="222" y="208"/>
                    </a:cubicBezTo>
                    <a:cubicBezTo>
                      <a:pt x="223" y="209"/>
                      <a:pt x="223" y="209"/>
                      <a:pt x="223" y="209"/>
                    </a:cubicBezTo>
                    <a:cubicBezTo>
                      <a:pt x="223" y="209"/>
                      <a:pt x="223" y="209"/>
                      <a:pt x="223" y="209"/>
                    </a:cubicBezTo>
                    <a:cubicBezTo>
                      <a:pt x="223" y="209"/>
                      <a:pt x="223" y="209"/>
                      <a:pt x="223" y="209"/>
                    </a:cubicBezTo>
                    <a:close/>
                    <a:moveTo>
                      <a:pt x="224" y="189"/>
                    </a:moveTo>
                    <a:cubicBezTo>
                      <a:pt x="223" y="186"/>
                      <a:pt x="223" y="186"/>
                      <a:pt x="223" y="186"/>
                    </a:cubicBezTo>
                    <a:cubicBezTo>
                      <a:pt x="222" y="185"/>
                      <a:pt x="222" y="185"/>
                      <a:pt x="222" y="185"/>
                    </a:cubicBezTo>
                    <a:cubicBezTo>
                      <a:pt x="223" y="186"/>
                      <a:pt x="223" y="186"/>
                      <a:pt x="223" y="186"/>
                    </a:cubicBezTo>
                    <a:cubicBezTo>
                      <a:pt x="224" y="189"/>
                      <a:pt x="224" y="189"/>
                      <a:pt x="224" y="189"/>
                    </a:cubicBezTo>
                    <a:close/>
                    <a:moveTo>
                      <a:pt x="222" y="180"/>
                    </a:moveTo>
                    <a:cubicBezTo>
                      <a:pt x="223" y="180"/>
                      <a:pt x="223" y="180"/>
                      <a:pt x="223" y="180"/>
                    </a:cubicBezTo>
                    <a:cubicBezTo>
                      <a:pt x="223" y="180"/>
                      <a:pt x="223" y="180"/>
                      <a:pt x="223" y="180"/>
                    </a:cubicBezTo>
                    <a:cubicBezTo>
                      <a:pt x="223" y="180"/>
                      <a:pt x="223" y="180"/>
                      <a:pt x="223" y="180"/>
                    </a:cubicBezTo>
                    <a:cubicBezTo>
                      <a:pt x="223" y="180"/>
                      <a:pt x="223" y="180"/>
                      <a:pt x="223" y="180"/>
                    </a:cubicBezTo>
                    <a:cubicBezTo>
                      <a:pt x="223" y="179"/>
                      <a:pt x="223" y="179"/>
                      <a:pt x="223" y="179"/>
                    </a:cubicBezTo>
                    <a:cubicBezTo>
                      <a:pt x="223" y="179"/>
                      <a:pt x="223" y="179"/>
                      <a:pt x="223" y="179"/>
                    </a:cubicBezTo>
                    <a:cubicBezTo>
                      <a:pt x="223" y="179"/>
                      <a:pt x="223" y="179"/>
                      <a:pt x="223" y="180"/>
                    </a:cubicBezTo>
                    <a:cubicBezTo>
                      <a:pt x="223" y="180"/>
                      <a:pt x="223" y="180"/>
                      <a:pt x="222" y="180"/>
                    </a:cubicBezTo>
                    <a:close/>
                    <a:moveTo>
                      <a:pt x="222" y="141"/>
                    </a:moveTo>
                    <a:cubicBezTo>
                      <a:pt x="222" y="141"/>
                      <a:pt x="222" y="141"/>
                      <a:pt x="222" y="140"/>
                    </a:cubicBezTo>
                    <a:cubicBezTo>
                      <a:pt x="222" y="141"/>
                      <a:pt x="222" y="141"/>
                      <a:pt x="222" y="141"/>
                    </a:cubicBezTo>
                    <a:cubicBezTo>
                      <a:pt x="223" y="141"/>
                      <a:pt x="225" y="142"/>
                      <a:pt x="225" y="142"/>
                    </a:cubicBezTo>
                    <a:cubicBezTo>
                      <a:pt x="227" y="143"/>
                      <a:pt x="227" y="143"/>
                      <a:pt x="227" y="143"/>
                    </a:cubicBezTo>
                    <a:cubicBezTo>
                      <a:pt x="227" y="145"/>
                      <a:pt x="227" y="145"/>
                      <a:pt x="227" y="145"/>
                    </a:cubicBezTo>
                    <a:cubicBezTo>
                      <a:pt x="225" y="146"/>
                      <a:pt x="225" y="146"/>
                      <a:pt x="225" y="146"/>
                    </a:cubicBezTo>
                    <a:cubicBezTo>
                      <a:pt x="225" y="146"/>
                      <a:pt x="225" y="146"/>
                      <a:pt x="225" y="146"/>
                    </a:cubicBezTo>
                    <a:cubicBezTo>
                      <a:pt x="227" y="145"/>
                      <a:pt x="227" y="145"/>
                      <a:pt x="227" y="145"/>
                    </a:cubicBezTo>
                    <a:cubicBezTo>
                      <a:pt x="227" y="143"/>
                      <a:pt x="227" y="143"/>
                      <a:pt x="227" y="143"/>
                    </a:cubicBezTo>
                    <a:cubicBezTo>
                      <a:pt x="225" y="142"/>
                      <a:pt x="225" y="142"/>
                      <a:pt x="225" y="142"/>
                    </a:cubicBezTo>
                    <a:cubicBezTo>
                      <a:pt x="225" y="142"/>
                      <a:pt x="223" y="141"/>
                      <a:pt x="222" y="141"/>
                    </a:cubicBezTo>
                    <a:close/>
                    <a:moveTo>
                      <a:pt x="224" y="226"/>
                    </a:moveTo>
                    <a:cubicBezTo>
                      <a:pt x="226" y="230"/>
                      <a:pt x="226" y="230"/>
                      <a:pt x="226" y="230"/>
                    </a:cubicBezTo>
                    <a:cubicBezTo>
                      <a:pt x="225" y="231"/>
                      <a:pt x="225" y="231"/>
                      <a:pt x="225" y="231"/>
                    </a:cubicBezTo>
                    <a:cubicBezTo>
                      <a:pt x="226" y="230"/>
                      <a:pt x="226" y="230"/>
                      <a:pt x="226" y="230"/>
                    </a:cubicBezTo>
                    <a:lnTo>
                      <a:pt x="224" y="226"/>
                    </a:lnTo>
                    <a:close/>
                    <a:moveTo>
                      <a:pt x="226" y="237"/>
                    </a:moveTo>
                    <a:cubicBezTo>
                      <a:pt x="226" y="237"/>
                      <a:pt x="226" y="237"/>
                      <a:pt x="226" y="236"/>
                    </a:cubicBezTo>
                    <a:cubicBezTo>
                      <a:pt x="226" y="237"/>
                      <a:pt x="226" y="237"/>
                      <a:pt x="226" y="237"/>
                    </a:cubicBezTo>
                    <a:cubicBezTo>
                      <a:pt x="226" y="237"/>
                      <a:pt x="226" y="238"/>
                      <a:pt x="226" y="238"/>
                    </a:cubicBezTo>
                    <a:cubicBezTo>
                      <a:pt x="226" y="238"/>
                      <a:pt x="226" y="237"/>
                      <a:pt x="226" y="237"/>
                    </a:cubicBezTo>
                    <a:close/>
                    <a:moveTo>
                      <a:pt x="227" y="239"/>
                    </a:moveTo>
                    <a:cubicBezTo>
                      <a:pt x="227" y="239"/>
                      <a:pt x="227" y="239"/>
                      <a:pt x="227" y="239"/>
                    </a:cubicBezTo>
                    <a:cubicBezTo>
                      <a:pt x="227" y="239"/>
                      <a:pt x="227" y="239"/>
                      <a:pt x="227" y="239"/>
                    </a:cubicBezTo>
                    <a:cubicBezTo>
                      <a:pt x="227" y="239"/>
                      <a:pt x="227" y="239"/>
                      <a:pt x="227" y="239"/>
                    </a:cubicBezTo>
                    <a:cubicBezTo>
                      <a:pt x="227" y="239"/>
                      <a:pt x="227" y="239"/>
                      <a:pt x="227" y="239"/>
                    </a:cubicBezTo>
                    <a:close/>
                    <a:moveTo>
                      <a:pt x="225" y="232"/>
                    </a:moveTo>
                    <a:cubicBezTo>
                      <a:pt x="225" y="232"/>
                      <a:pt x="225" y="232"/>
                      <a:pt x="225" y="232"/>
                    </a:cubicBezTo>
                    <a:cubicBezTo>
                      <a:pt x="228" y="232"/>
                      <a:pt x="228" y="232"/>
                      <a:pt x="228" y="232"/>
                    </a:cubicBezTo>
                    <a:cubicBezTo>
                      <a:pt x="228" y="232"/>
                      <a:pt x="228" y="232"/>
                      <a:pt x="228" y="232"/>
                    </a:cubicBezTo>
                    <a:lnTo>
                      <a:pt x="225" y="232"/>
                    </a:lnTo>
                    <a:close/>
                    <a:moveTo>
                      <a:pt x="228" y="253"/>
                    </a:moveTo>
                    <a:cubicBezTo>
                      <a:pt x="228" y="253"/>
                      <a:pt x="228" y="253"/>
                      <a:pt x="228" y="253"/>
                    </a:cubicBezTo>
                    <a:cubicBezTo>
                      <a:pt x="228" y="253"/>
                      <a:pt x="228" y="253"/>
                      <a:pt x="228" y="253"/>
                    </a:cubicBezTo>
                    <a:close/>
                    <a:moveTo>
                      <a:pt x="229" y="252"/>
                    </a:moveTo>
                    <a:cubicBezTo>
                      <a:pt x="229" y="252"/>
                      <a:pt x="229" y="252"/>
                      <a:pt x="229" y="252"/>
                    </a:cubicBezTo>
                    <a:cubicBezTo>
                      <a:pt x="230" y="252"/>
                      <a:pt x="230" y="252"/>
                      <a:pt x="230" y="252"/>
                    </a:cubicBezTo>
                    <a:lnTo>
                      <a:pt x="229" y="252"/>
                    </a:lnTo>
                    <a:close/>
                    <a:moveTo>
                      <a:pt x="230" y="245"/>
                    </a:moveTo>
                    <a:cubicBezTo>
                      <a:pt x="230" y="245"/>
                      <a:pt x="229" y="244"/>
                      <a:pt x="228" y="243"/>
                    </a:cubicBezTo>
                    <a:cubicBezTo>
                      <a:pt x="229" y="244"/>
                      <a:pt x="230" y="245"/>
                      <a:pt x="230" y="245"/>
                    </a:cubicBezTo>
                    <a:cubicBezTo>
                      <a:pt x="231" y="245"/>
                      <a:pt x="231" y="245"/>
                      <a:pt x="231" y="245"/>
                    </a:cubicBezTo>
                    <a:lnTo>
                      <a:pt x="230" y="245"/>
                    </a:lnTo>
                    <a:close/>
                    <a:moveTo>
                      <a:pt x="231" y="240"/>
                    </a:moveTo>
                    <a:cubicBezTo>
                      <a:pt x="230" y="240"/>
                      <a:pt x="230" y="240"/>
                      <a:pt x="230" y="240"/>
                    </a:cubicBezTo>
                    <a:cubicBezTo>
                      <a:pt x="231" y="240"/>
                      <a:pt x="231" y="240"/>
                      <a:pt x="231" y="240"/>
                    </a:cubicBezTo>
                    <a:cubicBezTo>
                      <a:pt x="232" y="240"/>
                      <a:pt x="232" y="240"/>
                      <a:pt x="232" y="240"/>
                    </a:cubicBezTo>
                    <a:lnTo>
                      <a:pt x="231" y="240"/>
                    </a:lnTo>
                    <a:close/>
                    <a:moveTo>
                      <a:pt x="232" y="197"/>
                    </a:moveTo>
                    <a:cubicBezTo>
                      <a:pt x="232" y="197"/>
                      <a:pt x="232" y="197"/>
                      <a:pt x="232" y="197"/>
                    </a:cubicBezTo>
                    <a:cubicBezTo>
                      <a:pt x="232" y="197"/>
                      <a:pt x="232" y="197"/>
                      <a:pt x="232" y="197"/>
                    </a:cubicBezTo>
                    <a:close/>
                    <a:moveTo>
                      <a:pt x="232" y="213"/>
                    </a:moveTo>
                    <a:cubicBezTo>
                      <a:pt x="232" y="214"/>
                      <a:pt x="232" y="214"/>
                      <a:pt x="232" y="214"/>
                    </a:cubicBezTo>
                    <a:cubicBezTo>
                      <a:pt x="232" y="213"/>
                      <a:pt x="232" y="213"/>
                      <a:pt x="232" y="213"/>
                    </a:cubicBezTo>
                    <a:close/>
                    <a:moveTo>
                      <a:pt x="232" y="252"/>
                    </a:moveTo>
                    <a:cubicBezTo>
                      <a:pt x="232" y="252"/>
                      <a:pt x="232" y="252"/>
                      <a:pt x="232" y="252"/>
                    </a:cubicBezTo>
                    <a:cubicBezTo>
                      <a:pt x="233" y="249"/>
                      <a:pt x="233" y="249"/>
                      <a:pt x="233" y="249"/>
                    </a:cubicBezTo>
                    <a:lnTo>
                      <a:pt x="232" y="252"/>
                    </a:lnTo>
                    <a:close/>
                    <a:moveTo>
                      <a:pt x="235" y="240"/>
                    </a:moveTo>
                    <a:cubicBezTo>
                      <a:pt x="235" y="240"/>
                      <a:pt x="235" y="240"/>
                      <a:pt x="235" y="240"/>
                    </a:cubicBezTo>
                    <a:cubicBezTo>
                      <a:pt x="235" y="240"/>
                      <a:pt x="235" y="240"/>
                      <a:pt x="235" y="240"/>
                    </a:cubicBezTo>
                    <a:cubicBezTo>
                      <a:pt x="236" y="240"/>
                      <a:pt x="236" y="240"/>
                      <a:pt x="236" y="240"/>
                    </a:cubicBezTo>
                    <a:lnTo>
                      <a:pt x="235" y="240"/>
                    </a:lnTo>
                    <a:close/>
                    <a:moveTo>
                      <a:pt x="237" y="211"/>
                    </a:moveTo>
                    <a:cubicBezTo>
                      <a:pt x="237" y="211"/>
                      <a:pt x="237" y="211"/>
                      <a:pt x="237" y="211"/>
                    </a:cubicBezTo>
                    <a:cubicBezTo>
                      <a:pt x="237" y="210"/>
                      <a:pt x="237" y="210"/>
                      <a:pt x="237" y="210"/>
                    </a:cubicBezTo>
                    <a:lnTo>
                      <a:pt x="237" y="211"/>
                    </a:lnTo>
                    <a:close/>
                    <a:moveTo>
                      <a:pt x="236" y="180"/>
                    </a:moveTo>
                    <a:cubicBezTo>
                      <a:pt x="232" y="178"/>
                      <a:pt x="232" y="178"/>
                      <a:pt x="232" y="178"/>
                    </a:cubicBezTo>
                    <a:cubicBezTo>
                      <a:pt x="232" y="178"/>
                      <a:pt x="230" y="179"/>
                      <a:pt x="230" y="179"/>
                    </a:cubicBezTo>
                    <a:cubicBezTo>
                      <a:pt x="230" y="179"/>
                      <a:pt x="229" y="179"/>
                      <a:pt x="229" y="179"/>
                    </a:cubicBezTo>
                    <a:cubicBezTo>
                      <a:pt x="229" y="179"/>
                      <a:pt x="230" y="179"/>
                      <a:pt x="230" y="179"/>
                    </a:cubicBezTo>
                    <a:cubicBezTo>
                      <a:pt x="230" y="179"/>
                      <a:pt x="232" y="178"/>
                      <a:pt x="232" y="178"/>
                    </a:cubicBezTo>
                    <a:cubicBezTo>
                      <a:pt x="236" y="180"/>
                      <a:pt x="236" y="180"/>
                      <a:pt x="236" y="180"/>
                    </a:cubicBezTo>
                    <a:cubicBezTo>
                      <a:pt x="237" y="178"/>
                      <a:pt x="237" y="178"/>
                      <a:pt x="237" y="178"/>
                    </a:cubicBezTo>
                    <a:lnTo>
                      <a:pt x="236" y="180"/>
                    </a:lnTo>
                    <a:close/>
                    <a:moveTo>
                      <a:pt x="237" y="129"/>
                    </a:moveTo>
                    <a:cubicBezTo>
                      <a:pt x="236" y="128"/>
                      <a:pt x="236" y="128"/>
                      <a:pt x="236" y="128"/>
                    </a:cubicBezTo>
                    <a:cubicBezTo>
                      <a:pt x="237" y="129"/>
                      <a:pt x="237" y="129"/>
                      <a:pt x="237" y="129"/>
                    </a:cubicBezTo>
                    <a:cubicBezTo>
                      <a:pt x="238" y="129"/>
                      <a:pt x="238" y="129"/>
                      <a:pt x="238" y="129"/>
                    </a:cubicBezTo>
                    <a:lnTo>
                      <a:pt x="237" y="129"/>
                    </a:lnTo>
                    <a:close/>
                    <a:moveTo>
                      <a:pt x="238" y="129"/>
                    </a:moveTo>
                    <a:cubicBezTo>
                      <a:pt x="238" y="129"/>
                      <a:pt x="238" y="129"/>
                      <a:pt x="238" y="129"/>
                    </a:cubicBezTo>
                    <a:cubicBezTo>
                      <a:pt x="239" y="127"/>
                      <a:pt x="239" y="127"/>
                      <a:pt x="239" y="127"/>
                    </a:cubicBezTo>
                    <a:cubicBezTo>
                      <a:pt x="241" y="128"/>
                      <a:pt x="241" y="128"/>
                      <a:pt x="241" y="128"/>
                    </a:cubicBezTo>
                    <a:cubicBezTo>
                      <a:pt x="239" y="127"/>
                      <a:pt x="239" y="127"/>
                      <a:pt x="239" y="127"/>
                    </a:cubicBezTo>
                    <a:lnTo>
                      <a:pt x="238" y="129"/>
                    </a:lnTo>
                    <a:close/>
                    <a:moveTo>
                      <a:pt x="240" y="239"/>
                    </a:moveTo>
                    <a:cubicBezTo>
                      <a:pt x="239" y="239"/>
                      <a:pt x="239" y="239"/>
                      <a:pt x="239" y="239"/>
                    </a:cubicBezTo>
                    <a:cubicBezTo>
                      <a:pt x="240" y="239"/>
                      <a:pt x="240" y="239"/>
                      <a:pt x="240" y="239"/>
                    </a:cubicBezTo>
                    <a:cubicBezTo>
                      <a:pt x="241" y="239"/>
                      <a:pt x="241" y="239"/>
                      <a:pt x="241" y="239"/>
                    </a:cubicBezTo>
                    <a:lnTo>
                      <a:pt x="240" y="239"/>
                    </a:lnTo>
                    <a:close/>
                    <a:moveTo>
                      <a:pt x="240" y="206"/>
                    </a:moveTo>
                    <a:cubicBezTo>
                      <a:pt x="240" y="206"/>
                      <a:pt x="240" y="206"/>
                      <a:pt x="240" y="206"/>
                    </a:cubicBezTo>
                    <a:cubicBezTo>
                      <a:pt x="240" y="206"/>
                      <a:pt x="240" y="206"/>
                      <a:pt x="240" y="206"/>
                    </a:cubicBezTo>
                    <a:cubicBezTo>
                      <a:pt x="241" y="206"/>
                      <a:pt x="241" y="206"/>
                      <a:pt x="241" y="206"/>
                    </a:cubicBezTo>
                    <a:lnTo>
                      <a:pt x="240" y="206"/>
                    </a:lnTo>
                    <a:close/>
                    <a:moveTo>
                      <a:pt x="241" y="181"/>
                    </a:moveTo>
                    <a:cubicBezTo>
                      <a:pt x="241" y="181"/>
                      <a:pt x="241" y="181"/>
                      <a:pt x="241" y="181"/>
                    </a:cubicBezTo>
                    <a:cubicBezTo>
                      <a:pt x="242" y="185"/>
                      <a:pt x="242" y="185"/>
                      <a:pt x="242" y="185"/>
                    </a:cubicBezTo>
                    <a:cubicBezTo>
                      <a:pt x="242" y="185"/>
                      <a:pt x="242" y="185"/>
                      <a:pt x="242" y="185"/>
                    </a:cubicBezTo>
                    <a:cubicBezTo>
                      <a:pt x="242" y="185"/>
                      <a:pt x="242" y="185"/>
                      <a:pt x="242" y="185"/>
                    </a:cubicBezTo>
                    <a:lnTo>
                      <a:pt x="241" y="181"/>
                    </a:lnTo>
                    <a:close/>
                    <a:moveTo>
                      <a:pt x="243" y="238"/>
                    </a:moveTo>
                    <a:cubicBezTo>
                      <a:pt x="242" y="237"/>
                      <a:pt x="242" y="237"/>
                      <a:pt x="242" y="237"/>
                    </a:cubicBezTo>
                    <a:cubicBezTo>
                      <a:pt x="243" y="238"/>
                      <a:pt x="243" y="238"/>
                      <a:pt x="243" y="238"/>
                    </a:cubicBezTo>
                    <a:close/>
                    <a:moveTo>
                      <a:pt x="246" y="233"/>
                    </a:moveTo>
                    <a:cubicBezTo>
                      <a:pt x="244" y="232"/>
                      <a:pt x="244" y="232"/>
                      <a:pt x="244" y="232"/>
                    </a:cubicBezTo>
                    <a:cubicBezTo>
                      <a:pt x="243" y="234"/>
                      <a:pt x="243" y="234"/>
                      <a:pt x="243" y="234"/>
                    </a:cubicBezTo>
                    <a:cubicBezTo>
                      <a:pt x="242" y="234"/>
                      <a:pt x="242" y="234"/>
                      <a:pt x="242" y="234"/>
                    </a:cubicBezTo>
                    <a:cubicBezTo>
                      <a:pt x="242" y="236"/>
                      <a:pt x="242" y="236"/>
                      <a:pt x="242" y="236"/>
                    </a:cubicBezTo>
                    <a:cubicBezTo>
                      <a:pt x="242" y="236"/>
                      <a:pt x="242" y="236"/>
                      <a:pt x="242" y="236"/>
                    </a:cubicBezTo>
                    <a:cubicBezTo>
                      <a:pt x="242" y="234"/>
                      <a:pt x="242" y="234"/>
                      <a:pt x="242" y="234"/>
                    </a:cubicBezTo>
                    <a:cubicBezTo>
                      <a:pt x="243" y="234"/>
                      <a:pt x="243" y="234"/>
                      <a:pt x="243" y="234"/>
                    </a:cubicBezTo>
                    <a:cubicBezTo>
                      <a:pt x="244" y="232"/>
                      <a:pt x="244" y="232"/>
                      <a:pt x="244" y="232"/>
                    </a:cubicBezTo>
                    <a:cubicBezTo>
                      <a:pt x="246" y="233"/>
                      <a:pt x="246" y="233"/>
                      <a:pt x="246" y="233"/>
                    </a:cubicBezTo>
                    <a:cubicBezTo>
                      <a:pt x="247" y="232"/>
                      <a:pt x="247" y="232"/>
                      <a:pt x="247" y="232"/>
                    </a:cubicBezTo>
                    <a:cubicBezTo>
                      <a:pt x="247" y="232"/>
                      <a:pt x="247" y="232"/>
                      <a:pt x="247" y="232"/>
                    </a:cubicBezTo>
                    <a:lnTo>
                      <a:pt x="246" y="233"/>
                    </a:lnTo>
                    <a:close/>
                    <a:moveTo>
                      <a:pt x="247" y="207"/>
                    </a:moveTo>
                    <a:cubicBezTo>
                      <a:pt x="248" y="203"/>
                      <a:pt x="248" y="203"/>
                      <a:pt x="248" y="203"/>
                    </a:cubicBezTo>
                    <a:cubicBezTo>
                      <a:pt x="248" y="201"/>
                      <a:pt x="248" y="201"/>
                      <a:pt x="248" y="201"/>
                    </a:cubicBezTo>
                    <a:cubicBezTo>
                      <a:pt x="248" y="200"/>
                      <a:pt x="248" y="200"/>
                      <a:pt x="248" y="200"/>
                    </a:cubicBezTo>
                    <a:cubicBezTo>
                      <a:pt x="248" y="200"/>
                      <a:pt x="248" y="200"/>
                      <a:pt x="248" y="200"/>
                    </a:cubicBezTo>
                    <a:cubicBezTo>
                      <a:pt x="248" y="201"/>
                      <a:pt x="248" y="201"/>
                      <a:pt x="248" y="201"/>
                    </a:cubicBezTo>
                    <a:cubicBezTo>
                      <a:pt x="248" y="203"/>
                      <a:pt x="248" y="203"/>
                      <a:pt x="248" y="203"/>
                    </a:cubicBezTo>
                    <a:cubicBezTo>
                      <a:pt x="247" y="207"/>
                      <a:pt x="247" y="207"/>
                      <a:pt x="247" y="207"/>
                    </a:cubicBezTo>
                    <a:cubicBezTo>
                      <a:pt x="248" y="208"/>
                      <a:pt x="248" y="208"/>
                      <a:pt x="248" y="208"/>
                    </a:cubicBezTo>
                    <a:cubicBezTo>
                      <a:pt x="250" y="207"/>
                      <a:pt x="250" y="207"/>
                      <a:pt x="250" y="207"/>
                    </a:cubicBezTo>
                    <a:cubicBezTo>
                      <a:pt x="248" y="208"/>
                      <a:pt x="248" y="208"/>
                      <a:pt x="248" y="208"/>
                    </a:cubicBezTo>
                    <a:lnTo>
                      <a:pt x="247" y="207"/>
                    </a:lnTo>
                    <a:close/>
                    <a:moveTo>
                      <a:pt x="249" y="230"/>
                    </a:moveTo>
                    <a:cubicBezTo>
                      <a:pt x="248" y="230"/>
                      <a:pt x="248" y="230"/>
                      <a:pt x="248" y="230"/>
                    </a:cubicBezTo>
                    <a:cubicBezTo>
                      <a:pt x="249" y="230"/>
                      <a:pt x="249" y="230"/>
                      <a:pt x="249" y="230"/>
                    </a:cubicBezTo>
                    <a:cubicBezTo>
                      <a:pt x="250" y="230"/>
                      <a:pt x="250" y="230"/>
                      <a:pt x="250" y="230"/>
                    </a:cubicBezTo>
                    <a:lnTo>
                      <a:pt x="249" y="230"/>
                    </a:lnTo>
                    <a:close/>
                    <a:moveTo>
                      <a:pt x="257" y="261"/>
                    </a:moveTo>
                    <a:cubicBezTo>
                      <a:pt x="257" y="261"/>
                      <a:pt x="257" y="261"/>
                      <a:pt x="257" y="261"/>
                    </a:cubicBezTo>
                    <a:cubicBezTo>
                      <a:pt x="257" y="260"/>
                      <a:pt x="257" y="260"/>
                      <a:pt x="257" y="260"/>
                    </a:cubicBezTo>
                    <a:cubicBezTo>
                      <a:pt x="254" y="260"/>
                      <a:pt x="254" y="260"/>
                      <a:pt x="254" y="260"/>
                    </a:cubicBezTo>
                    <a:cubicBezTo>
                      <a:pt x="253" y="261"/>
                      <a:pt x="253" y="261"/>
                      <a:pt x="253" y="261"/>
                    </a:cubicBezTo>
                    <a:cubicBezTo>
                      <a:pt x="250" y="261"/>
                      <a:pt x="250" y="261"/>
                      <a:pt x="250" y="261"/>
                    </a:cubicBezTo>
                    <a:cubicBezTo>
                      <a:pt x="250" y="261"/>
                      <a:pt x="250" y="261"/>
                      <a:pt x="250" y="261"/>
                    </a:cubicBezTo>
                    <a:cubicBezTo>
                      <a:pt x="250" y="261"/>
                      <a:pt x="250" y="261"/>
                      <a:pt x="250" y="261"/>
                    </a:cubicBezTo>
                    <a:cubicBezTo>
                      <a:pt x="253" y="261"/>
                      <a:pt x="253" y="261"/>
                      <a:pt x="253" y="261"/>
                    </a:cubicBezTo>
                    <a:cubicBezTo>
                      <a:pt x="254" y="260"/>
                      <a:pt x="254" y="260"/>
                      <a:pt x="254" y="260"/>
                    </a:cubicBezTo>
                    <a:cubicBezTo>
                      <a:pt x="257" y="260"/>
                      <a:pt x="257" y="260"/>
                      <a:pt x="257" y="260"/>
                    </a:cubicBezTo>
                    <a:lnTo>
                      <a:pt x="257" y="261"/>
                    </a:lnTo>
                    <a:close/>
                    <a:moveTo>
                      <a:pt x="256" y="255"/>
                    </a:moveTo>
                    <a:cubicBezTo>
                      <a:pt x="256" y="255"/>
                      <a:pt x="256" y="255"/>
                      <a:pt x="256" y="255"/>
                    </a:cubicBezTo>
                    <a:cubicBezTo>
                      <a:pt x="256" y="256"/>
                      <a:pt x="256" y="256"/>
                      <a:pt x="256" y="256"/>
                    </a:cubicBezTo>
                    <a:lnTo>
                      <a:pt x="256" y="255"/>
                    </a:lnTo>
                    <a:close/>
                    <a:moveTo>
                      <a:pt x="256" y="246"/>
                    </a:moveTo>
                    <a:cubicBezTo>
                      <a:pt x="257" y="247"/>
                      <a:pt x="257" y="247"/>
                      <a:pt x="257" y="247"/>
                    </a:cubicBezTo>
                    <a:cubicBezTo>
                      <a:pt x="257" y="247"/>
                      <a:pt x="257" y="247"/>
                      <a:pt x="257" y="247"/>
                    </a:cubicBezTo>
                    <a:lnTo>
                      <a:pt x="256" y="246"/>
                    </a:lnTo>
                    <a:close/>
                    <a:moveTo>
                      <a:pt x="257" y="261"/>
                    </a:moveTo>
                    <a:cubicBezTo>
                      <a:pt x="258" y="260"/>
                      <a:pt x="258" y="260"/>
                      <a:pt x="258" y="260"/>
                    </a:cubicBezTo>
                    <a:cubicBezTo>
                      <a:pt x="257" y="259"/>
                      <a:pt x="257" y="259"/>
                      <a:pt x="257" y="259"/>
                    </a:cubicBezTo>
                    <a:cubicBezTo>
                      <a:pt x="257" y="258"/>
                      <a:pt x="257" y="258"/>
                      <a:pt x="257" y="258"/>
                    </a:cubicBezTo>
                    <a:cubicBezTo>
                      <a:pt x="257" y="259"/>
                      <a:pt x="257" y="259"/>
                      <a:pt x="257" y="259"/>
                    </a:cubicBezTo>
                    <a:cubicBezTo>
                      <a:pt x="258" y="260"/>
                      <a:pt x="258" y="260"/>
                      <a:pt x="258" y="260"/>
                    </a:cubicBezTo>
                    <a:lnTo>
                      <a:pt x="257" y="261"/>
                    </a:lnTo>
                    <a:close/>
                    <a:moveTo>
                      <a:pt x="258" y="211"/>
                    </a:moveTo>
                    <a:cubicBezTo>
                      <a:pt x="261" y="210"/>
                      <a:pt x="261" y="210"/>
                      <a:pt x="261" y="210"/>
                    </a:cubicBezTo>
                    <a:cubicBezTo>
                      <a:pt x="264" y="208"/>
                      <a:pt x="264" y="208"/>
                      <a:pt x="264" y="208"/>
                    </a:cubicBezTo>
                    <a:cubicBezTo>
                      <a:pt x="265" y="209"/>
                      <a:pt x="265" y="209"/>
                      <a:pt x="265" y="209"/>
                    </a:cubicBezTo>
                    <a:cubicBezTo>
                      <a:pt x="264" y="208"/>
                      <a:pt x="264" y="208"/>
                      <a:pt x="264" y="208"/>
                    </a:cubicBezTo>
                    <a:cubicBezTo>
                      <a:pt x="261" y="210"/>
                      <a:pt x="261" y="210"/>
                      <a:pt x="261" y="210"/>
                    </a:cubicBezTo>
                    <a:cubicBezTo>
                      <a:pt x="258" y="211"/>
                      <a:pt x="258" y="211"/>
                      <a:pt x="258" y="211"/>
                    </a:cubicBezTo>
                    <a:close/>
                    <a:moveTo>
                      <a:pt x="259" y="215"/>
                    </a:moveTo>
                    <a:cubicBezTo>
                      <a:pt x="259" y="215"/>
                      <a:pt x="259" y="215"/>
                      <a:pt x="259" y="215"/>
                    </a:cubicBezTo>
                    <a:cubicBezTo>
                      <a:pt x="259" y="213"/>
                      <a:pt x="259" y="213"/>
                      <a:pt x="259" y="213"/>
                    </a:cubicBezTo>
                    <a:lnTo>
                      <a:pt x="259" y="215"/>
                    </a:lnTo>
                    <a:close/>
                    <a:moveTo>
                      <a:pt x="262" y="242"/>
                    </a:moveTo>
                    <a:cubicBezTo>
                      <a:pt x="262" y="243"/>
                      <a:pt x="261" y="244"/>
                      <a:pt x="261" y="244"/>
                    </a:cubicBezTo>
                    <a:cubicBezTo>
                      <a:pt x="260" y="246"/>
                      <a:pt x="260" y="246"/>
                      <a:pt x="260" y="246"/>
                    </a:cubicBezTo>
                    <a:cubicBezTo>
                      <a:pt x="258" y="246"/>
                      <a:pt x="258" y="246"/>
                      <a:pt x="258" y="246"/>
                    </a:cubicBezTo>
                    <a:cubicBezTo>
                      <a:pt x="258" y="246"/>
                      <a:pt x="258" y="246"/>
                      <a:pt x="258" y="246"/>
                    </a:cubicBezTo>
                    <a:cubicBezTo>
                      <a:pt x="260" y="246"/>
                      <a:pt x="260" y="246"/>
                      <a:pt x="260" y="246"/>
                    </a:cubicBezTo>
                    <a:cubicBezTo>
                      <a:pt x="261" y="244"/>
                      <a:pt x="261" y="244"/>
                      <a:pt x="261" y="244"/>
                    </a:cubicBezTo>
                    <a:cubicBezTo>
                      <a:pt x="261" y="244"/>
                      <a:pt x="262" y="243"/>
                      <a:pt x="262" y="242"/>
                    </a:cubicBezTo>
                    <a:cubicBezTo>
                      <a:pt x="263" y="242"/>
                      <a:pt x="263" y="242"/>
                      <a:pt x="263" y="242"/>
                    </a:cubicBezTo>
                    <a:cubicBezTo>
                      <a:pt x="263" y="242"/>
                      <a:pt x="263" y="242"/>
                      <a:pt x="262" y="242"/>
                    </a:cubicBezTo>
                    <a:close/>
                    <a:moveTo>
                      <a:pt x="263" y="213"/>
                    </a:moveTo>
                    <a:cubicBezTo>
                      <a:pt x="262" y="213"/>
                      <a:pt x="262" y="213"/>
                      <a:pt x="262" y="213"/>
                    </a:cubicBezTo>
                    <a:cubicBezTo>
                      <a:pt x="262" y="213"/>
                      <a:pt x="262" y="213"/>
                      <a:pt x="262" y="213"/>
                    </a:cubicBezTo>
                    <a:cubicBezTo>
                      <a:pt x="263" y="213"/>
                      <a:pt x="263" y="213"/>
                      <a:pt x="263" y="213"/>
                    </a:cubicBezTo>
                    <a:cubicBezTo>
                      <a:pt x="265" y="214"/>
                      <a:pt x="265" y="214"/>
                      <a:pt x="265" y="214"/>
                    </a:cubicBezTo>
                    <a:cubicBezTo>
                      <a:pt x="267" y="215"/>
                      <a:pt x="267" y="215"/>
                      <a:pt x="267" y="215"/>
                    </a:cubicBezTo>
                    <a:cubicBezTo>
                      <a:pt x="266" y="217"/>
                      <a:pt x="266" y="217"/>
                      <a:pt x="266" y="217"/>
                    </a:cubicBezTo>
                    <a:cubicBezTo>
                      <a:pt x="266" y="217"/>
                      <a:pt x="266" y="217"/>
                      <a:pt x="266" y="217"/>
                    </a:cubicBezTo>
                    <a:cubicBezTo>
                      <a:pt x="267" y="215"/>
                      <a:pt x="267" y="215"/>
                      <a:pt x="267" y="215"/>
                    </a:cubicBezTo>
                    <a:cubicBezTo>
                      <a:pt x="265" y="214"/>
                      <a:pt x="265" y="214"/>
                      <a:pt x="265" y="214"/>
                    </a:cubicBezTo>
                    <a:lnTo>
                      <a:pt x="263" y="213"/>
                    </a:lnTo>
                    <a:close/>
                    <a:moveTo>
                      <a:pt x="267" y="225"/>
                    </a:moveTo>
                    <a:cubicBezTo>
                      <a:pt x="267" y="225"/>
                      <a:pt x="267" y="225"/>
                      <a:pt x="267" y="225"/>
                    </a:cubicBezTo>
                    <a:cubicBezTo>
                      <a:pt x="266" y="224"/>
                      <a:pt x="266" y="224"/>
                      <a:pt x="266" y="224"/>
                    </a:cubicBezTo>
                    <a:lnTo>
                      <a:pt x="267" y="225"/>
                    </a:lnTo>
                    <a:close/>
                    <a:moveTo>
                      <a:pt x="267" y="237"/>
                    </a:moveTo>
                    <a:cubicBezTo>
                      <a:pt x="265" y="238"/>
                      <a:pt x="265" y="238"/>
                      <a:pt x="265" y="238"/>
                    </a:cubicBezTo>
                    <a:cubicBezTo>
                      <a:pt x="267" y="237"/>
                      <a:pt x="267" y="237"/>
                      <a:pt x="267" y="237"/>
                    </a:cubicBezTo>
                    <a:cubicBezTo>
                      <a:pt x="266" y="236"/>
                      <a:pt x="266" y="236"/>
                      <a:pt x="266" y="236"/>
                    </a:cubicBezTo>
                    <a:cubicBezTo>
                      <a:pt x="267" y="235"/>
                      <a:pt x="267" y="235"/>
                      <a:pt x="267" y="235"/>
                    </a:cubicBezTo>
                    <a:cubicBezTo>
                      <a:pt x="266" y="236"/>
                      <a:pt x="266" y="236"/>
                      <a:pt x="266" y="236"/>
                    </a:cubicBezTo>
                    <a:lnTo>
                      <a:pt x="267" y="237"/>
                    </a:lnTo>
                    <a:close/>
                    <a:moveTo>
                      <a:pt x="267" y="196"/>
                    </a:moveTo>
                    <a:cubicBezTo>
                      <a:pt x="267" y="196"/>
                      <a:pt x="267" y="196"/>
                      <a:pt x="267" y="196"/>
                    </a:cubicBezTo>
                    <a:cubicBezTo>
                      <a:pt x="268" y="194"/>
                      <a:pt x="268" y="194"/>
                      <a:pt x="268" y="194"/>
                    </a:cubicBezTo>
                    <a:lnTo>
                      <a:pt x="267" y="196"/>
                    </a:lnTo>
                    <a:close/>
                    <a:moveTo>
                      <a:pt x="268" y="201"/>
                    </a:moveTo>
                    <a:cubicBezTo>
                      <a:pt x="270" y="202"/>
                      <a:pt x="270" y="202"/>
                      <a:pt x="270" y="202"/>
                    </a:cubicBezTo>
                    <a:cubicBezTo>
                      <a:pt x="270" y="202"/>
                      <a:pt x="270" y="202"/>
                      <a:pt x="270" y="202"/>
                    </a:cubicBezTo>
                    <a:cubicBezTo>
                      <a:pt x="268" y="201"/>
                      <a:pt x="268" y="201"/>
                      <a:pt x="268" y="201"/>
                    </a:cubicBezTo>
                    <a:cubicBezTo>
                      <a:pt x="267" y="201"/>
                      <a:pt x="267" y="201"/>
                      <a:pt x="267" y="201"/>
                    </a:cubicBezTo>
                    <a:lnTo>
                      <a:pt x="268" y="201"/>
                    </a:lnTo>
                    <a:close/>
                    <a:moveTo>
                      <a:pt x="268" y="217"/>
                    </a:moveTo>
                    <a:cubicBezTo>
                      <a:pt x="268" y="217"/>
                      <a:pt x="268" y="217"/>
                      <a:pt x="268" y="217"/>
                    </a:cubicBezTo>
                    <a:cubicBezTo>
                      <a:pt x="268" y="217"/>
                      <a:pt x="268" y="217"/>
                      <a:pt x="268" y="217"/>
                    </a:cubicBezTo>
                    <a:close/>
                    <a:moveTo>
                      <a:pt x="268" y="233"/>
                    </a:moveTo>
                    <a:cubicBezTo>
                      <a:pt x="268" y="233"/>
                      <a:pt x="268" y="233"/>
                      <a:pt x="268" y="233"/>
                    </a:cubicBezTo>
                    <a:cubicBezTo>
                      <a:pt x="268" y="232"/>
                      <a:pt x="268" y="232"/>
                      <a:pt x="268" y="232"/>
                    </a:cubicBezTo>
                    <a:cubicBezTo>
                      <a:pt x="268" y="232"/>
                      <a:pt x="268" y="231"/>
                      <a:pt x="268" y="230"/>
                    </a:cubicBezTo>
                    <a:cubicBezTo>
                      <a:pt x="268" y="231"/>
                      <a:pt x="268" y="232"/>
                      <a:pt x="268" y="232"/>
                    </a:cubicBezTo>
                    <a:lnTo>
                      <a:pt x="268" y="233"/>
                    </a:lnTo>
                    <a:close/>
                    <a:moveTo>
                      <a:pt x="269" y="229"/>
                    </a:moveTo>
                    <a:cubicBezTo>
                      <a:pt x="269" y="229"/>
                      <a:pt x="269" y="229"/>
                      <a:pt x="269" y="229"/>
                    </a:cubicBezTo>
                    <a:cubicBezTo>
                      <a:pt x="269" y="229"/>
                      <a:pt x="269" y="229"/>
                      <a:pt x="269" y="229"/>
                    </a:cubicBezTo>
                    <a:cubicBezTo>
                      <a:pt x="269" y="229"/>
                      <a:pt x="269" y="229"/>
                      <a:pt x="269" y="229"/>
                    </a:cubicBezTo>
                    <a:close/>
                    <a:moveTo>
                      <a:pt x="268" y="217"/>
                    </a:moveTo>
                    <a:cubicBezTo>
                      <a:pt x="268" y="217"/>
                      <a:pt x="268" y="217"/>
                      <a:pt x="268" y="217"/>
                    </a:cubicBezTo>
                    <a:cubicBezTo>
                      <a:pt x="268" y="217"/>
                      <a:pt x="268" y="217"/>
                      <a:pt x="268" y="217"/>
                    </a:cubicBezTo>
                    <a:cubicBezTo>
                      <a:pt x="268" y="217"/>
                      <a:pt x="268" y="217"/>
                      <a:pt x="268" y="217"/>
                    </a:cubicBezTo>
                    <a:cubicBezTo>
                      <a:pt x="270" y="218"/>
                      <a:pt x="270" y="218"/>
                      <a:pt x="270" y="218"/>
                    </a:cubicBezTo>
                    <a:lnTo>
                      <a:pt x="268" y="217"/>
                    </a:lnTo>
                    <a:close/>
                    <a:moveTo>
                      <a:pt x="269" y="208"/>
                    </a:moveTo>
                    <a:cubicBezTo>
                      <a:pt x="269" y="208"/>
                      <a:pt x="270" y="208"/>
                      <a:pt x="270" y="208"/>
                    </a:cubicBezTo>
                    <a:cubicBezTo>
                      <a:pt x="270" y="208"/>
                      <a:pt x="269" y="208"/>
                      <a:pt x="269" y="208"/>
                    </a:cubicBezTo>
                    <a:close/>
                    <a:moveTo>
                      <a:pt x="270" y="193"/>
                    </a:moveTo>
                    <a:cubicBezTo>
                      <a:pt x="270" y="193"/>
                      <a:pt x="270" y="193"/>
                      <a:pt x="270" y="193"/>
                    </a:cubicBezTo>
                    <a:cubicBezTo>
                      <a:pt x="271" y="193"/>
                      <a:pt x="271" y="193"/>
                      <a:pt x="271" y="193"/>
                    </a:cubicBezTo>
                    <a:cubicBezTo>
                      <a:pt x="271" y="193"/>
                      <a:pt x="272" y="191"/>
                      <a:pt x="272" y="192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2"/>
                      <a:pt x="272" y="192"/>
                      <a:pt x="272" y="192"/>
                    </a:cubicBezTo>
                    <a:cubicBezTo>
                      <a:pt x="272" y="191"/>
                      <a:pt x="271" y="193"/>
                      <a:pt x="271" y="193"/>
                    </a:cubicBezTo>
                    <a:lnTo>
                      <a:pt x="270" y="193"/>
                    </a:lnTo>
                    <a:close/>
                    <a:moveTo>
                      <a:pt x="272" y="209"/>
                    </a:moveTo>
                    <a:cubicBezTo>
                      <a:pt x="272" y="209"/>
                      <a:pt x="271" y="208"/>
                      <a:pt x="271" y="208"/>
                    </a:cubicBezTo>
                    <a:cubicBezTo>
                      <a:pt x="271" y="208"/>
                      <a:pt x="272" y="209"/>
                      <a:pt x="272" y="209"/>
                    </a:cubicBezTo>
                    <a:cubicBezTo>
                      <a:pt x="272" y="209"/>
                      <a:pt x="272" y="209"/>
                      <a:pt x="272" y="209"/>
                    </a:cubicBezTo>
                    <a:close/>
                    <a:moveTo>
                      <a:pt x="296" y="162"/>
                    </a:moveTo>
                    <a:cubicBezTo>
                      <a:pt x="296" y="162"/>
                      <a:pt x="296" y="162"/>
                      <a:pt x="296" y="162"/>
                    </a:cubicBezTo>
                    <a:cubicBezTo>
                      <a:pt x="295" y="165"/>
                      <a:pt x="295" y="165"/>
                      <a:pt x="295" y="165"/>
                    </a:cubicBezTo>
                    <a:lnTo>
                      <a:pt x="296" y="162"/>
                    </a:lnTo>
                    <a:close/>
                    <a:moveTo>
                      <a:pt x="295" y="145"/>
                    </a:moveTo>
                    <a:cubicBezTo>
                      <a:pt x="295" y="145"/>
                      <a:pt x="295" y="145"/>
                      <a:pt x="295" y="145"/>
                    </a:cubicBezTo>
                    <a:cubicBezTo>
                      <a:pt x="295" y="146"/>
                      <a:pt x="295" y="146"/>
                      <a:pt x="295" y="146"/>
                    </a:cubicBezTo>
                    <a:lnTo>
                      <a:pt x="295" y="145"/>
                    </a:lnTo>
                    <a:close/>
                    <a:moveTo>
                      <a:pt x="295" y="172"/>
                    </a:moveTo>
                    <a:cubicBezTo>
                      <a:pt x="295" y="172"/>
                      <a:pt x="295" y="172"/>
                      <a:pt x="295" y="172"/>
                    </a:cubicBezTo>
                    <a:cubicBezTo>
                      <a:pt x="294" y="171"/>
                      <a:pt x="294" y="171"/>
                      <a:pt x="294" y="171"/>
                    </a:cubicBezTo>
                    <a:lnTo>
                      <a:pt x="295" y="172"/>
                    </a:lnTo>
                    <a:close/>
                    <a:moveTo>
                      <a:pt x="294" y="146"/>
                    </a:moveTo>
                    <a:cubicBezTo>
                      <a:pt x="294" y="146"/>
                      <a:pt x="294" y="146"/>
                      <a:pt x="294" y="146"/>
                    </a:cubicBezTo>
                    <a:cubicBezTo>
                      <a:pt x="294" y="146"/>
                      <a:pt x="294" y="146"/>
                      <a:pt x="294" y="146"/>
                    </a:cubicBezTo>
                    <a:close/>
                    <a:moveTo>
                      <a:pt x="289" y="144"/>
                    </a:moveTo>
                    <a:cubicBezTo>
                      <a:pt x="289" y="144"/>
                      <a:pt x="289" y="144"/>
                      <a:pt x="289" y="144"/>
                    </a:cubicBezTo>
                    <a:cubicBezTo>
                      <a:pt x="289" y="145"/>
                      <a:pt x="289" y="145"/>
                      <a:pt x="289" y="145"/>
                    </a:cubicBezTo>
                    <a:cubicBezTo>
                      <a:pt x="289" y="145"/>
                      <a:pt x="289" y="145"/>
                      <a:pt x="290" y="145"/>
                    </a:cubicBezTo>
                    <a:cubicBezTo>
                      <a:pt x="289" y="145"/>
                      <a:pt x="289" y="145"/>
                      <a:pt x="289" y="145"/>
                    </a:cubicBezTo>
                    <a:lnTo>
                      <a:pt x="289" y="144"/>
                    </a:lnTo>
                    <a:close/>
                    <a:moveTo>
                      <a:pt x="289" y="235"/>
                    </a:moveTo>
                    <a:cubicBezTo>
                      <a:pt x="289" y="235"/>
                      <a:pt x="289" y="235"/>
                      <a:pt x="289" y="235"/>
                    </a:cubicBezTo>
                    <a:cubicBezTo>
                      <a:pt x="289" y="236"/>
                      <a:pt x="289" y="236"/>
                      <a:pt x="289" y="236"/>
                    </a:cubicBezTo>
                    <a:lnTo>
                      <a:pt x="289" y="235"/>
                    </a:lnTo>
                    <a:close/>
                    <a:moveTo>
                      <a:pt x="288" y="237"/>
                    </a:moveTo>
                    <a:cubicBezTo>
                      <a:pt x="290" y="237"/>
                      <a:pt x="290" y="237"/>
                      <a:pt x="290" y="237"/>
                    </a:cubicBezTo>
                    <a:cubicBezTo>
                      <a:pt x="291" y="237"/>
                      <a:pt x="291" y="237"/>
                      <a:pt x="291" y="237"/>
                    </a:cubicBezTo>
                    <a:cubicBezTo>
                      <a:pt x="291" y="237"/>
                      <a:pt x="291" y="237"/>
                      <a:pt x="291" y="237"/>
                    </a:cubicBezTo>
                    <a:cubicBezTo>
                      <a:pt x="291" y="237"/>
                      <a:pt x="291" y="237"/>
                      <a:pt x="291" y="237"/>
                    </a:cubicBezTo>
                    <a:cubicBezTo>
                      <a:pt x="290" y="237"/>
                      <a:pt x="290" y="237"/>
                      <a:pt x="290" y="237"/>
                    </a:cubicBezTo>
                    <a:cubicBezTo>
                      <a:pt x="288" y="237"/>
                      <a:pt x="288" y="237"/>
                      <a:pt x="288" y="237"/>
                    </a:cubicBezTo>
                    <a:close/>
                    <a:moveTo>
                      <a:pt x="288" y="182"/>
                    </a:moveTo>
                    <a:cubicBezTo>
                      <a:pt x="288" y="182"/>
                      <a:pt x="288" y="182"/>
                      <a:pt x="288" y="182"/>
                    </a:cubicBezTo>
                    <a:cubicBezTo>
                      <a:pt x="287" y="182"/>
                      <a:pt x="287" y="182"/>
                      <a:pt x="287" y="182"/>
                    </a:cubicBezTo>
                    <a:cubicBezTo>
                      <a:pt x="288" y="182"/>
                      <a:pt x="288" y="182"/>
                      <a:pt x="288" y="182"/>
                    </a:cubicBezTo>
                    <a:close/>
                    <a:moveTo>
                      <a:pt x="288" y="145"/>
                    </a:moveTo>
                    <a:cubicBezTo>
                      <a:pt x="288" y="144"/>
                      <a:pt x="288" y="144"/>
                      <a:pt x="288" y="144"/>
                    </a:cubicBezTo>
                    <a:cubicBezTo>
                      <a:pt x="288" y="144"/>
                      <a:pt x="288" y="144"/>
                      <a:pt x="288" y="144"/>
                    </a:cubicBezTo>
                    <a:cubicBezTo>
                      <a:pt x="288" y="145"/>
                      <a:pt x="288" y="145"/>
                      <a:pt x="288" y="145"/>
                    </a:cubicBezTo>
                    <a:cubicBezTo>
                      <a:pt x="287" y="145"/>
                      <a:pt x="287" y="145"/>
                      <a:pt x="287" y="145"/>
                    </a:cubicBezTo>
                    <a:lnTo>
                      <a:pt x="288" y="145"/>
                    </a:lnTo>
                    <a:close/>
                    <a:moveTo>
                      <a:pt x="287" y="174"/>
                    </a:moveTo>
                    <a:cubicBezTo>
                      <a:pt x="288" y="175"/>
                      <a:pt x="288" y="175"/>
                      <a:pt x="288" y="175"/>
                    </a:cubicBezTo>
                    <a:cubicBezTo>
                      <a:pt x="287" y="174"/>
                      <a:pt x="287" y="174"/>
                      <a:pt x="287" y="174"/>
                    </a:cubicBezTo>
                    <a:close/>
                    <a:moveTo>
                      <a:pt x="287" y="146"/>
                    </a:moveTo>
                    <a:cubicBezTo>
                      <a:pt x="287" y="146"/>
                      <a:pt x="287" y="146"/>
                      <a:pt x="287" y="146"/>
                    </a:cubicBezTo>
                    <a:cubicBezTo>
                      <a:pt x="287" y="146"/>
                      <a:pt x="287" y="146"/>
                      <a:pt x="287" y="146"/>
                    </a:cubicBezTo>
                    <a:close/>
                    <a:moveTo>
                      <a:pt x="287" y="182"/>
                    </a:moveTo>
                    <a:cubicBezTo>
                      <a:pt x="287" y="182"/>
                      <a:pt x="287" y="182"/>
                      <a:pt x="287" y="182"/>
                    </a:cubicBezTo>
                    <a:cubicBezTo>
                      <a:pt x="287" y="186"/>
                      <a:pt x="287" y="186"/>
                      <a:pt x="287" y="186"/>
                    </a:cubicBezTo>
                    <a:cubicBezTo>
                      <a:pt x="287" y="186"/>
                      <a:pt x="287" y="186"/>
                      <a:pt x="287" y="186"/>
                    </a:cubicBezTo>
                    <a:cubicBezTo>
                      <a:pt x="287" y="186"/>
                      <a:pt x="287" y="186"/>
                      <a:pt x="287" y="186"/>
                    </a:cubicBezTo>
                    <a:lnTo>
                      <a:pt x="287" y="182"/>
                    </a:lnTo>
                    <a:close/>
                    <a:moveTo>
                      <a:pt x="287" y="186"/>
                    </a:moveTo>
                    <a:cubicBezTo>
                      <a:pt x="286" y="186"/>
                      <a:pt x="286" y="187"/>
                      <a:pt x="286" y="187"/>
                    </a:cubicBezTo>
                    <a:cubicBezTo>
                      <a:pt x="285" y="187"/>
                      <a:pt x="283" y="188"/>
                      <a:pt x="283" y="188"/>
                    </a:cubicBezTo>
                    <a:cubicBezTo>
                      <a:pt x="282" y="188"/>
                      <a:pt x="282" y="188"/>
                      <a:pt x="282" y="188"/>
                    </a:cubicBezTo>
                    <a:cubicBezTo>
                      <a:pt x="283" y="188"/>
                      <a:pt x="283" y="188"/>
                      <a:pt x="283" y="188"/>
                    </a:cubicBezTo>
                    <a:cubicBezTo>
                      <a:pt x="283" y="188"/>
                      <a:pt x="285" y="187"/>
                      <a:pt x="286" y="187"/>
                    </a:cubicBezTo>
                    <a:cubicBezTo>
                      <a:pt x="286" y="187"/>
                      <a:pt x="286" y="186"/>
                      <a:pt x="287" y="186"/>
                    </a:cubicBezTo>
                    <a:close/>
                    <a:moveTo>
                      <a:pt x="286" y="185"/>
                    </a:moveTo>
                    <a:cubicBezTo>
                      <a:pt x="285" y="183"/>
                      <a:pt x="285" y="183"/>
                      <a:pt x="285" y="183"/>
                    </a:cubicBezTo>
                    <a:cubicBezTo>
                      <a:pt x="285" y="183"/>
                      <a:pt x="283" y="183"/>
                      <a:pt x="282" y="183"/>
                    </a:cubicBezTo>
                    <a:cubicBezTo>
                      <a:pt x="283" y="183"/>
                      <a:pt x="285" y="183"/>
                      <a:pt x="285" y="183"/>
                    </a:cubicBezTo>
                    <a:lnTo>
                      <a:pt x="286" y="185"/>
                    </a:lnTo>
                    <a:close/>
                    <a:moveTo>
                      <a:pt x="285" y="173"/>
                    </a:moveTo>
                    <a:cubicBezTo>
                      <a:pt x="285" y="173"/>
                      <a:pt x="285" y="173"/>
                      <a:pt x="285" y="173"/>
                    </a:cubicBezTo>
                    <a:cubicBezTo>
                      <a:pt x="286" y="174"/>
                      <a:pt x="286" y="174"/>
                      <a:pt x="286" y="174"/>
                    </a:cubicBezTo>
                    <a:lnTo>
                      <a:pt x="285" y="173"/>
                    </a:lnTo>
                    <a:close/>
                    <a:moveTo>
                      <a:pt x="279" y="134"/>
                    </a:moveTo>
                    <a:cubicBezTo>
                      <a:pt x="280" y="135"/>
                      <a:pt x="280" y="135"/>
                      <a:pt x="280" y="135"/>
                    </a:cubicBezTo>
                    <a:cubicBezTo>
                      <a:pt x="280" y="135"/>
                      <a:pt x="280" y="135"/>
                      <a:pt x="280" y="135"/>
                    </a:cubicBezTo>
                    <a:cubicBezTo>
                      <a:pt x="278" y="133"/>
                      <a:pt x="278" y="133"/>
                      <a:pt x="278" y="133"/>
                    </a:cubicBezTo>
                    <a:lnTo>
                      <a:pt x="279" y="134"/>
                    </a:lnTo>
                    <a:close/>
                    <a:moveTo>
                      <a:pt x="275" y="130"/>
                    </a:moveTo>
                    <a:cubicBezTo>
                      <a:pt x="275" y="130"/>
                      <a:pt x="275" y="130"/>
                      <a:pt x="275" y="130"/>
                    </a:cubicBezTo>
                    <a:cubicBezTo>
                      <a:pt x="276" y="131"/>
                      <a:pt x="276" y="131"/>
                      <a:pt x="276" y="131"/>
                    </a:cubicBezTo>
                    <a:cubicBezTo>
                      <a:pt x="275" y="130"/>
                      <a:pt x="275" y="130"/>
                      <a:pt x="275" y="130"/>
                    </a:cubicBezTo>
                    <a:close/>
                    <a:moveTo>
                      <a:pt x="275" y="212"/>
                    </a:moveTo>
                    <a:cubicBezTo>
                      <a:pt x="275" y="212"/>
                      <a:pt x="275" y="212"/>
                      <a:pt x="275" y="212"/>
                    </a:cubicBezTo>
                    <a:cubicBezTo>
                      <a:pt x="274" y="213"/>
                      <a:pt x="274" y="213"/>
                      <a:pt x="274" y="213"/>
                    </a:cubicBezTo>
                    <a:lnTo>
                      <a:pt x="275" y="212"/>
                    </a:lnTo>
                    <a:close/>
                    <a:moveTo>
                      <a:pt x="273" y="193"/>
                    </a:moveTo>
                    <a:cubicBezTo>
                      <a:pt x="274" y="194"/>
                      <a:pt x="274" y="194"/>
                      <a:pt x="274" y="194"/>
                    </a:cubicBezTo>
                    <a:cubicBezTo>
                      <a:pt x="273" y="193"/>
                      <a:pt x="273" y="193"/>
                      <a:pt x="273" y="193"/>
                    </a:cubicBezTo>
                    <a:cubicBezTo>
                      <a:pt x="273" y="193"/>
                      <a:pt x="273" y="193"/>
                      <a:pt x="273" y="193"/>
                    </a:cubicBezTo>
                    <a:close/>
                    <a:moveTo>
                      <a:pt x="275" y="218"/>
                    </a:moveTo>
                    <a:cubicBezTo>
                      <a:pt x="275" y="218"/>
                      <a:pt x="275" y="218"/>
                      <a:pt x="274" y="218"/>
                    </a:cubicBezTo>
                    <a:cubicBezTo>
                      <a:pt x="274" y="218"/>
                      <a:pt x="273" y="218"/>
                      <a:pt x="273" y="218"/>
                    </a:cubicBezTo>
                    <a:cubicBezTo>
                      <a:pt x="273" y="218"/>
                      <a:pt x="274" y="218"/>
                      <a:pt x="274" y="218"/>
                    </a:cubicBezTo>
                    <a:cubicBezTo>
                      <a:pt x="275" y="218"/>
                      <a:pt x="275" y="218"/>
                      <a:pt x="275" y="218"/>
                    </a:cubicBezTo>
                    <a:cubicBezTo>
                      <a:pt x="276" y="216"/>
                      <a:pt x="276" y="216"/>
                      <a:pt x="276" y="216"/>
                    </a:cubicBezTo>
                    <a:lnTo>
                      <a:pt x="275" y="218"/>
                    </a:lnTo>
                    <a:close/>
                    <a:moveTo>
                      <a:pt x="277" y="216"/>
                    </a:moveTo>
                    <a:cubicBezTo>
                      <a:pt x="277" y="216"/>
                      <a:pt x="277" y="216"/>
                      <a:pt x="277" y="216"/>
                    </a:cubicBezTo>
                    <a:cubicBezTo>
                      <a:pt x="279" y="215"/>
                      <a:pt x="279" y="215"/>
                      <a:pt x="279" y="215"/>
                    </a:cubicBezTo>
                    <a:lnTo>
                      <a:pt x="277" y="216"/>
                    </a:lnTo>
                    <a:close/>
                    <a:moveTo>
                      <a:pt x="277" y="191"/>
                    </a:moveTo>
                    <a:cubicBezTo>
                      <a:pt x="277" y="191"/>
                      <a:pt x="277" y="191"/>
                      <a:pt x="276" y="191"/>
                    </a:cubicBezTo>
                    <a:cubicBezTo>
                      <a:pt x="277" y="191"/>
                      <a:pt x="277" y="191"/>
                      <a:pt x="277" y="191"/>
                    </a:cubicBezTo>
                    <a:cubicBezTo>
                      <a:pt x="278" y="191"/>
                      <a:pt x="279" y="190"/>
                      <a:pt x="280" y="190"/>
                    </a:cubicBezTo>
                    <a:cubicBezTo>
                      <a:pt x="279" y="190"/>
                      <a:pt x="278" y="191"/>
                      <a:pt x="277" y="191"/>
                    </a:cubicBezTo>
                    <a:close/>
                    <a:moveTo>
                      <a:pt x="280" y="214"/>
                    </a:moveTo>
                    <a:cubicBezTo>
                      <a:pt x="279" y="215"/>
                      <a:pt x="279" y="215"/>
                      <a:pt x="279" y="215"/>
                    </a:cubicBezTo>
                    <a:cubicBezTo>
                      <a:pt x="279" y="215"/>
                      <a:pt x="279" y="215"/>
                      <a:pt x="279" y="215"/>
                    </a:cubicBezTo>
                    <a:cubicBezTo>
                      <a:pt x="279" y="215"/>
                      <a:pt x="279" y="215"/>
                      <a:pt x="279" y="215"/>
                    </a:cubicBezTo>
                    <a:cubicBezTo>
                      <a:pt x="279" y="215"/>
                      <a:pt x="279" y="215"/>
                      <a:pt x="279" y="215"/>
                    </a:cubicBezTo>
                    <a:cubicBezTo>
                      <a:pt x="279" y="215"/>
                      <a:pt x="279" y="215"/>
                      <a:pt x="279" y="215"/>
                    </a:cubicBezTo>
                    <a:cubicBezTo>
                      <a:pt x="280" y="214"/>
                      <a:pt x="280" y="214"/>
                      <a:pt x="280" y="214"/>
                    </a:cubicBezTo>
                    <a:close/>
                    <a:moveTo>
                      <a:pt x="280" y="135"/>
                    </a:moveTo>
                    <a:cubicBezTo>
                      <a:pt x="286" y="146"/>
                      <a:pt x="286" y="146"/>
                      <a:pt x="286" y="146"/>
                    </a:cubicBezTo>
                    <a:cubicBezTo>
                      <a:pt x="286" y="146"/>
                      <a:pt x="286" y="146"/>
                      <a:pt x="286" y="146"/>
                    </a:cubicBezTo>
                    <a:lnTo>
                      <a:pt x="280" y="135"/>
                    </a:lnTo>
                    <a:close/>
                    <a:moveTo>
                      <a:pt x="282" y="227"/>
                    </a:moveTo>
                    <a:cubicBezTo>
                      <a:pt x="282" y="227"/>
                      <a:pt x="282" y="227"/>
                      <a:pt x="282" y="227"/>
                    </a:cubicBezTo>
                    <a:cubicBezTo>
                      <a:pt x="281" y="227"/>
                      <a:pt x="281" y="227"/>
                      <a:pt x="281" y="227"/>
                    </a:cubicBezTo>
                    <a:cubicBezTo>
                      <a:pt x="281" y="227"/>
                      <a:pt x="282" y="226"/>
                      <a:pt x="282" y="227"/>
                    </a:cubicBezTo>
                    <a:close/>
                    <a:moveTo>
                      <a:pt x="283" y="224"/>
                    </a:moveTo>
                    <a:cubicBezTo>
                      <a:pt x="283" y="224"/>
                      <a:pt x="283" y="224"/>
                      <a:pt x="283" y="224"/>
                    </a:cubicBezTo>
                    <a:cubicBezTo>
                      <a:pt x="283" y="223"/>
                      <a:pt x="283" y="223"/>
                      <a:pt x="283" y="223"/>
                    </a:cubicBezTo>
                    <a:cubicBezTo>
                      <a:pt x="283" y="221"/>
                      <a:pt x="283" y="221"/>
                      <a:pt x="283" y="221"/>
                    </a:cubicBezTo>
                    <a:cubicBezTo>
                      <a:pt x="283" y="220"/>
                      <a:pt x="283" y="220"/>
                      <a:pt x="283" y="220"/>
                    </a:cubicBezTo>
                    <a:cubicBezTo>
                      <a:pt x="281" y="218"/>
                      <a:pt x="281" y="218"/>
                      <a:pt x="281" y="218"/>
                    </a:cubicBezTo>
                    <a:cubicBezTo>
                      <a:pt x="283" y="220"/>
                      <a:pt x="283" y="220"/>
                      <a:pt x="283" y="220"/>
                    </a:cubicBezTo>
                    <a:cubicBezTo>
                      <a:pt x="283" y="221"/>
                      <a:pt x="283" y="221"/>
                      <a:pt x="283" y="221"/>
                    </a:cubicBezTo>
                    <a:cubicBezTo>
                      <a:pt x="283" y="221"/>
                      <a:pt x="283" y="221"/>
                      <a:pt x="283" y="221"/>
                    </a:cubicBezTo>
                    <a:cubicBezTo>
                      <a:pt x="283" y="223"/>
                      <a:pt x="283" y="223"/>
                      <a:pt x="283" y="223"/>
                    </a:cubicBezTo>
                    <a:lnTo>
                      <a:pt x="283" y="224"/>
                    </a:lnTo>
                    <a:close/>
                    <a:moveTo>
                      <a:pt x="283" y="224"/>
                    </a:moveTo>
                    <a:cubicBezTo>
                      <a:pt x="285" y="225"/>
                      <a:pt x="285" y="225"/>
                      <a:pt x="285" y="225"/>
                    </a:cubicBezTo>
                    <a:cubicBezTo>
                      <a:pt x="284" y="226"/>
                      <a:pt x="284" y="226"/>
                      <a:pt x="284" y="226"/>
                    </a:cubicBezTo>
                    <a:cubicBezTo>
                      <a:pt x="284" y="226"/>
                      <a:pt x="284" y="226"/>
                      <a:pt x="284" y="226"/>
                    </a:cubicBezTo>
                    <a:cubicBezTo>
                      <a:pt x="285" y="225"/>
                      <a:pt x="285" y="225"/>
                      <a:pt x="285" y="225"/>
                    </a:cubicBezTo>
                    <a:lnTo>
                      <a:pt x="283" y="224"/>
                    </a:lnTo>
                    <a:close/>
                    <a:moveTo>
                      <a:pt x="284" y="227"/>
                    </a:moveTo>
                    <a:cubicBezTo>
                      <a:pt x="284" y="227"/>
                      <a:pt x="284" y="227"/>
                      <a:pt x="284" y="227"/>
                    </a:cubicBezTo>
                    <a:cubicBezTo>
                      <a:pt x="282" y="227"/>
                      <a:pt x="282" y="227"/>
                      <a:pt x="282" y="227"/>
                    </a:cubicBezTo>
                    <a:lnTo>
                      <a:pt x="284" y="227"/>
                    </a:lnTo>
                    <a:close/>
                    <a:moveTo>
                      <a:pt x="284" y="233"/>
                    </a:moveTo>
                    <a:cubicBezTo>
                      <a:pt x="282" y="232"/>
                      <a:pt x="282" y="232"/>
                      <a:pt x="282" y="232"/>
                    </a:cubicBezTo>
                    <a:cubicBezTo>
                      <a:pt x="282" y="232"/>
                      <a:pt x="282" y="232"/>
                      <a:pt x="282" y="232"/>
                    </a:cubicBezTo>
                    <a:cubicBezTo>
                      <a:pt x="282" y="232"/>
                      <a:pt x="282" y="232"/>
                      <a:pt x="282" y="232"/>
                    </a:cubicBezTo>
                    <a:cubicBezTo>
                      <a:pt x="284" y="233"/>
                      <a:pt x="284" y="233"/>
                      <a:pt x="284" y="233"/>
                    </a:cubicBezTo>
                    <a:cubicBezTo>
                      <a:pt x="285" y="233"/>
                      <a:pt x="285" y="233"/>
                      <a:pt x="285" y="233"/>
                    </a:cubicBezTo>
                    <a:lnTo>
                      <a:pt x="284" y="233"/>
                    </a:lnTo>
                    <a:close/>
                    <a:moveTo>
                      <a:pt x="285" y="219"/>
                    </a:moveTo>
                    <a:cubicBezTo>
                      <a:pt x="285" y="219"/>
                      <a:pt x="285" y="220"/>
                      <a:pt x="285" y="220"/>
                    </a:cubicBezTo>
                    <a:cubicBezTo>
                      <a:pt x="285" y="220"/>
                      <a:pt x="285" y="219"/>
                      <a:pt x="285" y="219"/>
                    </a:cubicBezTo>
                    <a:cubicBezTo>
                      <a:pt x="285" y="219"/>
                      <a:pt x="286" y="218"/>
                      <a:pt x="286" y="218"/>
                    </a:cubicBezTo>
                    <a:cubicBezTo>
                      <a:pt x="286" y="218"/>
                      <a:pt x="285" y="219"/>
                      <a:pt x="285" y="219"/>
                    </a:cubicBezTo>
                    <a:close/>
                    <a:moveTo>
                      <a:pt x="286" y="214"/>
                    </a:moveTo>
                    <a:cubicBezTo>
                      <a:pt x="284" y="213"/>
                      <a:pt x="284" y="213"/>
                      <a:pt x="284" y="213"/>
                    </a:cubicBezTo>
                    <a:cubicBezTo>
                      <a:pt x="283" y="213"/>
                      <a:pt x="283" y="213"/>
                      <a:pt x="283" y="213"/>
                    </a:cubicBezTo>
                    <a:cubicBezTo>
                      <a:pt x="283" y="213"/>
                      <a:pt x="282" y="213"/>
                      <a:pt x="281" y="213"/>
                    </a:cubicBezTo>
                    <a:cubicBezTo>
                      <a:pt x="281" y="213"/>
                      <a:pt x="281" y="213"/>
                      <a:pt x="281" y="213"/>
                    </a:cubicBezTo>
                    <a:cubicBezTo>
                      <a:pt x="282" y="213"/>
                      <a:pt x="283" y="213"/>
                      <a:pt x="283" y="213"/>
                    </a:cubicBezTo>
                    <a:cubicBezTo>
                      <a:pt x="284" y="213"/>
                      <a:pt x="284" y="213"/>
                      <a:pt x="284" y="213"/>
                    </a:cubicBezTo>
                    <a:cubicBezTo>
                      <a:pt x="286" y="214"/>
                      <a:pt x="286" y="214"/>
                      <a:pt x="286" y="214"/>
                    </a:cubicBezTo>
                    <a:cubicBezTo>
                      <a:pt x="287" y="215"/>
                      <a:pt x="287" y="215"/>
                      <a:pt x="287" y="215"/>
                    </a:cubicBezTo>
                    <a:cubicBezTo>
                      <a:pt x="287" y="216"/>
                      <a:pt x="287" y="216"/>
                      <a:pt x="287" y="216"/>
                    </a:cubicBezTo>
                    <a:cubicBezTo>
                      <a:pt x="287" y="216"/>
                      <a:pt x="287" y="216"/>
                      <a:pt x="287" y="216"/>
                    </a:cubicBezTo>
                    <a:cubicBezTo>
                      <a:pt x="287" y="216"/>
                      <a:pt x="287" y="216"/>
                      <a:pt x="287" y="216"/>
                    </a:cubicBezTo>
                    <a:cubicBezTo>
                      <a:pt x="287" y="215"/>
                      <a:pt x="287" y="215"/>
                      <a:pt x="287" y="215"/>
                    </a:cubicBezTo>
                    <a:lnTo>
                      <a:pt x="286" y="214"/>
                    </a:lnTo>
                    <a:close/>
                    <a:moveTo>
                      <a:pt x="287" y="234"/>
                    </a:moveTo>
                    <a:cubicBezTo>
                      <a:pt x="288" y="235"/>
                      <a:pt x="288" y="235"/>
                      <a:pt x="288" y="235"/>
                    </a:cubicBezTo>
                    <a:cubicBezTo>
                      <a:pt x="287" y="234"/>
                      <a:pt x="287" y="234"/>
                      <a:pt x="287" y="234"/>
                    </a:cubicBezTo>
                    <a:close/>
                    <a:moveTo>
                      <a:pt x="287" y="242"/>
                    </a:moveTo>
                    <a:cubicBezTo>
                      <a:pt x="287" y="242"/>
                      <a:pt x="287" y="242"/>
                      <a:pt x="287" y="242"/>
                    </a:cubicBezTo>
                    <a:cubicBezTo>
                      <a:pt x="287" y="242"/>
                      <a:pt x="287" y="242"/>
                      <a:pt x="287" y="242"/>
                    </a:cubicBezTo>
                    <a:close/>
                    <a:moveTo>
                      <a:pt x="289" y="244"/>
                    </a:moveTo>
                    <a:cubicBezTo>
                      <a:pt x="288" y="243"/>
                      <a:pt x="288" y="243"/>
                      <a:pt x="288" y="243"/>
                    </a:cubicBezTo>
                    <a:cubicBezTo>
                      <a:pt x="289" y="244"/>
                      <a:pt x="289" y="244"/>
                      <a:pt x="289" y="244"/>
                    </a:cubicBezTo>
                    <a:cubicBezTo>
                      <a:pt x="289" y="244"/>
                      <a:pt x="291" y="244"/>
                      <a:pt x="291" y="245"/>
                    </a:cubicBezTo>
                    <a:cubicBezTo>
                      <a:pt x="291" y="244"/>
                      <a:pt x="289" y="244"/>
                      <a:pt x="289" y="244"/>
                    </a:cubicBezTo>
                    <a:close/>
                    <a:moveTo>
                      <a:pt x="291" y="145"/>
                    </a:moveTo>
                    <a:cubicBezTo>
                      <a:pt x="292" y="146"/>
                      <a:pt x="291" y="146"/>
                      <a:pt x="291" y="146"/>
                    </a:cubicBezTo>
                    <a:cubicBezTo>
                      <a:pt x="292" y="147"/>
                      <a:pt x="292" y="147"/>
                      <a:pt x="292" y="147"/>
                    </a:cubicBezTo>
                    <a:cubicBezTo>
                      <a:pt x="293" y="146"/>
                      <a:pt x="293" y="146"/>
                      <a:pt x="293" y="146"/>
                    </a:cubicBezTo>
                    <a:cubicBezTo>
                      <a:pt x="292" y="147"/>
                      <a:pt x="292" y="147"/>
                      <a:pt x="292" y="147"/>
                    </a:cubicBezTo>
                    <a:cubicBezTo>
                      <a:pt x="291" y="146"/>
                      <a:pt x="291" y="146"/>
                      <a:pt x="291" y="146"/>
                    </a:cubicBezTo>
                    <a:cubicBezTo>
                      <a:pt x="291" y="146"/>
                      <a:pt x="292" y="146"/>
                      <a:pt x="291" y="145"/>
                    </a:cubicBezTo>
                    <a:close/>
                    <a:moveTo>
                      <a:pt x="293" y="172"/>
                    </a:moveTo>
                    <a:cubicBezTo>
                      <a:pt x="293" y="172"/>
                      <a:pt x="293" y="172"/>
                      <a:pt x="293" y="172"/>
                    </a:cubicBezTo>
                    <a:cubicBezTo>
                      <a:pt x="293" y="172"/>
                      <a:pt x="293" y="172"/>
                      <a:pt x="293" y="172"/>
                    </a:cubicBezTo>
                    <a:close/>
                    <a:moveTo>
                      <a:pt x="295" y="248"/>
                    </a:moveTo>
                    <a:cubicBezTo>
                      <a:pt x="295" y="248"/>
                      <a:pt x="295" y="248"/>
                      <a:pt x="295" y="248"/>
                    </a:cubicBezTo>
                    <a:cubicBezTo>
                      <a:pt x="296" y="246"/>
                      <a:pt x="296" y="246"/>
                      <a:pt x="296" y="246"/>
                    </a:cubicBezTo>
                    <a:cubicBezTo>
                      <a:pt x="296" y="246"/>
                      <a:pt x="293" y="246"/>
                      <a:pt x="292" y="245"/>
                    </a:cubicBezTo>
                    <a:cubicBezTo>
                      <a:pt x="293" y="246"/>
                      <a:pt x="296" y="246"/>
                      <a:pt x="296" y="246"/>
                    </a:cubicBezTo>
                    <a:lnTo>
                      <a:pt x="295" y="248"/>
                    </a:lnTo>
                    <a:close/>
                    <a:moveTo>
                      <a:pt x="294" y="238"/>
                    </a:moveTo>
                    <a:cubicBezTo>
                      <a:pt x="294" y="238"/>
                      <a:pt x="295" y="239"/>
                      <a:pt x="296" y="239"/>
                    </a:cubicBezTo>
                    <a:cubicBezTo>
                      <a:pt x="298" y="240"/>
                      <a:pt x="298" y="240"/>
                      <a:pt x="298" y="240"/>
                    </a:cubicBezTo>
                    <a:cubicBezTo>
                      <a:pt x="298" y="240"/>
                      <a:pt x="298" y="240"/>
                      <a:pt x="296" y="239"/>
                    </a:cubicBezTo>
                    <a:cubicBezTo>
                      <a:pt x="295" y="239"/>
                      <a:pt x="294" y="238"/>
                      <a:pt x="294" y="238"/>
                    </a:cubicBezTo>
                    <a:close/>
                    <a:moveTo>
                      <a:pt x="298" y="248"/>
                    </a:moveTo>
                    <a:cubicBezTo>
                      <a:pt x="297" y="248"/>
                      <a:pt x="297" y="248"/>
                      <a:pt x="297" y="248"/>
                    </a:cubicBezTo>
                    <a:cubicBezTo>
                      <a:pt x="298" y="248"/>
                      <a:pt x="298" y="248"/>
                      <a:pt x="298" y="248"/>
                    </a:cubicBezTo>
                    <a:close/>
                    <a:moveTo>
                      <a:pt x="297" y="240"/>
                    </a:moveTo>
                    <a:cubicBezTo>
                      <a:pt x="297" y="240"/>
                      <a:pt x="297" y="240"/>
                      <a:pt x="297" y="240"/>
                    </a:cubicBezTo>
                    <a:cubicBezTo>
                      <a:pt x="298" y="240"/>
                      <a:pt x="298" y="240"/>
                      <a:pt x="298" y="240"/>
                    </a:cubicBezTo>
                    <a:lnTo>
                      <a:pt x="297" y="240"/>
                    </a:lnTo>
                    <a:close/>
                    <a:moveTo>
                      <a:pt x="299" y="146"/>
                    </a:moveTo>
                    <a:cubicBezTo>
                      <a:pt x="300" y="147"/>
                      <a:pt x="300" y="147"/>
                      <a:pt x="300" y="147"/>
                    </a:cubicBezTo>
                    <a:cubicBezTo>
                      <a:pt x="299" y="147"/>
                      <a:pt x="299" y="147"/>
                      <a:pt x="299" y="147"/>
                    </a:cubicBezTo>
                    <a:cubicBezTo>
                      <a:pt x="300" y="148"/>
                      <a:pt x="300" y="148"/>
                      <a:pt x="300" y="148"/>
                    </a:cubicBezTo>
                    <a:cubicBezTo>
                      <a:pt x="300" y="148"/>
                      <a:pt x="300" y="148"/>
                      <a:pt x="300" y="149"/>
                    </a:cubicBezTo>
                    <a:cubicBezTo>
                      <a:pt x="300" y="148"/>
                      <a:pt x="300" y="148"/>
                      <a:pt x="300" y="148"/>
                    </a:cubicBezTo>
                    <a:cubicBezTo>
                      <a:pt x="299" y="147"/>
                      <a:pt x="299" y="147"/>
                      <a:pt x="299" y="147"/>
                    </a:cubicBezTo>
                    <a:cubicBezTo>
                      <a:pt x="300" y="147"/>
                      <a:pt x="300" y="147"/>
                      <a:pt x="300" y="147"/>
                    </a:cubicBezTo>
                    <a:lnTo>
                      <a:pt x="299" y="146"/>
                    </a:lnTo>
                    <a:close/>
                    <a:moveTo>
                      <a:pt x="299" y="248"/>
                    </a:moveTo>
                    <a:cubicBezTo>
                      <a:pt x="299" y="248"/>
                      <a:pt x="299" y="248"/>
                      <a:pt x="299" y="248"/>
                    </a:cubicBezTo>
                    <a:cubicBezTo>
                      <a:pt x="299" y="248"/>
                      <a:pt x="299" y="248"/>
                      <a:pt x="299" y="248"/>
                    </a:cubicBezTo>
                    <a:cubicBezTo>
                      <a:pt x="300" y="248"/>
                      <a:pt x="300" y="249"/>
                      <a:pt x="300" y="249"/>
                    </a:cubicBezTo>
                    <a:cubicBezTo>
                      <a:pt x="300" y="249"/>
                      <a:pt x="300" y="248"/>
                      <a:pt x="299" y="248"/>
                    </a:cubicBezTo>
                    <a:close/>
                    <a:moveTo>
                      <a:pt x="327" y="145"/>
                    </a:moveTo>
                    <a:cubicBezTo>
                      <a:pt x="327" y="145"/>
                      <a:pt x="327" y="145"/>
                      <a:pt x="327" y="145"/>
                    </a:cubicBezTo>
                    <a:cubicBezTo>
                      <a:pt x="327" y="145"/>
                      <a:pt x="327" y="146"/>
                      <a:pt x="327" y="146"/>
                    </a:cubicBezTo>
                    <a:cubicBezTo>
                      <a:pt x="327" y="146"/>
                      <a:pt x="327" y="145"/>
                      <a:pt x="327" y="145"/>
                    </a:cubicBezTo>
                    <a:close/>
                    <a:moveTo>
                      <a:pt x="327" y="173"/>
                    </a:moveTo>
                    <a:cubicBezTo>
                      <a:pt x="327" y="173"/>
                      <a:pt x="327" y="173"/>
                      <a:pt x="327" y="173"/>
                    </a:cubicBezTo>
                    <a:cubicBezTo>
                      <a:pt x="327" y="173"/>
                      <a:pt x="327" y="173"/>
                      <a:pt x="327" y="172"/>
                    </a:cubicBezTo>
                    <a:cubicBezTo>
                      <a:pt x="327" y="173"/>
                      <a:pt x="327" y="173"/>
                      <a:pt x="327" y="173"/>
                    </a:cubicBezTo>
                    <a:cubicBezTo>
                      <a:pt x="327" y="173"/>
                      <a:pt x="327" y="173"/>
                      <a:pt x="327" y="173"/>
                    </a:cubicBezTo>
                    <a:close/>
                    <a:moveTo>
                      <a:pt x="325" y="248"/>
                    </a:moveTo>
                    <a:cubicBezTo>
                      <a:pt x="325" y="248"/>
                      <a:pt x="325" y="248"/>
                      <a:pt x="325" y="248"/>
                    </a:cubicBezTo>
                    <a:cubicBezTo>
                      <a:pt x="325" y="248"/>
                      <a:pt x="325" y="248"/>
                      <a:pt x="325" y="248"/>
                    </a:cubicBezTo>
                    <a:close/>
                    <a:moveTo>
                      <a:pt x="323" y="251"/>
                    </a:moveTo>
                    <a:cubicBezTo>
                      <a:pt x="324" y="251"/>
                      <a:pt x="325" y="250"/>
                      <a:pt x="325" y="250"/>
                    </a:cubicBezTo>
                    <a:cubicBezTo>
                      <a:pt x="325" y="248"/>
                      <a:pt x="325" y="248"/>
                      <a:pt x="325" y="248"/>
                    </a:cubicBezTo>
                    <a:cubicBezTo>
                      <a:pt x="325" y="250"/>
                      <a:pt x="325" y="250"/>
                      <a:pt x="325" y="250"/>
                    </a:cubicBezTo>
                    <a:cubicBezTo>
                      <a:pt x="325" y="250"/>
                      <a:pt x="324" y="251"/>
                      <a:pt x="323" y="251"/>
                    </a:cubicBezTo>
                    <a:cubicBezTo>
                      <a:pt x="323" y="251"/>
                      <a:pt x="323" y="250"/>
                      <a:pt x="323" y="250"/>
                    </a:cubicBezTo>
                    <a:cubicBezTo>
                      <a:pt x="323" y="250"/>
                      <a:pt x="323" y="250"/>
                      <a:pt x="323" y="250"/>
                    </a:cubicBezTo>
                    <a:cubicBezTo>
                      <a:pt x="323" y="250"/>
                      <a:pt x="323" y="251"/>
                      <a:pt x="323" y="251"/>
                    </a:cubicBezTo>
                    <a:close/>
                    <a:moveTo>
                      <a:pt x="323" y="248"/>
                    </a:moveTo>
                    <a:cubicBezTo>
                      <a:pt x="323" y="247"/>
                      <a:pt x="323" y="247"/>
                      <a:pt x="323" y="247"/>
                    </a:cubicBezTo>
                    <a:cubicBezTo>
                      <a:pt x="323" y="248"/>
                      <a:pt x="323" y="248"/>
                      <a:pt x="323" y="248"/>
                    </a:cubicBezTo>
                    <a:close/>
                    <a:moveTo>
                      <a:pt x="325" y="247"/>
                    </a:moveTo>
                    <a:cubicBezTo>
                      <a:pt x="324" y="247"/>
                      <a:pt x="324" y="247"/>
                      <a:pt x="324" y="247"/>
                    </a:cubicBezTo>
                    <a:cubicBezTo>
                      <a:pt x="325" y="247"/>
                      <a:pt x="325" y="247"/>
                      <a:pt x="325" y="247"/>
                    </a:cubicBezTo>
                    <a:cubicBezTo>
                      <a:pt x="325" y="247"/>
                      <a:pt x="325" y="247"/>
                      <a:pt x="325" y="247"/>
                    </a:cubicBezTo>
                    <a:close/>
                    <a:moveTo>
                      <a:pt x="325" y="145"/>
                    </a:moveTo>
                    <a:cubicBezTo>
                      <a:pt x="325" y="145"/>
                      <a:pt x="325" y="145"/>
                      <a:pt x="325" y="145"/>
                    </a:cubicBezTo>
                    <a:cubicBezTo>
                      <a:pt x="325" y="145"/>
                      <a:pt x="325" y="145"/>
                      <a:pt x="325" y="145"/>
                    </a:cubicBezTo>
                    <a:cubicBezTo>
                      <a:pt x="325" y="145"/>
                      <a:pt x="325" y="145"/>
                      <a:pt x="325" y="145"/>
                    </a:cubicBezTo>
                    <a:close/>
                    <a:moveTo>
                      <a:pt x="323" y="147"/>
                    </a:moveTo>
                    <a:cubicBezTo>
                      <a:pt x="324" y="146"/>
                      <a:pt x="324" y="146"/>
                      <a:pt x="324" y="146"/>
                    </a:cubicBezTo>
                    <a:cubicBezTo>
                      <a:pt x="323" y="147"/>
                      <a:pt x="323" y="147"/>
                      <a:pt x="323" y="147"/>
                    </a:cubicBezTo>
                    <a:cubicBezTo>
                      <a:pt x="321" y="148"/>
                      <a:pt x="321" y="148"/>
                      <a:pt x="321" y="148"/>
                    </a:cubicBezTo>
                    <a:lnTo>
                      <a:pt x="323" y="147"/>
                    </a:lnTo>
                    <a:close/>
                    <a:moveTo>
                      <a:pt x="321" y="164"/>
                    </a:moveTo>
                    <a:cubicBezTo>
                      <a:pt x="321" y="164"/>
                      <a:pt x="322" y="163"/>
                      <a:pt x="322" y="164"/>
                    </a:cubicBezTo>
                    <a:cubicBezTo>
                      <a:pt x="322" y="163"/>
                      <a:pt x="321" y="164"/>
                      <a:pt x="321" y="164"/>
                    </a:cubicBezTo>
                    <a:cubicBezTo>
                      <a:pt x="319" y="160"/>
                      <a:pt x="319" y="160"/>
                      <a:pt x="319" y="160"/>
                    </a:cubicBezTo>
                    <a:cubicBezTo>
                      <a:pt x="319" y="161"/>
                      <a:pt x="319" y="161"/>
                      <a:pt x="319" y="161"/>
                    </a:cubicBezTo>
                    <a:lnTo>
                      <a:pt x="321" y="164"/>
                    </a:lnTo>
                    <a:close/>
                    <a:moveTo>
                      <a:pt x="322" y="165"/>
                    </a:moveTo>
                    <a:cubicBezTo>
                      <a:pt x="320" y="167"/>
                      <a:pt x="321" y="168"/>
                      <a:pt x="321" y="168"/>
                    </a:cubicBezTo>
                    <a:cubicBezTo>
                      <a:pt x="321" y="168"/>
                      <a:pt x="320" y="168"/>
                      <a:pt x="320" y="169"/>
                    </a:cubicBezTo>
                    <a:cubicBezTo>
                      <a:pt x="320" y="168"/>
                      <a:pt x="321" y="168"/>
                      <a:pt x="321" y="168"/>
                    </a:cubicBezTo>
                    <a:cubicBezTo>
                      <a:pt x="321" y="168"/>
                      <a:pt x="320" y="167"/>
                      <a:pt x="322" y="165"/>
                    </a:cubicBezTo>
                    <a:cubicBezTo>
                      <a:pt x="322" y="165"/>
                      <a:pt x="322" y="165"/>
                      <a:pt x="322" y="165"/>
                    </a:cubicBezTo>
                    <a:cubicBezTo>
                      <a:pt x="322" y="165"/>
                      <a:pt x="322" y="165"/>
                      <a:pt x="322" y="165"/>
                    </a:cubicBezTo>
                    <a:close/>
                    <a:moveTo>
                      <a:pt x="322" y="246"/>
                    </a:moveTo>
                    <a:cubicBezTo>
                      <a:pt x="322" y="246"/>
                      <a:pt x="322" y="246"/>
                      <a:pt x="322" y="246"/>
                    </a:cubicBezTo>
                    <a:cubicBezTo>
                      <a:pt x="322" y="246"/>
                      <a:pt x="322" y="246"/>
                      <a:pt x="322" y="246"/>
                    </a:cubicBezTo>
                    <a:cubicBezTo>
                      <a:pt x="322" y="246"/>
                      <a:pt x="322" y="246"/>
                      <a:pt x="322" y="246"/>
                    </a:cubicBezTo>
                    <a:close/>
                    <a:moveTo>
                      <a:pt x="321" y="170"/>
                    </a:moveTo>
                    <a:cubicBezTo>
                      <a:pt x="322" y="171"/>
                      <a:pt x="322" y="171"/>
                      <a:pt x="322" y="171"/>
                    </a:cubicBezTo>
                    <a:cubicBezTo>
                      <a:pt x="322" y="172"/>
                      <a:pt x="322" y="172"/>
                      <a:pt x="322" y="172"/>
                    </a:cubicBezTo>
                    <a:cubicBezTo>
                      <a:pt x="322" y="172"/>
                      <a:pt x="322" y="172"/>
                      <a:pt x="322" y="172"/>
                    </a:cubicBezTo>
                    <a:cubicBezTo>
                      <a:pt x="322" y="171"/>
                      <a:pt x="322" y="171"/>
                      <a:pt x="322" y="171"/>
                    </a:cubicBezTo>
                    <a:lnTo>
                      <a:pt x="321" y="170"/>
                    </a:lnTo>
                    <a:close/>
                    <a:moveTo>
                      <a:pt x="322" y="246"/>
                    </a:moveTo>
                    <a:cubicBezTo>
                      <a:pt x="320" y="246"/>
                      <a:pt x="320" y="246"/>
                      <a:pt x="320" y="246"/>
                    </a:cubicBezTo>
                    <a:cubicBezTo>
                      <a:pt x="319" y="245"/>
                      <a:pt x="319" y="245"/>
                      <a:pt x="319" y="245"/>
                    </a:cubicBezTo>
                    <a:cubicBezTo>
                      <a:pt x="319" y="245"/>
                      <a:pt x="319" y="245"/>
                      <a:pt x="319" y="245"/>
                    </a:cubicBezTo>
                    <a:cubicBezTo>
                      <a:pt x="320" y="246"/>
                      <a:pt x="320" y="246"/>
                      <a:pt x="320" y="246"/>
                    </a:cubicBezTo>
                    <a:lnTo>
                      <a:pt x="322" y="246"/>
                    </a:lnTo>
                    <a:close/>
                    <a:moveTo>
                      <a:pt x="315" y="153"/>
                    </a:moveTo>
                    <a:cubicBezTo>
                      <a:pt x="317" y="150"/>
                      <a:pt x="317" y="150"/>
                      <a:pt x="317" y="150"/>
                    </a:cubicBezTo>
                    <a:cubicBezTo>
                      <a:pt x="319" y="149"/>
                      <a:pt x="319" y="149"/>
                      <a:pt x="319" y="149"/>
                    </a:cubicBezTo>
                    <a:cubicBezTo>
                      <a:pt x="317" y="150"/>
                      <a:pt x="317" y="150"/>
                      <a:pt x="317" y="150"/>
                    </a:cubicBezTo>
                    <a:cubicBezTo>
                      <a:pt x="315" y="153"/>
                      <a:pt x="315" y="153"/>
                      <a:pt x="315" y="153"/>
                    </a:cubicBezTo>
                    <a:close/>
                    <a:moveTo>
                      <a:pt x="318" y="159"/>
                    </a:moveTo>
                    <a:cubicBezTo>
                      <a:pt x="318" y="159"/>
                      <a:pt x="317" y="159"/>
                      <a:pt x="317" y="158"/>
                    </a:cubicBezTo>
                    <a:cubicBezTo>
                      <a:pt x="317" y="159"/>
                      <a:pt x="318" y="159"/>
                      <a:pt x="318" y="159"/>
                    </a:cubicBezTo>
                    <a:cubicBezTo>
                      <a:pt x="319" y="160"/>
                      <a:pt x="319" y="160"/>
                      <a:pt x="319" y="160"/>
                    </a:cubicBezTo>
                    <a:lnTo>
                      <a:pt x="318" y="159"/>
                    </a:lnTo>
                    <a:close/>
                    <a:moveTo>
                      <a:pt x="317" y="245"/>
                    </a:moveTo>
                    <a:cubicBezTo>
                      <a:pt x="317" y="245"/>
                      <a:pt x="317" y="245"/>
                      <a:pt x="317" y="245"/>
                    </a:cubicBezTo>
                    <a:cubicBezTo>
                      <a:pt x="317" y="245"/>
                      <a:pt x="317" y="245"/>
                      <a:pt x="317" y="246"/>
                    </a:cubicBezTo>
                    <a:cubicBezTo>
                      <a:pt x="317" y="245"/>
                      <a:pt x="317" y="245"/>
                      <a:pt x="317" y="245"/>
                    </a:cubicBezTo>
                    <a:cubicBezTo>
                      <a:pt x="317" y="245"/>
                      <a:pt x="317" y="245"/>
                      <a:pt x="317" y="245"/>
                    </a:cubicBezTo>
                    <a:close/>
                    <a:moveTo>
                      <a:pt x="314" y="157"/>
                    </a:moveTo>
                    <a:cubicBezTo>
                      <a:pt x="314" y="157"/>
                      <a:pt x="314" y="157"/>
                      <a:pt x="314" y="157"/>
                    </a:cubicBezTo>
                    <a:cubicBezTo>
                      <a:pt x="314" y="157"/>
                      <a:pt x="314" y="157"/>
                      <a:pt x="314" y="157"/>
                    </a:cubicBezTo>
                    <a:cubicBezTo>
                      <a:pt x="314" y="157"/>
                      <a:pt x="314" y="157"/>
                      <a:pt x="314" y="157"/>
                    </a:cubicBezTo>
                    <a:close/>
                    <a:moveTo>
                      <a:pt x="314" y="245"/>
                    </a:moveTo>
                    <a:cubicBezTo>
                      <a:pt x="314" y="245"/>
                      <a:pt x="314" y="245"/>
                      <a:pt x="314" y="245"/>
                    </a:cubicBezTo>
                    <a:cubicBezTo>
                      <a:pt x="315" y="248"/>
                      <a:pt x="315" y="248"/>
                      <a:pt x="315" y="248"/>
                    </a:cubicBezTo>
                    <a:cubicBezTo>
                      <a:pt x="315" y="248"/>
                      <a:pt x="315" y="248"/>
                      <a:pt x="315" y="248"/>
                    </a:cubicBezTo>
                    <a:cubicBezTo>
                      <a:pt x="315" y="248"/>
                      <a:pt x="315" y="248"/>
                      <a:pt x="315" y="248"/>
                    </a:cubicBezTo>
                    <a:cubicBezTo>
                      <a:pt x="315" y="248"/>
                      <a:pt x="315" y="248"/>
                      <a:pt x="315" y="248"/>
                    </a:cubicBezTo>
                    <a:cubicBezTo>
                      <a:pt x="315" y="248"/>
                      <a:pt x="315" y="248"/>
                      <a:pt x="315" y="248"/>
                    </a:cubicBezTo>
                    <a:cubicBezTo>
                      <a:pt x="315" y="249"/>
                      <a:pt x="315" y="249"/>
                      <a:pt x="315" y="249"/>
                    </a:cubicBezTo>
                    <a:cubicBezTo>
                      <a:pt x="315" y="248"/>
                      <a:pt x="315" y="248"/>
                      <a:pt x="315" y="248"/>
                    </a:cubicBezTo>
                    <a:cubicBezTo>
                      <a:pt x="315" y="248"/>
                      <a:pt x="315" y="248"/>
                      <a:pt x="315" y="248"/>
                    </a:cubicBezTo>
                    <a:cubicBezTo>
                      <a:pt x="314" y="245"/>
                      <a:pt x="314" y="245"/>
                      <a:pt x="314" y="245"/>
                    </a:cubicBezTo>
                    <a:cubicBezTo>
                      <a:pt x="314" y="245"/>
                      <a:pt x="314" y="245"/>
                      <a:pt x="314" y="245"/>
                    </a:cubicBezTo>
                    <a:cubicBezTo>
                      <a:pt x="313" y="246"/>
                      <a:pt x="313" y="246"/>
                      <a:pt x="313" y="246"/>
                    </a:cubicBezTo>
                    <a:lnTo>
                      <a:pt x="314" y="245"/>
                    </a:lnTo>
                    <a:close/>
                    <a:moveTo>
                      <a:pt x="315" y="257"/>
                    </a:moveTo>
                    <a:cubicBezTo>
                      <a:pt x="315" y="256"/>
                      <a:pt x="314" y="255"/>
                      <a:pt x="314" y="255"/>
                    </a:cubicBezTo>
                    <a:cubicBezTo>
                      <a:pt x="313" y="254"/>
                      <a:pt x="313" y="254"/>
                      <a:pt x="313" y="254"/>
                    </a:cubicBezTo>
                    <a:cubicBezTo>
                      <a:pt x="314" y="255"/>
                      <a:pt x="314" y="255"/>
                      <a:pt x="314" y="255"/>
                    </a:cubicBezTo>
                    <a:cubicBezTo>
                      <a:pt x="314" y="255"/>
                      <a:pt x="315" y="256"/>
                      <a:pt x="315" y="257"/>
                    </a:cubicBezTo>
                    <a:close/>
                    <a:moveTo>
                      <a:pt x="315" y="249"/>
                    </a:moveTo>
                    <a:cubicBezTo>
                      <a:pt x="315" y="249"/>
                      <a:pt x="315" y="249"/>
                      <a:pt x="315" y="249"/>
                    </a:cubicBezTo>
                    <a:cubicBezTo>
                      <a:pt x="315" y="249"/>
                      <a:pt x="315" y="249"/>
                      <a:pt x="315" y="249"/>
                    </a:cubicBezTo>
                    <a:close/>
                    <a:moveTo>
                      <a:pt x="312" y="154"/>
                    </a:moveTo>
                    <a:cubicBezTo>
                      <a:pt x="312" y="154"/>
                      <a:pt x="312" y="154"/>
                      <a:pt x="312" y="154"/>
                    </a:cubicBezTo>
                    <a:cubicBezTo>
                      <a:pt x="311" y="154"/>
                      <a:pt x="311" y="154"/>
                      <a:pt x="311" y="154"/>
                    </a:cubicBezTo>
                    <a:lnTo>
                      <a:pt x="312" y="154"/>
                    </a:lnTo>
                    <a:close/>
                    <a:moveTo>
                      <a:pt x="310" y="154"/>
                    </a:moveTo>
                    <a:cubicBezTo>
                      <a:pt x="312" y="154"/>
                      <a:pt x="312" y="154"/>
                      <a:pt x="312" y="154"/>
                    </a:cubicBezTo>
                    <a:cubicBezTo>
                      <a:pt x="312" y="154"/>
                      <a:pt x="312" y="154"/>
                      <a:pt x="312" y="154"/>
                    </a:cubicBezTo>
                    <a:cubicBezTo>
                      <a:pt x="310" y="154"/>
                      <a:pt x="310" y="154"/>
                      <a:pt x="310" y="154"/>
                    </a:cubicBezTo>
                    <a:close/>
                    <a:moveTo>
                      <a:pt x="310" y="154"/>
                    </a:moveTo>
                    <a:cubicBezTo>
                      <a:pt x="310" y="154"/>
                      <a:pt x="310" y="154"/>
                      <a:pt x="310" y="154"/>
                    </a:cubicBezTo>
                    <a:cubicBezTo>
                      <a:pt x="310" y="154"/>
                      <a:pt x="310" y="154"/>
                      <a:pt x="310" y="154"/>
                    </a:cubicBezTo>
                    <a:cubicBezTo>
                      <a:pt x="310" y="154"/>
                      <a:pt x="310" y="154"/>
                      <a:pt x="310" y="154"/>
                    </a:cubicBezTo>
                    <a:cubicBezTo>
                      <a:pt x="309" y="155"/>
                      <a:pt x="309" y="155"/>
                      <a:pt x="309" y="155"/>
                    </a:cubicBezTo>
                    <a:lnTo>
                      <a:pt x="310" y="154"/>
                    </a:lnTo>
                    <a:close/>
                    <a:moveTo>
                      <a:pt x="311" y="246"/>
                    </a:moveTo>
                    <a:cubicBezTo>
                      <a:pt x="313" y="246"/>
                      <a:pt x="313" y="246"/>
                      <a:pt x="313" y="246"/>
                    </a:cubicBezTo>
                    <a:cubicBezTo>
                      <a:pt x="313" y="246"/>
                      <a:pt x="313" y="246"/>
                      <a:pt x="313" y="246"/>
                    </a:cubicBezTo>
                    <a:cubicBezTo>
                      <a:pt x="313" y="246"/>
                      <a:pt x="313" y="246"/>
                      <a:pt x="313" y="246"/>
                    </a:cubicBezTo>
                    <a:cubicBezTo>
                      <a:pt x="313" y="246"/>
                      <a:pt x="313" y="246"/>
                      <a:pt x="313" y="246"/>
                    </a:cubicBezTo>
                    <a:cubicBezTo>
                      <a:pt x="311" y="246"/>
                      <a:pt x="311" y="246"/>
                      <a:pt x="311" y="246"/>
                    </a:cubicBezTo>
                    <a:cubicBezTo>
                      <a:pt x="309" y="246"/>
                      <a:pt x="309" y="246"/>
                      <a:pt x="309" y="246"/>
                    </a:cubicBezTo>
                    <a:cubicBezTo>
                      <a:pt x="309" y="246"/>
                      <a:pt x="309" y="246"/>
                      <a:pt x="309" y="246"/>
                    </a:cubicBezTo>
                    <a:lnTo>
                      <a:pt x="311" y="246"/>
                    </a:lnTo>
                    <a:close/>
                    <a:moveTo>
                      <a:pt x="308" y="155"/>
                    </a:moveTo>
                    <a:cubicBezTo>
                      <a:pt x="308" y="155"/>
                      <a:pt x="308" y="155"/>
                      <a:pt x="308" y="155"/>
                    </a:cubicBezTo>
                    <a:cubicBezTo>
                      <a:pt x="308" y="155"/>
                      <a:pt x="308" y="156"/>
                      <a:pt x="307" y="157"/>
                    </a:cubicBezTo>
                    <a:cubicBezTo>
                      <a:pt x="308" y="156"/>
                      <a:pt x="308" y="155"/>
                      <a:pt x="308" y="155"/>
                    </a:cubicBezTo>
                    <a:close/>
                    <a:moveTo>
                      <a:pt x="303" y="151"/>
                    </a:moveTo>
                    <a:cubicBezTo>
                      <a:pt x="305" y="152"/>
                      <a:pt x="305" y="152"/>
                      <a:pt x="305" y="152"/>
                    </a:cubicBezTo>
                    <a:cubicBezTo>
                      <a:pt x="305" y="152"/>
                      <a:pt x="305" y="152"/>
                      <a:pt x="306" y="152"/>
                    </a:cubicBezTo>
                    <a:cubicBezTo>
                      <a:pt x="305" y="152"/>
                      <a:pt x="305" y="152"/>
                      <a:pt x="305" y="152"/>
                    </a:cubicBezTo>
                    <a:cubicBezTo>
                      <a:pt x="303" y="151"/>
                      <a:pt x="303" y="151"/>
                      <a:pt x="303" y="151"/>
                    </a:cubicBezTo>
                    <a:cubicBezTo>
                      <a:pt x="303" y="151"/>
                      <a:pt x="302" y="151"/>
                      <a:pt x="302" y="151"/>
                    </a:cubicBezTo>
                    <a:cubicBezTo>
                      <a:pt x="302" y="151"/>
                      <a:pt x="303" y="151"/>
                      <a:pt x="303" y="151"/>
                    </a:cubicBezTo>
                    <a:close/>
                    <a:moveTo>
                      <a:pt x="306" y="158"/>
                    </a:moveTo>
                    <a:cubicBezTo>
                      <a:pt x="306" y="158"/>
                      <a:pt x="306" y="158"/>
                      <a:pt x="305" y="158"/>
                    </a:cubicBezTo>
                    <a:cubicBezTo>
                      <a:pt x="306" y="158"/>
                      <a:pt x="306" y="158"/>
                      <a:pt x="306" y="158"/>
                    </a:cubicBezTo>
                    <a:close/>
                    <a:moveTo>
                      <a:pt x="304" y="160"/>
                    </a:moveTo>
                    <a:cubicBezTo>
                      <a:pt x="304" y="163"/>
                      <a:pt x="304" y="163"/>
                      <a:pt x="304" y="163"/>
                    </a:cubicBezTo>
                    <a:cubicBezTo>
                      <a:pt x="304" y="163"/>
                      <a:pt x="304" y="163"/>
                      <a:pt x="304" y="163"/>
                    </a:cubicBezTo>
                    <a:cubicBezTo>
                      <a:pt x="304" y="160"/>
                      <a:pt x="304" y="160"/>
                      <a:pt x="304" y="160"/>
                    </a:cubicBezTo>
                    <a:cubicBezTo>
                      <a:pt x="304" y="160"/>
                      <a:pt x="304" y="160"/>
                      <a:pt x="304" y="159"/>
                    </a:cubicBezTo>
                    <a:cubicBezTo>
                      <a:pt x="304" y="160"/>
                      <a:pt x="304" y="160"/>
                      <a:pt x="304" y="160"/>
                    </a:cubicBezTo>
                    <a:close/>
                    <a:moveTo>
                      <a:pt x="305" y="246"/>
                    </a:moveTo>
                    <a:cubicBezTo>
                      <a:pt x="305" y="244"/>
                      <a:pt x="305" y="244"/>
                      <a:pt x="305" y="244"/>
                    </a:cubicBezTo>
                    <a:cubicBezTo>
                      <a:pt x="305" y="244"/>
                      <a:pt x="305" y="244"/>
                      <a:pt x="305" y="244"/>
                    </a:cubicBezTo>
                    <a:cubicBezTo>
                      <a:pt x="305" y="246"/>
                      <a:pt x="305" y="246"/>
                      <a:pt x="305" y="246"/>
                    </a:cubicBezTo>
                    <a:cubicBezTo>
                      <a:pt x="302" y="244"/>
                      <a:pt x="302" y="244"/>
                      <a:pt x="302" y="244"/>
                    </a:cubicBezTo>
                    <a:cubicBezTo>
                      <a:pt x="302" y="244"/>
                      <a:pt x="302" y="244"/>
                      <a:pt x="302" y="244"/>
                    </a:cubicBezTo>
                    <a:lnTo>
                      <a:pt x="305" y="246"/>
                    </a:lnTo>
                    <a:close/>
                    <a:moveTo>
                      <a:pt x="302" y="163"/>
                    </a:moveTo>
                    <a:cubicBezTo>
                      <a:pt x="302" y="164"/>
                      <a:pt x="302" y="164"/>
                      <a:pt x="302" y="164"/>
                    </a:cubicBezTo>
                    <a:cubicBezTo>
                      <a:pt x="302" y="163"/>
                      <a:pt x="302" y="163"/>
                      <a:pt x="302" y="163"/>
                    </a:cubicBezTo>
                    <a:close/>
                    <a:moveTo>
                      <a:pt x="302" y="243"/>
                    </a:moveTo>
                    <a:cubicBezTo>
                      <a:pt x="302" y="242"/>
                      <a:pt x="302" y="242"/>
                      <a:pt x="302" y="242"/>
                    </a:cubicBezTo>
                    <a:cubicBezTo>
                      <a:pt x="301" y="242"/>
                      <a:pt x="301" y="242"/>
                      <a:pt x="301" y="242"/>
                    </a:cubicBezTo>
                    <a:cubicBezTo>
                      <a:pt x="302" y="242"/>
                      <a:pt x="302" y="242"/>
                      <a:pt x="302" y="242"/>
                    </a:cubicBezTo>
                    <a:lnTo>
                      <a:pt x="302" y="243"/>
                    </a:lnTo>
                    <a:close/>
                    <a:moveTo>
                      <a:pt x="302" y="149"/>
                    </a:moveTo>
                    <a:cubicBezTo>
                      <a:pt x="302" y="149"/>
                      <a:pt x="302" y="149"/>
                      <a:pt x="302" y="149"/>
                    </a:cubicBezTo>
                    <a:cubicBezTo>
                      <a:pt x="302" y="149"/>
                      <a:pt x="302" y="149"/>
                      <a:pt x="301" y="149"/>
                    </a:cubicBezTo>
                    <a:cubicBezTo>
                      <a:pt x="302" y="149"/>
                      <a:pt x="302" y="149"/>
                      <a:pt x="302" y="149"/>
                    </a:cubicBezTo>
                    <a:close/>
                    <a:moveTo>
                      <a:pt x="301" y="250"/>
                    </a:moveTo>
                    <a:cubicBezTo>
                      <a:pt x="301" y="249"/>
                      <a:pt x="302" y="249"/>
                      <a:pt x="302" y="249"/>
                    </a:cubicBezTo>
                    <a:cubicBezTo>
                      <a:pt x="301" y="250"/>
                      <a:pt x="301" y="250"/>
                      <a:pt x="301" y="250"/>
                    </a:cubicBezTo>
                    <a:cubicBezTo>
                      <a:pt x="301" y="250"/>
                      <a:pt x="301" y="250"/>
                      <a:pt x="301" y="250"/>
                    </a:cubicBezTo>
                    <a:cubicBezTo>
                      <a:pt x="301" y="250"/>
                      <a:pt x="301" y="250"/>
                      <a:pt x="301" y="250"/>
                    </a:cubicBezTo>
                    <a:cubicBezTo>
                      <a:pt x="301" y="250"/>
                      <a:pt x="301" y="250"/>
                      <a:pt x="301" y="250"/>
                    </a:cubicBezTo>
                    <a:close/>
                    <a:moveTo>
                      <a:pt x="301" y="250"/>
                    </a:moveTo>
                    <a:cubicBezTo>
                      <a:pt x="301" y="250"/>
                      <a:pt x="302" y="250"/>
                      <a:pt x="302" y="250"/>
                    </a:cubicBezTo>
                    <a:cubicBezTo>
                      <a:pt x="302" y="250"/>
                      <a:pt x="301" y="250"/>
                      <a:pt x="301" y="250"/>
                    </a:cubicBezTo>
                    <a:close/>
                    <a:moveTo>
                      <a:pt x="308" y="251"/>
                    </a:moveTo>
                    <a:cubicBezTo>
                      <a:pt x="305" y="251"/>
                      <a:pt x="305" y="251"/>
                      <a:pt x="305" y="251"/>
                    </a:cubicBezTo>
                    <a:cubicBezTo>
                      <a:pt x="305" y="251"/>
                      <a:pt x="304" y="251"/>
                      <a:pt x="302" y="250"/>
                    </a:cubicBezTo>
                    <a:cubicBezTo>
                      <a:pt x="304" y="251"/>
                      <a:pt x="305" y="251"/>
                      <a:pt x="305" y="251"/>
                    </a:cubicBezTo>
                    <a:cubicBezTo>
                      <a:pt x="308" y="251"/>
                      <a:pt x="308" y="251"/>
                      <a:pt x="308" y="251"/>
                    </a:cubicBezTo>
                    <a:close/>
                    <a:moveTo>
                      <a:pt x="307" y="246"/>
                    </a:moveTo>
                    <a:cubicBezTo>
                      <a:pt x="307" y="246"/>
                      <a:pt x="307" y="246"/>
                      <a:pt x="307" y="246"/>
                    </a:cubicBezTo>
                    <a:cubicBezTo>
                      <a:pt x="307" y="246"/>
                      <a:pt x="307" y="246"/>
                      <a:pt x="307" y="246"/>
                    </a:cubicBezTo>
                    <a:cubicBezTo>
                      <a:pt x="308" y="245"/>
                      <a:pt x="308" y="245"/>
                      <a:pt x="308" y="245"/>
                    </a:cubicBezTo>
                    <a:cubicBezTo>
                      <a:pt x="308" y="246"/>
                      <a:pt x="308" y="246"/>
                      <a:pt x="308" y="246"/>
                    </a:cubicBezTo>
                    <a:cubicBezTo>
                      <a:pt x="308" y="245"/>
                      <a:pt x="308" y="245"/>
                      <a:pt x="308" y="245"/>
                    </a:cubicBezTo>
                    <a:lnTo>
                      <a:pt x="307" y="246"/>
                    </a:lnTo>
                    <a:close/>
                    <a:moveTo>
                      <a:pt x="312" y="252"/>
                    </a:moveTo>
                    <a:cubicBezTo>
                      <a:pt x="311" y="252"/>
                      <a:pt x="311" y="252"/>
                      <a:pt x="311" y="252"/>
                    </a:cubicBezTo>
                    <a:cubicBezTo>
                      <a:pt x="311" y="252"/>
                      <a:pt x="309" y="252"/>
                      <a:pt x="308" y="252"/>
                    </a:cubicBezTo>
                    <a:cubicBezTo>
                      <a:pt x="308" y="253"/>
                      <a:pt x="308" y="252"/>
                      <a:pt x="308" y="252"/>
                    </a:cubicBezTo>
                    <a:cubicBezTo>
                      <a:pt x="308" y="252"/>
                      <a:pt x="308" y="252"/>
                      <a:pt x="308" y="252"/>
                    </a:cubicBezTo>
                    <a:cubicBezTo>
                      <a:pt x="309" y="252"/>
                      <a:pt x="311" y="252"/>
                      <a:pt x="311" y="252"/>
                    </a:cubicBezTo>
                    <a:cubicBezTo>
                      <a:pt x="312" y="252"/>
                      <a:pt x="312" y="252"/>
                      <a:pt x="312" y="252"/>
                    </a:cubicBezTo>
                    <a:cubicBezTo>
                      <a:pt x="313" y="252"/>
                      <a:pt x="313" y="252"/>
                      <a:pt x="313" y="252"/>
                    </a:cubicBezTo>
                    <a:cubicBezTo>
                      <a:pt x="312" y="250"/>
                      <a:pt x="312" y="250"/>
                      <a:pt x="312" y="250"/>
                    </a:cubicBezTo>
                    <a:cubicBezTo>
                      <a:pt x="312" y="248"/>
                      <a:pt x="312" y="248"/>
                      <a:pt x="312" y="248"/>
                    </a:cubicBezTo>
                    <a:cubicBezTo>
                      <a:pt x="312" y="247"/>
                      <a:pt x="312" y="247"/>
                      <a:pt x="312" y="247"/>
                    </a:cubicBezTo>
                    <a:cubicBezTo>
                      <a:pt x="312" y="247"/>
                      <a:pt x="312" y="247"/>
                      <a:pt x="312" y="247"/>
                    </a:cubicBezTo>
                    <a:cubicBezTo>
                      <a:pt x="312" y="247"/>
                      <a:pt x="312" y="247"/>
                      <a:pt x="312" y="247"/>
                    </a:cubicBezTo>
                    <a:cubicBezTo>
                      <a:pt x="312" y="248"/>
                      <a:pt x="312" y="248"/>
                      <a:pt x="312" y="248"/>
                    </a:cubicBezTo>
                    <a:cubicBezTo>
                      <a:pt x="312" y="250"/>
                      <a:pt x="312" y="250"/>
                      <a:pt x="312" y="250"/>
                    </a:cubicBezTo>
                    <a:cubicBezTo>
                      <a:pt x="313" y="253"/>
                      <a:pt x="313" y="253"/>
                      <a:pt x="313" y="253"/>
                    </a:cubicBezTo>
                    <a:cubicBezTo>
                      <a:pt x="314" y="252"/>
                      <a:pt x="314" y="252"/>
                      <a:pt x="314" y="252"/>
                    </a:cubicBezTo>
                    <a:cubicBezTo>
                      <a:pt x="315" y="253"/>
                      <a:pt x="315" y="253"/>
                      <a:pt x="315" y="253"/>
                    </a:cubicBezTo>
                    <a:cubicBezTo>
                      <a:pt x="314" y="252"/>
                      <a:pt x="314" y="252"/>
                      <a:pt x="314" y="252"/>
                    </a:cubicBezTo>
                    <a:cubicBezTo>
                      <a:pt x="313" y="253"/>
                      <a:pt x="313" y="253"/>
                      <a:pt x="313" y="253"/>
                    </a:cubicBezTo>
                    <a:cubicBezTo>
                      <a:pt x="313" y="253"/>
                      <a:pt x="313" y="253"/>
                      <a:pt x="313" y="253"/>
                    </a:cubicBezTo>
                    <a:lnTo>
                      <a:pt x="312" y="252"/>
                    </a:lnTo>
                    <a:close/>
                    <a:moveTo>
                      <a:pt x="314" y="262"/>
                    </a:move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3"/>
                      <a:pt x="315" y="263"/>
                      <a:pt x="315" y="263"/>
                    </a:cubicBezTo>
                    <a:lnTo>
                      <a:pt x="314" y="262"/>
                    </a:lnTo>
                    <a:close/>
                    <a:moveTo>
                      <a:pt x="314" y="258"/>
                    </a:moveTo>
                    <a:cubicBezTo>
                      <a:pt x="313" y="258"/>
                      <a:pt x="313" y="258"/>
                      <a:pt x="313" y="258"/>
                    </a:cubicBezTo>
                    <a:cubicBezTo>
                      <a:pt x="313" y="261"/>
                      <a:pt x="313" y="261"/>
                      <a:pt x="313" y="261"/>
                    </a:cubicBezTo>
                    <a:cubicBezTo>
                      <a:pt x="314" y="261"/>
                      <a:pt x="314" y="261"/>
                      <a:pt x="314" y="261"/>
                    </a:cubicBezTo>
                    <a:cubicBezTo>
                      <a:pt x="313" y="261"/>
                      <a:pt x="313" y="261"/>
                      <a:pt x="313" y="261"/>
                    </a:cubicBezTo>
                    <a:cubicBezTo>
                      <a:pt x="313" y="258"/>
                      <a:pt x="313" y="258"/>
                      <a:pt x="313" y="258"/>
                    </a:cubicBezTo>
                    <a:cubicBezTo>
                      <a:pt x="314" y="258"/>
                      <a:pt x="314" y="258"/>
                      <a:pt x="314" y="258"/>
                    </a:cubicBezTo>
                    <a:cubicBezTo>
                      <a:pt x="315" y="257"/>
                      <a:pt x="315" y="257"/>
                      <a:pt x="315" y="257"/>
                    </a:cubicBezTo>
                    <a:cubicBezTo>
                      <a:pt x="315" y="257"/>
                      <a:pt x="315" y="257"/>
                      <a:pt x="314" y="258"/>
                    </a:cubicBezTo>
                    <a:close/>
                    <a:moveTo>
                      <a:pt x="314" y="157"/>
                    </a:moveTo>
                    <a:cubicBezTo>
                      <a:pt x="314" y="157"/>
                      <a:pt x="314" y="157"/>
                      <a:pt x="313" y="157"/>
                    </a:cubicBezTo>
                    <a:cubicBezTo>
                      <a:pt x="314" y="157"/>
                      <a:pt x="314" y="157"/>
                      <a:pt x="314" y="157"/>
                    </a:cubicBezTo>
                    <a:cubicBezTo>
                      <a:pt x="314" y="158"/>
                      <a:pt x="316" y="158"/>
                      <a:pt x="317" y="158"/>
                    </a:cubicBezTo>
                    <a:cubicBezTo>
                      <a:pt x="317" y="158"/>
                      <a:pt x="317" y="158"/>
                      <a:pt x="317" y="158"/>
                    </a:cubicBezTo>
                    <a:cubicBezTo>
                      <a:pt x="316" y="158"/>
                      <a:pt x="314" y="158"/>
                      <a:pt x="314" y="157"/>
                    </a:cubicBezTo>
                    <a:close/>
                    <a:moveTo>
                      <a:pt x="316" y="246"/>
                    </a:moveTo>
                    <a:cubicBezTo>
                      <a:pt x="316" y="247"/>
                      <a:pt x="316" y="247"/>
                      <a:pt x="316" y="247"/>
                    </a:cubicBezTo>
                    <a:cubicBezTo>
                      <a:pt x="316" y="247"/>
                      <a:pt x="316" y="247"/>
                      <a:pt x="316" y="247"/>
                    </a:cubicBezTo>
                    <a:cubicBezTo>
                      <a:pt x="316" y="247"/>
                      <a:pt x="316" y="247"/>
                      <a:pt x="316" y="247"/>
                    </a:cubicBezTo>
                    <a:lnTo>
                      <a:pt x="316" y="246"/>
                    </a:lnTo>
                    <a:close/>
                    <a:moveTo>
                      <a:pt x="318" y="251"/>
                    </a:moveTo>
                    <a:cubicBezTo>
                      <a:pt x="318" y="250"/>
                      <a:pt x="318" y="250"/>
                      <a:pt x="318" y="250"/>
                    </a:cubicBezTo>
                    <a:cubicBezTo>
                      <a:pt x="318" y="250"/>
                      <a:pt x="317" y="250"/>
                      <a:pt x="316" y="250"/>
                    </a:cubicBezTo>
                    <a:cubicBezTo>
                      <a:pt x="316" y="250"/>
                      <a:pt x="316" y="250"/>
                      <a:pt x="316" y="250"/>
                    </a:cubicBezTo>
                    <a:cubicBezTo>
                      <a:pt x="316" y="250"/>
                      <a:pt x="316" y="250"/>
                      <a:pt x="316" y="250"/>
                    </a:cubicBezTo>
                    <a:cubicBezTo>
                      <a:pt x="317" y="250"/>
                      <a:pt x="318" y="250"/>
                      <a:pt x="318" y="250"/>
                    </a:cubicBezTo>
                    <a:cubicBezTo>
                      <a:pt x="318" y="251"/>
                      <a:pt x="318" y="251"/>
                      <a:pt x="318" y="251"/>
                    </a:cubicBezTo>
                    <a:close/>
                    <a:moveTo>
                      <a:pt x="319" y="245"/>
                    </a:moveTo>
                    <a:cubicBezTo>
                      <a:pt x="318" y="245"/>
                      <a:pt x="318" y="245"/>
                      <a:pt x="318" y="245"/>
                    </a:cubicBezTo>
                    <a:cubicBezTo>
                      <a:pt x="318" y="245"/>
                      <a:pt x="318" y="244"/>
                      <a:pt x="318" y="244"/>
                    </a:cubicBezTo>
                    <a:cubicBezTo>
                      <a:pt x="318" y="244"/>
                      <a:pt x="318" y="245"/>
                      <a:pt x="318" y="245"/>
                    </a:cubicBezTo>
                    <a:cubicBezTo>
                      <a:pt x="319" y="245"/>
                      <a:pt x="319" y="245"/>
                      <a:pt x="319" y="245"/>
                    </a:cubicBezTo>
                    <a:cubicBezTo>
                      <a:pt x="319" y="245"/>
                      <a:pt x="319" y="245"/>
                      <a:pt x="319" y="245"/>
                    </a:cubicBezTo>
                    <a:close/>
                    <a:moveTo>
                      <a:pt x="320" y="251"/>
                    </a:moveTo>
                    <a:cubicBezTo>
                      <a:pt x="319" y="250"/>
                      <a:pt x="319" y="250"/>
                      <a:pt x="319" y="250"/>
                    </a:cubicBezTo>
                    <a:cubicBezTo>
                      <a:pt x="319" y="250"/>
                      <a:pt x="319" y="250"/>
                      <a:pt x="319" y="250"/>
                    </a:cubicBezTo>
                    <a:cubicBezTo>
                      <a:pt x="320" y="251"/>
                      <a:pt x="320" y="251"/>
                      <a:pt x="320" y="251"/>
                    </a:cubicBezTo>
                    <a:cubicBezTo>
                      <a:pt x="322" y="251"/>
                      <a:pt x="322" y="251"/>
                      <a:pt x="322" y="251"/>
                    </a:cubicBezTo>
                    <a:cubicBezTo>
                      <a:pt x="323" y="250"/>
                      <a:pt x="323" y="250"/>
                      <a:pt x="323" y="250"/>
                    </a:cubicBezTo>
                    <a:cubicBezTo>
                      <a:pt x="322" y="251"/>
                      <a:pt x="322" y="251"/>
                      <a:pt x="322" y="251"/>
                    </a:cubicBezTo>
                    <a:lnTo>
                      <a:pt x="320" y="251"/>
                    </a:lnTo>
                    <a:close/>
                    <a:moveTo>
                      <a:pt x="323" y="265"/>
                    </a:moveTo>
                    <a:cubicBezTo>
                      <a:pt x="322" y="262"/>
                      <a:pt x="322" y="262"/>
                      <a:pt x="322" y="262"/>
                    </a:cubicBezTo>
                    <a:cubicBezTo>
                      <a:pt x="322" y="262"/>
                      <a:pt x="322" y="262"/>
                      <a:pt x="322" y="262"/>
                    </a:cubicBezTo>
                    <a:cubicBezTo>
                      <a:pt x="323" y="265"/>
                      <a:pt x="323" y="265"/>
                      <a:pt x="323" y="265"/>
                    </a:cubicBezTo>
                    <a:cubicBezTo>
                      <a:pt x="323" y="265"/>
                      <a:pt x="323" y="265"/>
                      <a:pt x="323" y="265"/>
                    </a:cubicBezTo>
                    <a:close/>
                    <a:moveTo>
                      <a:pt x="321" y="257"/>
                    </a:moveTo>
                    <a:cubicBezTo>
                      <a:pt x="325" y="258"/>
                      <a:pt x="325" y="258"/>
                      <a:pt x="325" y="258"/>
                    </a:cubicBezTo>
                    <a:cubicBezTo>
                      <a:pt x="325" y="258"/>
                      <a:pt x="325" y="258"/>
                      <a:pt x="325" y="258"/>
                    </a:cubicBezTo>
                    <a:lnTo>
                      <a:pt x="321" y="257"/>
                    </a:lnTo>
                    <a:close/>
                    <a:moveTo>
                      <a:pt x="325" y="262"/>
                    </a:moveTo>
                    <a:cubicBezTo>
                      <a:pt x="325" y="264"/>
                      <a:pt x="325" y="264"/>
                      <a:pt x="325" y="264"/>
                    </a:cubicBezTo>
                    <a:cubicBezTo>
                      <a:pt x="325" y="262"/>
                      <a:pt x="325" y="262"/>
                      <a:pt x="325" y="262"/>
                    </a:cubicBezTo>
                    <a:cubicBezTo>
                      <a:pt x="326" y="268"/>
                      <a:pt x="326" y="268"/>
                      <a:pt x="326" y="268"/>
                    </a:cubicBezTo>
                    <a:lnTo>
                      <a:pt x="325" y="262"/>
                    </a:lnTo>
                    <a:close/>
                    <a:moveTo>
                      <a:pt x="328" y="245"/>
                    </a:moveTo>
                    <a:cubicBezTo>
                      <a:pt x="327" y="245"/>
                      <a:pt x="327" y="246"/>
                      <a:pt x="327" y="246"/>
                    </a:cubicBezTo>
                    <a:cubicBezTo>
                      <a:pt x="327" y="246"/>
                      <a:pt x="327" y="246"/>
                      <a:pt x="327" y="246"/>
                    </a:cubicBezTo>
                    <a:cubicBezTo>
                      <a:pt x="326" y="246"/>
                      <a:pt x="326" y="246"/>
                      <a:pt x="326" y="246"/>
                    </a:cubicBezTo>
                    <a:cubicBezTo>
                      <a:pt x="327" y="246"/>
                      <a:pt x="327" y="246"/>
                      <a:pt x="327" y="246"/>
                    </a:cubicBezTo>
                    <a:cubicBezTo>
                      <a:pt x="327" y="246"/>
                      <a:pt x="327" y="246"/>
                      <a:pt x="327" y="246"/>
                    </a:cubicBezTo>
                    <a:cubicBezTo>
                      <a:pt x="327" y="246"/>
                      <a:pt x="327" y="245"/>
                      <a:pt x="328" y="245"/>
                    </a:cubicBezTo>
                    <a:cubicBezTo>
                      <a:pt x="328" y="245"/>
                      <a:pt x="328" y="244"/>
                      <a:pt x="328" y="244"/>
                    </a:cubicBezTo>
                    <a:cubicBezTo>
                      <a:pt x="328" y="244"/>
                      <a:pt x="328" y="245"/>
                      <a:pt x="328" y="245"/>
                    </a:cubicBezTo>
                    <a:close/>
                    <a:moveTo>
                      <a:pt x="328" y="270"/>
                    </a:moveTo>
                    <a:cubicBezTo>
                      <a:pt x="328" y="270"/>
                      <a:pt x="328" y="270"/>
                      <a:pt x="328" y="270"/>
                    </a:cubicBezTo>
                    <a:cubicBezTo>
                      <a:pt x="328" y="269"/>
                      <a:pt x="328" y="269"/>
                      <a:pt x="328" y="269"/>
                    </a:cubicBezTo>
                    <a:lnTo>
                      <a:pt x="328" y="270"/>
                    </a:lnTo>
                    <a:close/>
                    <a:moveTo>
                      <a:pt x="329" y="267"/>
                    </a:moveTo>
                    <a:cubicBezTo>
                      <a:pt x="328" y="267"/>
                      <a:pt x="328" y="267"/>
                      <a:pt x="328" y="267"/>
                    </a:cubicBezTo>
                    <a:cubicBezTo>
                      <a:pt x="328" y="267"/>
                      <a:pt x="328" y="267"/>
                      <a:pt x="328" y="267"/>
                    </a:cubicBezTo>
                    <a:cubicBezTo>
                      <a:pt x="328" y="267"/>
                      <a:pt x="328" y="267"/>
                      <a:pt x="328" y="267"/>
                    </a:cubicBezTo>
                    <a:cubicBezTo>
                      <a:pt x="329" y="267"/>
                      <a:pt x="329" y="267"/>
                      <a:pt x="329" y="267"/>
                    </a:cubicBezTo>
                    <a:close/>
                    <a:moveTo>
                      <a:pt x="337" y="179"/>
                    </a:moveTo>
                    <a:cubicBezTo>
                      <a:pt x="337" y="179"/>
                      <a:pt x="337" y="179"/>
                      <a:pt x="337" y="179"/>
                    </a:cubicBezTo>
                    <a:cubicBezTo>
                      <a:pt x="337" y="179"/>
                      <a:pt x="337" y="179"/>
                      <a:pt x="337" y="179"/>
                    </a:cubicBezTo>
                    <a:cubicBezTo>
                      <a:pt x="337" y="179"/>
                      <a:pt x="337" y="179"/>
                      <a:pt x="337" y="179"/>
                    </a:cubicBezTo>
                    <a:close/>
                    <a:moveTo>
                      <a:pt x="332" y="147"/>
                    </a:moveTo>
                    <a:cubicBezTo>
                      <a:pt x="332" y="148"/>
                      <a:pt x="332" y="148"/>
                      <a:pt x="332" y="148"/>
                    </a:cubicBezTo>
                    <a:cubicBezTo>
                      <a:pt x="332" y="147"/>
                      <a:pt x="332" y="147"/>
                      <a:pt x="332" y="147"/>
                    </a:cubicBezTo>
                    <a:cubicBezTo>
                      <a:pt x="331" y="146"/>
                      <a:pt x="331" y="146"/>
                      <a:pt x="331" y="146"/>
                    </a:cubicBezTo>
                    <a:lnTo>
                      <a:pt x="332" y="147"/>
                    </a:lnTo>
                    <a:close/>
                    <a:moveTo>
                      <a:pt x="333" y="174"/>
                    </a:moveTo>
                    <a:cubicBezTo>
                      <a:pt x="332" y="174"/>
                      <a:pt x="332" y="173"/>
                      <a:pt x="332" y="173"/>
                    </a:cubicBezTo>
                    <a:cubicBezTo>
                      <a:pt x="332" y="173"/>
                      <a:pt x="332" y="173"/>
                      <a:pt x="332" y="173"/>
                    </a:cubicBezTo>
                    <a:cubicBezTo>
                      <a:pt x="332" y="173"/>
                      <a:pt x="332" y="174"/>
                      <a:pt x="333" y="174"/>
                    </a:cubicBezTo>
                    <a:close/>
                    <a:moveTo>
                      <a:pt x="329" y="262"/>
                    </a:moveTo>
                    <a:cubicBezTo>
                      <a:pt x="329" y="264"/>
                      <a:pt x="329" y="265"/>
                      <a:pt x="329" y="265"/>
                    </a:cubicBezTo>
                    <a:cubicBezTo>
                      <a:pt x="329" y="266"/>
                      <a:pt x="329" y="266"/>
                      <a:pt x="329" y="266"/>
                    </a:cubicBezTo>
                    <a:cubicBezTo>
                      <a:pt x="329" y="265"/>
                      <a:pt x="329" y="265"/>
                      <a:pt x="329" y="265"/>
                    </a:cubicBezTo>
                    <a:cubicBezTo>
                      <a:pt x="329" y="265"/>
                      <a:pt x="329" y="264"/>
                      <a:pt x="329" y="262"/>
                    </a:cubicBezTo>
                    <a:cubicBezTo>
                      <a:pt x="329" y="262"/>
                      <a:pt x="329" y="261"/>
                      <a:pt x="330" y="261"/>
                    </a:cubicBezTo>
                    <a:cubicBezTo>
                      <a:pt x="329" y="261"/>
                      <a:pt x="329" y="262"/>
                      <a:pt x="329" y="262"/>
                    </a:cubicBezTo>
                    <a:close/>
                    <a:moveTo>
                      <a:pt x="331" y="262"/>
                    </a:moveTo>
                    <a:cubicBezTo>
                      <a:pt x="331" y="262"/>
                      <a:pt x="331" y="262"/>
                      <a:pt x="331" y="261"/>
                    </a:cubicBezTo>
                    <a:cubicBezTo>
                      <a:pt x="331" y="262"/>
                      <a:pt x="331" y="262"/>
                      <a:pt x="331" y="262"/>
                    </a:cubicBezTo>
                    <a:close/>
                    <a:moveTo>
                      <a:pt x="331" y="261"/>
                    </a:moveTo>
                    <a:cubicBezTo>
                      <a:pt x="331" y="261"/>
                      <a:pt x="331" y="261"/>
                      <a:pt x="331" y="261"/>
                    </a:cubicBezTo>
                    <a:cubicBezTo>
                      <a:pt x="332" y="261"/>
                      <a:pt x="332" y="261"/>
                      <a:pt x="332" y="261"/>
                    </a:cubicBezTo>
                    <a:lnTo>
                      <a:pt x="331" y="261"/>
                    </a:lnTo>
                    <a:close/>
                    <a:moveTo>
                      <a:pt x="333" y="241"/>
                    </a:moveTo>
                    <a:cubicBezTo>
                      <a:pt x="332" y="241"/>
                      <a:pt x="331" y="242"/>
                      <a:pt x="331" y="242"/>
                    </a:cubicBezTo>
                    <a:cubicBezTo>
                      <a:pt x="331" y="242"/>
                      <a:pt x="331" y="242"/>
                      <a:pt x="331" y="242"/>
                    </a:cubicBezTo>
                    <a:cubicBezTo>
                      <a:pt x="331" y="242"/>
                      <a:pt x="331" y="243"/>
                      <a:pt x="330" y="243"/>
                    </a:cubicBezTo>
                    <a:cubicBezTo>
                      <a:pt x="330" y="243"/>
                      <a:pt x="330" y="243"/>
                      <a:pt x="329" y="243"/>
                    </a:cubicBezTo>
                    <a:cubicBezTo>
                      <a:pt x="330" y="243"/>
                      <a:pt x="330" y="243"/>
                      <a:pt x="330" y="243"/>
                    </a:cubicBezTo>
                    <a:cubicBezTo>
                      <a:pt x="331" y="243"/>
                      <a:pt x="331" y="242"/>
                      <a:pt x="331" y="242"/>
                    </a:cubicBezTo>
                    <a:cubicBezTo>
                      <a:pt x="331" y="242"/>
                      <a:pt x="331" y="242"/>
                      <a:pt x="331" y="242"/>
                    </a:cubicBezTo>
                    <a:cubicBezTo>
                      <a:pt x="331" y="242"/>
                      <a:pt x="332" y="241"/>
                      <a:pt x="333" y="241"/>
                    </a:cubicBezTo>
                    <a:cubicBezTo>
                      <a:pt x="333" y="241"/>
                      <a:pt x="334" y="240"/>
                      <a:pt x="334" y="240"/>
                    </a:cubicBezTo>
                    <a:cubicBezTo>
                      <a:pt x="334" y="240"/>
                      <a:pt x="334" y="240"/>
                      <a:pt x="334" y="240"/>
                    </a:cubicBezTo>
                    <a:cubicBezTo>
                      <a:pt x="334" y="240"/>
                      <a:pt x="333" y="241"/>
                      <a:pt x="333" y="241"/>
                    </a:cubicBezTo>
                    <a:close/>
                    <a:moveTo>
                      <a:pt x="334" y="256"/>
                    </a:moveTo>
                    <a:cubicBezTo>
                      <a:pt x="334" y="256"/>
                      <a:pt x="334" y="256"/>
                      <a:pt x="334" y="256"/>
                    </a:cubicBezTo>
                    <a:cubicBezTo>
                      <a:pt x="334" y="255"/>
                      <a:pt x="334" y="255"/>
                      <a:pt x="334" y="255"/>
                    </a:cubicBezTo>
                    <a:cubicBezTo>
                      <a:pt x="334" y="256"/>
                      <a:pt x="334" y="256"/>
                      <a:pt x="334" y="256"/>
                    </a:cubicBezTo>
                    <a:close/>
                    <a:moveTo>
                      <a:pt x="334" y="254"/>
                    </a:moveTo>
                    <a:cubicBezTo>
                      <a:pt x="335" y="253"/>
                      <a:pt x="335" y="253"/>
                      <a:pt x="335" y="253"/>
                    </a:cubicBezTo>
                    <a:cubicBezTo>
                      <a:pt x="335" y="253"/>
                      <a:pt x="335" y="253"/>
                      <a:pt x="335" y="253"/>
                    </a:cubicBezTo>
                    <a:cubicBezTo>
                      <a:pt x="335" y="253"/>
                      <a:pt x="335" y="253"/>
                      <a:pt x="335" y="253"/>
                    </a:cubicBezTo>
                    <a:lnTo>
                      <a:pt x="334" y="254"/>
                    </a:lnTo>
                    <a:close/>
                    <a:moveTo>
                      <a:pt x="336" y="241"/>
                    </a:moveTo>
                    <a:cubicBezTo>
                      <a:pt x="336" y="241"/>
                      <a:pt x="335" y="241"/>
                      <a:pt x="334" y="241"/>
                    </a:cubicBezTo>
                    <a:cubicBezTo>
                      <a:pt x="334" y="241"/>
                      <a:pt x="334" y="241"/>
                      <a:pt x="334" y="240"/>
                    </a:cubicBezTo>
                    <a:cubicBezTo>
                      <a:pt x="334" y="241"/>
                      <a:pt x="334" y="241"/>
                      <a:pt x="334" y="241"/>
                    </a:cubicBezTo>
                    <a:cubicBezTo>
                      <a:pt x="335" y="241"/>
                      <a:pt x="336" y="241"/>
                      <a:pt x="336" y="241"/>
                    </a:cubicBezTo>
                    <a:cubicBezTo>
                      <a:pt x="336" y="241"/>
                      <a:pt x="336" y="241"/>
                      <a:pt x="336" y="241"/>
                    </a:cubicBezTo>
                    <a:cubicBezTo>
                      <a:pt x="336" y="241"/>
                      <a:pt x="336" y="241"/>
                      <a:pt x="336" y="241"/>
                    </a:cubicBezTo>
                    <a:close/>
                    <a:moveTo>
                      <a:pt x="334" y="149"/>
                    </a:moveTo>
                    <a:cubicBezTo>
                      <a:pt x="335" y="149"/>
                      <a:pt x="336" y="150"/>
                      <a:pt x="336" y="150"/>
                    </a:cubicBezTo>
                    <a:cubicBezTo>
                      <a:pt x="336" y="150"/>
                      <a:pt x="335" y="149"/>
                      <a:pt x="334" y="149"/>
                    </a:cubicBezTo>
                    <a:close/>
                    <a:moveTo>
                      <a:pt x="336" y="181"/>
                    </a:moveTo>
                    <a:cubicBezTo>
                      <a:pt x="336" y="181"/>
                      <a:pt x="336" y="180"/>
                      <a:pt x="336" y="180"/>
                    </a:cubicBezTo>
                    <a:cubicBezTo>
                      <a:pt x="336" y="180"/>
                      <a:pt x="336" y="181"/>
                      <a:pt x="336" y="181"/>
                    </a:cubicBezTo>
                    <a:cubicBezTo>
                      <a:pt x="337" y="181"/>
                      <a:pt x="337" y="181"/>
                      <a:pt x="337" y="181"/>
                    </a:cubicBezTo>
                    <a:cubicBezTo>
                      <a:pt x="337" y="181"/>
                      <a:pt x="337" y="181"/>
                      <a:pt x="336" y="181"/>
                    </a:cubicBezTo>
                    <a:close/>
                    <a:moveTo>
                      <a:pt x="337" y="250"/>
                    </a:moveTo>
                    <a:cubicBezTo>
                      <a:pt x="337" y="249"/>
                      <a:pt x="337" y="249"/>
                      <a:pt x="337" y="249"/>
                    </a:cubicBezTo>
                    <a:cubicBezTo>
                      <a:pt x="337" y="249"/>
                      <a:pt x="337" y="249"/>
                      <a:pt x="337" y="249"/>
                    </a:cubicBezTo>
                    <a:lnTo>
                      <a:pt x="337" y="250"/>
                    </a:lnTo>
                    <a:close/>
                    <a:moveTo>
                      <a:pt x="337" y="240"/>
                    </a:moveTo>
                    <a:cubicBezTo>
                      <a:pt x="337" y="240"/>
                      <a:pt x="337" y="240"/>
                      <a:pt x="337" y="240"/>
                    </a:cubicBezTo>
                    <a:cubicBezTo>
                      <a:pt x="338" y="240"/>
                      <a:pt x="338" y="240"/>
                      <a:pt x="338" y="240"/>
                    </a:cubicBezTo>
                    <a:cubicBezTo>
                      <a:pt x="338" y="240"/>
                      <a:pt x="338" y="240"/>
                      <a:pt x="338" y="240"/>
                    </a:cubicBezTo>
                    <a:cubicBezTo>
                      <a:pt x="337" y="240"/>
                      <a:pt x="337" y="240"/>
                      <a:pt x="337" y="240"/>
                    </a:cubicBezTo>
                    <a:cubicBezTo>
                      <a:pt x="337" y="240"/>
                      <a:pt x="337" y="240"/>
                      <a:pt x="337" y="240"/>
                    </a:cubicBezTo>
                    <a:close/>
                    <a:moveTo>
                      <a:pt x="338" y="241"/>
                    </a:moveTo>
                    <a:cubicBezTo>
                      <a:pt x="338" y="242"/>
                      <a:pt x="338" y="242"/>
                      <a:pt x="338" y="242"/>
                    </a:cubicBezTo>
                    <a:cubicBezTo>
                      <a:pt x="339" y="241"/>
                      <a:pt x="339" y="241"/>
                      <a:pt x="339" y="241"/>
                    </a:cubicBezTo>
                    <a:cubicBezTo>
                      <a:pt x="339" y="242"/>
                      <a:pt x="339" y="242"/>
                      <a:pt x="339" y="242"/>
                    </a:cubicBezTo>
                    <a:cubicBezTo>
                      <a:pt x="339" y="242"/>
                      <a:pt x="339" y="242"/>
                      <a:pt x="339" y="242"/>
                    </a:cubicBezTo>
                    <a:cubicBezTo>
                      <a:pt x="339" y="241"/>
                      <a:pt x="339" y="241"/>
                      <a:pt x="339" y="241"/>
                    </a:cubicBezTo>
                    <a:cubicBezTo>
                      <a:pt x="338" y="242"/>
                      <a:pt x="338" y="242"/>
                      <a:pt x="338" y="242"/>
                    </a:cubicBezTo>
                    <a:cubicBezTo>
                      <a:pt x="338" y="241"/>
                      <a:pt x="338" y="241"/>
                      <a:pt x="338" y="241"/>
                    </a:cubicBezTo>
                    <a:close/>
                    <a:moveTo>
                      <a:pt x="338" y="181"/>
                    </a:moveTo>
                    <a:cubicBezTo>
                      <a:pt x="338" y="181"/>
                      <a:pt x="338" y="181"/>
                      <a:pt x="338" y="181"/>
                    </a:cubicBezTo>
                    <a:cubicBezTo>
                      <a:pt x="339" y="182"/>
                      <a:pt x="338" y="182"/>
                      <a:pt x="339" y="182"/>
                    </a:cubicBezTo>
                    <a:cubicBezTo>
                      <a:pt x="338" y="182"/>
                      <a:pt x="339" y="182"/>
                      <a:pt x="338" y="181"/>
                    </a:cubicBezTo>
                    <a:cubicBezTo>
                      <a:pt x="338" y="181"/>
                      <a:pt x="338" y="181"/>
                      <a:pt x="338" y="181"/>
                    </a:cubicBezTo>
                    <a:close/>
                    <a:moveTo>
                      <a:pt x="339" y="243"/>
                    </a:moveTo>
                    <a:cubicBezTo>
                      <a:pt x="339" y="243"/>
                      <a:pt x="339" y="243"/>
                      <a:pt x="339" y="243"/>
                    </a:cubicBezTo>
                    <a:cubicBezTo>
                      <a:pt x="339" y="243"/>
                      <a:pt x="339" y="243"/>
                      <a:pt x="339" y="243"/>
                    </a:cubicBezTo>
                    <a:cubicBezTo>
                      <a:pt x="339" y="244"/>
                      <a:pt x="339" y="244"/>
                      <a:pt x="339" y="244"/>
                    </a:cubicBezTo>
                    <a:cubicBezTo>
                      <a:pt x="339" y="244"/>
                      <a:pt x="339" y="244"/>
                      <a:pt x="339" y="243"/>
                    </a:cubicBezTo>
                    <a:cubicBezTo>
                      <a:pt x="339" y="243"/>
                      <a:pt x="339" y="243"/>
                      <a:pt x="339" y="243"/>
                    </a:cubicBezTo>
                    <a:close/>
                    <a:moveTo>
                      <a:pt x="339" y="249"/>
                    </a:moveTo>
                    <a:cubicBezTo>
                      <a:pt x="338" y="249"/>
                      <a:pt x="338" y="249"/>
                      <a:pt x="338" y="249"/>
                    </a:cubicBezTo>
                    <a:cubicBezTo>
                      <a:pt x="339" y="249"/>
                      <a:pt x="339" y="249"/>
                      <a:pt x="339" y="249"/>
                    </a:cubicBezTo>
                    <a:cubicBezTo>
                      <a:pt x="340" y="249"/>
                      <a:pt x="340" y="249"/>
                      <a:pt x="340" y="249"/>
                    </a:cubicBezTo>
                    <a:lnTo>
                      <a:pt x="339" y="249"/>
                    </a:lnTo>
                    <a:close/>
                    <a:moveTo>
                      <a:pt x="340" y="249"/>
                    </a:moveTo>
                    <a:cubicBezTo>
                      <a:pt x="340" y="249"/>
                      <a:pt x="340" y="249"/>
                      <a:pt x="340" y="249"/>
                    </a:cubicBezTo>
                    <a:cubicBezTo>
                      <a:pt x="340" y="249"/>
                      <a:pt x="340" y="249"/>
                      <a:pt x="340" y="249"/>
                    </a:cubicBezTo>
                    <a:close/>
                    <a:moveTo>
                      <a:pt x="341" y="245"/>
                    </a:moveTo>
                    <a:cubicBezTo>
                      <a:pt x="340" y="244"/>
                      <a:pt x="340" y="244"/>
                      <a:pt x="340" y="244"/>
                    </a:cubicBezTo>
                    <a:cubicBezTo>
                      <a:pt x="339" y="244"/>
                      <a:pt x="339" y="244"/>
                      <a:pt x="339" y="244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9" y="244"/>
                      <a:pt x="339" y="244"/>
                      <a:pt x="339" y="244"/>
                    </a:cubicBezTo>
                    <a:cubicBezTo>
                      <a:pt x="340" y="244"/>
                      <a:pt x="340" y="244"/>
                      <a:pt x="340" y="244"/>
                    </a:cubicBezTo>
                    <a:cubicBezTo>
                      <a:pt x="341" y="245"/>
                      <a:pt x="341" y="245"/>
                      <a:pt x="341" y="245"/>
                    </a:cubicBezTo>
                    <a:cubicBezTo>
                      <a:pt x="341" y="245"/>
                      <a:pt x="341" y="245"/>
                      <a:pt x="341" y="245"/>
                    </a:cubicBezTo>
                    <a:close/>
                    <a:moveTo>
                      <a:pt x="341" y="151"/>
                    </a:moveTo>
                    <a:cubicBezTo>
                      <a:pt x="341" y="151"/>
                      <a:pt x="341" y="151"/>
                      <a:pt x="341" y="151"/>
                    </a:cubicBezTo>
                    <a:cubicBezTo>
                      <a:pt x="341" y="151"/>
                      <a:pt x="338" y="150"/>
                      <a:pt x="337" y="150"/>
                    </a:cubicBezTo>
                    <a:cubicBezTo>
                      <a:pt x="338" y="150"/>
                      <a:pt x="341" y="151"/>
                      <a:pt x="341" y="151"/>
                    </a:cubicBezTo>
                    <a:cubicBezTo>
                      <a:pt x="341" y="151"/>
                      <a:pt x="341" y="151"/>
                      <a:pt x="341" y="151"/>
                    </a:cubicBezTo>
                    <a:close/>
                    <a:moveTo>
                      <a:pt x="342" y="245"/>
                    </a:moveTo>
                    <a:cubicBezTo>
                      <a:pt x="341" y="246"/>
                      <a:pt x="341" y="246"/>
                      <a:pt x="341" y="246"/>
                    </a:cubicBezTo>
                    <a:cubicBezTo>
                      <a:pt x="342" y="245"/>
                      <a:pt x="342" y="245"/>
                      <a:pt x="342" y="245"/>
                    </a:cubicBezTo>
                    <a:cubicBezTo>
                      <a:pt x="342" y="245"/>
                      <a:pt x="342" y="245"/>
                      <a:pt x="342" y="245"/>
                    </a:cubicBezTo>
                    <a:cubicBezTo>
                      <a:pt x="342" y="245"/>
                      <a:pt x="342" y="245"/>
                      <a:pt x="342" y="245"/>
                    </a:cubicBezTo>
                    <a:close/>
                    <a:moveTo>
                      <a:pt x="355" y="334"/>
                    </a:moveTo>
                    <a:cubicBezTo>
                      <a:pt x="357" y="333"/>
                      <a:pt x="357" y="333"/>
                      <a:pt x="357" y="333"/>
                    </a:cubicBezTo>
                    <a:cubicBezTo>
                      <a:pt x="355" y="334"/>
                      <a:pt x="355" y="334"/>
                      <a:pt x="355" y="334"/>
                    </a:cubicBezTo>
                    <a:cubicBezTo>
                      <a:pt x="355" y="333"/>
                      <a:pt x="355" y="333"/>
                      <a:pt x="355" y="333"/>
                    </a:cubicBezTo>
                    <a:lnTo>
                      <a:pt x="355" y="334"/>
                    </a:lnTo>
                    <a:close/>
                    <a:moveTo>
                      <a:pt x="354" y="333"/>
                    </a:moveTo>
                    <a:cubicBezTo>
                      <a:pt x="354" y="333"/>
                      <a:pt x="354" y="333"/>
                      <a:pt x="354" y="333"/>
                    </a:cubicBezTo>
                    <a:cubicBezTo>
                      <a:pt x="354" y="333"/>
                      <a:pt x="354" y="333"/>
                      <a:pt x="354" y="333"/>
                    </a:cubicBezTo>
                    <a:cubicBezTo>
                      <a:pt x="354" y="332"/>
                      <a:pt x="354" y="332"/>
                      <a:pt x="354" y="332"/>
                    </a:cubicBezTo>
                    <a:cubicBezTo>
                      <a:pt x="353" y="332"/>
                      <a:pt x="353" y="332"/>
                      <a:pt x="353" y="332"/>
                    </a:cubicBezTo>
                    <a:lnTo>
                      <a:pt x="354" y="333"/>
                    </a:lnTo>
                    <a:close/>
                    <a:moveTo>
                      <a:pt x="352" y="331"/>
                    </a:moveTo>
                    <a:cubicBezTo>
                      <a:pt x="352" y="332"/>
                      <a:pt x="352" y="332"/>
                      <a:pt x="352" y="332"/>
                    </a:cubicBezTo>
                    <a:cubicBezTo>
                      <a:pt x="352" y="331"/>
                      <a:pt x="352" y="331"/>
                      <a:pt x="352" y="331"/>
                    </a:cubicBezTo>
                    <a:cubicBezTo>
                      <a:pt x="351" y="331"/>
                      <a:pt x="351" y="331"/>
                      <a:pt x="351" y="331"/>
                    </a:cubicBezTo>
                    <a:lnTo>
                      <a:pt x="352" y="331"/>
                    </a:lnTo>
                    <a:close/>
                    <a:moveTo>
                      <a:pt x="374" y="308"/>
                    </a:moveTo>
                    <a:cubicBezTo>
                      <a:pt x="373" y="308"/>
                      <a:pt x="373" y="308"/>
                      <a:pt x="373" y="308"/>
                    </a:cubicBezTo>
                    <a:cubicBezTo>
                      <a:pt x="374" y="308"/>
                      <a:pt x="374" y="308"/>
                      <a:pt x="374" y="308"/>
                    </a:cubicBezTo>
                    <a:cubicBezTo>
                      <a:pt x="374" y="307"/>
                      <a:pt x="374" y="307"/>
                      <a:pt x="374" y="307"/>
                    </a:cubicBezTo>
                    <a:lnTo>
                      <a:pt x="374" y="308"/>
                    </a:lnTo>
                    <a:close/>
                    <a:moveTo>
                      <a:pt x="373" y="294"/>
                    </a:moveTo>
                    <a:cubicBezTo>
                      <a:pt x="374" y="295"/>
                      <a:pt x="374" y="297"/>
                      <a:pt x="374" y="297"/>
                    </a:cubicBezTo>
                    <a:cubicBezTo>
                      <a:pt x="373" y="299"/>
                      <a:pt x="373" y="299"/>
                      <a:pt x="373" y="299"/>
                    </a:cubicBezTo>
                    <a:cubicBezTo>
                      <a:pt x="374" y="302"/>
                      <a:pt x="374" y="302"/>
                      <a:pt x="374" y="302"/>
                    </a:cubicBezTo>
                    <a:cubicBezTo>
                      <a:pt x="375" y="303"/>
                      <a:pt x="375" y="303"/>
                      <a:pt x="375" y="303"/>
                    </a:cubicBezTo>
                    <a:cubicBezTo>
                      <a:pt x="374" y="302"/>
                      <a:pt x="374" y="302"/>
                      <a:pt x="374" y="302"/>
                    </a:cubicBezTo>
                    <a:cubicBezTo>
                      <a:pt x="373" y="300"/>
                      <a:pt x="373" y="300"/>
                      <a:pt x="373" y="300"/>
                    </a:cubicBezTo>
                    <a:cubicBezTo>
                      <a:pt x="372" y="300"/>
                      <a:pt x="372" y="300"/>
                      <a:pt x="372" y="300"/>
                    </a:cubicBezTo>
                    <a:cubicBezTo>
                      <a:pt x="373" y="300"/>
                      <a:pt x="373" y="300"/>
                      <a:pt x="373" y="300"/>
                    </a:cubicBezTo>
                    <a:cubicBezTo>
                      <a:pt x="373" y="299"/>
                      <a:pt x="373" y="299"/>
                      <a:pt x="373" y="299"/>
                    </a:cubicBezTo>
                    <a:cubicBezTo>
                      <a:pt x="374" y="297"/>
                      <a:pt x="374" y="297"/>
                      <a:pt x="374" y="297"/>
                    </a:cubicBezTo>
                    <a:cubicBezTo>
                      <a:pt x="374" y="297"/>
                      <a:pt x="374" y="295"/>
                      <a:pt x="373" y="294"/>
                    </a:cubicBezTo>
                    <a:cubicBezTo>
                      <a:pt x="373" y="293"/>
                      <a:pt x="372" y="292"/>
                      <a:pt x="371" y="291"/>
                    </a:cubicBezTo>
                    <a:cubicBezTo>
                      <a:pt x="372" y="292"/>
                      <a:pt x="373" y="293"/>
                      <a:pt x="373" y="294"/>
                    </a:cubicBezTo>
                    <a:close/>
                    <a:moveTo>
                      <a:pt x="371" y="310"/>
                    </a:moveTo>
                    <a:cubicBezTo>
                      <a:pt x="372" y="310"/>
                      <a:pt x="372" y="310"/>
                      <a:pt x="372" y="310"/>
                    </a:cubicBezTo>
                    <a:cubicBezTo>
                      <a:pt x="372" y="309"/>
                      <a:pt x="372" y="309"/>
                      <a:pt x="372" y="309"/>
                    </a:cubicBezTo>
                    <a:cubicBezTo>
                      <a:pt x="372" y="310"/>
                      <a:pt x="372" y="310"/>
                      <a:pt x="372" y="310"/>
                    </a:cubicBezTo>
                    <a:cubicBezTo>
                      <a:pt x="371" y="310"/>
                      <a:pt x="371" y="310"/>
                      <a:pt x="371" y="310"/>
                    </a:cubicBezTo>
                    <a:cubicBezTo>
                      <a:pt x="371" y="311"/>
                      <a:pt x="371" y="311"/>
                      <a:pt x="371" y="311"/>
                    </a:cubicBezTo>
                    <a:lnTo>
                      <a:pt x="371" y="310"/>
                    </a:lnTo>
                    <a:close/>
                    <a:moveTo>
                      <a:pt x="365" y="276"/>
                    </a:moveTo>
                    <a:cubicBezTo>
                      <a:pt x="365" y="277"/>
                      <a:pt x="365" y="277"/>
                      <a:pt x="365" y="277"/>
                    </a:cubicBezTo>
                    <a:cubicBezTo>
                      <a:pt x="365" y="277"/>
                      <a:pt x="365" y="277"/>
                      <a:pt x="365" y="277"/>
                    </a:cubicBezTo>
                    <a:cubicBezTo>
                      <a:pt x="365" y="276"/>
                      <a:pt x="365" y="276"/>
                      <a:pt x="365" y="276"/>
                    </a:cubicBezTo>
                    <a:close/>
                    <a:moveTo>
                      <a:pt x="365" y="267"/>
                    </a:moveTo>
                    <a:cubicBezTo>
                      <a:pt x="365" y="267"/>
                      <a:pt x="365" y="267"/>
                      <a:pt x="365" y="267"/>
                    </a:cubicBezTo>
                    <a:cubicBezTo>
                      <a:pt x="365" y="267"/>
                      <a:pt x="365" y="266"/>
                      <a:pt x="364" y="266"/>
                    </a:cubicBezTo>
                    <a:cubicBezTo>
                      <a:pt x="365" y="266"/>
                      <a:pt x="365" y="267"/>
                      <a:pt x="365" y="267"/>
                    </a:cubicBezTo>
                    <a:close/>
                    <a:moveTo>
                      <a:pt x="365" y="279"/>
                    </a:moveTo>
                    <a:cubicBezTo>
                      <a:pt x="366" y="277"/>
                      <a:pt x="366" y="277"/>
                      <a:pt x="366" y="277"/>
                    </a:cubicBezTo>
                    <a:cubicBezTo>
                      <a:pt x="366" y="277"/>
                      <a:pt x="366" y="277"/>
                      <a:pt x="366" y="277"/>
                    </a:cubicBezTo>
                    <a:cubicBezTo>
                      <a:pt x="365" y="279"/>
                      <a:pt x="365" y="279"/>
                      <a:pt x="365" y="279"/>
                    </a:cubicBezTo>
                    <a:cubicBezTo>
                      <a:pt x="364" y="279"/>
                      <a:pt x="364" y="279"/>
                      <a:pt x="364" y="279"/>
                    </a:cubicBezTo>
                    <a:cubicBezTo>
                      <a:pt x="363" y="281"/>
                      <a:pt x="363" y="281"/>
                      <a:pt x="363" y="281"/>
                    </a:cubicBezTo>
                    <a:cubicBezTo>
                      <a:pt x="364" y="282"/>
                      <a:pt x="364" y="282"/>
                      <a:pt x="364" y="282"/>
                    </a:cubicBezTo>
                    <a:cubicBezTo>
                      <a:pt x="363" y="281"/>
                      <a:pt x="363" y="281"/>
                      <a:pt x="363" y="281"/>
                    </a:cubicBezTo>
                    <a:cubicBezTo>
                      <a:pt x="364" y="279"/>
                      <a:pt x="364" y="279"/>
                      <a:pt x="364" y="279"/>
                    </a:cubicBezTo>
                    <a:lnTo>
                      <a:pt x="365" y="279"/>
                    </a:lnTo>
                    <a:close/>
                    <a:moveTo>
                      <a:pt x="364" y="287"/>
                    </a:moveTo>
                    <a:cubicBezTo>
                      <a:pt x="363" y="286"/>
                      <a:pt x="363" y="286"/>
                      <a:pt x="363" y="286"/>
                    </a:cubicBezTo>
                    <a:cubicBezTo>
                      <a:pt x="363" y="285"/>
                      <a:pt x="363" y="285"/>
                      <a:pt x="363" y="285"/>
                    </a:cubicBezTo>
                    <a:cubicBezTo>
                      <a:pt x="363" y="286"/>
                      <a:pt x="363" y="286"/>
                      <a:pt x="363" y="286"/>
                    </a:cubicBezTo>
                    <a:lnTo>
                      <a:pt x="364" y="287"/>
                    </a:lnTo>
                    <a:close/>
                    <a:moveTo>
                      <a:pt x="363" y="268"/>
                    </a:moveTo>
                    <a:cubicBezTo>
                      <a:pt x="362" y="267"/>
                      <a:pt x="362" y="267"/>
                      <a:pt x="362" y="267"/>
                    </a:cubicBezTo>
                    <a:cubicBezTo>
                      <a:pt x="362" y="267"/>
                      <a:pt x="362" y="267"/>
                      <a:pt x="362" y="267"/>
                    </a:cubicBezTo>
                    <a:cubicBezTo>
                      <a:pt x="363" y="268"/>
                      <a:pt x="363" y="268"/>
                      <a:pt x="363" y="268"/>
                    </a:cubicBezTo>
                    <a:close/>
                    <a:moveTo>
                      <a:pt x="361" y="285"/>
                    </a:moveTo>
                    <a:cubicBezTo>
                      <a:pt x="362" y="285"/>
                      <a:pt x="362" y="285"/>
                      <a:pt x="362" y="285"/>
                    </a:cubicBezTo>
                    <a:cubicBezTo>
                      <a:pt x="361" y="285"/>
                      <a:pt x="361" y="285"/>
                      <a:pt x="361" y="285"/>
                    </a:cubicBezTo>
                    <a:cubicBezTo>
                      <a:pt x="360" y="285"/>
                      <a:pt x="360" y="285"/>
                      <a:pt x="360" y="285"/>
                    </a:cubicBezTo>
                    <a:lnTo>
                      <a:pt x="361" y="285"/>
                    </a:lnTo>
                    <a:close/>
                    <a:moveTo>
                      <a:pt x="361" y="267"/>
                    </a:moveTo>
                    <a:cubicBezTo>
                      <a:pt x="362" y="267"/>
                      <a:pt x="362" y="267"/>
                      <a:pt x="362" y="267"/>
                    </a:cubicBezTo>
                    <a:cubicBezTo>
                      <a:pt x="361" y="267"/>
                      <a:pt x="361" y="267"/>
                      <a:pt x="361" y="267"/>
                    </a:cubicBezTo>
                    <a:close/>
                    <a:moveTo>
                      <a:pt x="362" y="149"/>
                    </a:moveTo>
                    <a:cubicBezTo>
                      <a:pt x="361" y="149"/>
                      <a:pt x="361" y="149"/>
                      <a:pt x="360" y="149"/>
                    </a:cubicBezTo>
                    <a:cubicBezTo>
                      <a:pt x="361" y="149"/>
                      <a:pt x="361" y="149"/>
                      <a:pt x="362" y="149"/>
                    </a:cubicBezTo>
                    <a:close/>
                    <a:moveTo>
                      <a:pt x="357" y="144"/>
                    </a:moveTo>
                    <a:cubicBezTo>
                      <a:pt x="358" y="147"/>
                      <a:pt x="358" y="147"/>
                      <a:pt x="358" y="147"/>
                    </a:cubicBezTo>
                    <a:cubicBezTo>
                      <a:pt x="359" y="147"/>
                      <a:pt x="359" y="147"/>
                      <a:pt x="359" y="147"/>
                    </a:cubicBezTo>
                    <a:cubicBezTo>
                      <a:pt x="358" y="147"/>
                      <a:pt x="358" y="147"/>
                      <a:pt x="358" y="147"/>
                    </a:cubicBezTo>
                    <a:cubicBezTo>
                      <a:pt x="357" y="144"/>
                      <a:pt x="357" y="144"/>
                      <a:pt x="357" y="144"/>
                    </a:cubicBezTo>
                    <a:cubicBezTo>
                      <a:pt x="357" y="144"/>
                      <a:pt x="357" y="144"/>
                      <a:pt x="357" y="144"/>
                    </a:cubicBezTo>
                    <a:close/>
                    <a:moveTo>
                      <a:pt x="353" y="143"/>
                    </a:moveTo>
                    <a:cubicBezTo>
                      <a:pt x="353" y="143"/>
                      <a:pt x="353" y="143"/>
                      <a:pt x="353" y="143"/>
                    </a:cubicBezTo>
                    <a:cubicBezTo>
                      <a:pt x="353" y="143"/>
                      <a:pt x="353" y="143"/>
                      <a:pt x="353" y="143"/>
                    </a:cubicBezTo>
                    <a:close/>
                    <a:moveTo>
                      <a:pt x="353" y="272"/>
                    </a:moveTo>
                    <a:cubicBezTo>
                      <a:pt x="353" y="271"/>
                      <a:pt x="353" y="271"/>
                      <a:pt x="353" y="271"/>
                    </a:cubicBezTo>
                    <a:cubicBezTo>
                      <a:pt x="353" y="271"/>
                      <a:pt x="353" y="271"/>
                      <a:pt x="353" y="271"/>
                    </a:cubicBezTo>
                    <a:cubicBezTo>
                      <a:pt x="353" y="272"/>
                      <a:pt x="353" y="272"/>
                      <a:pt x="353" y="272"/>
                    </a:cubicBezTo>
                    <a:cubicBezTo>
                      <a:pt x="352" y="272"/>
                      <a:pt x="352" y="272"/>
                      <a:pt x="352" y="272"/>
                    </a:cubicBezTo>
                    <a:lnTo>
                      <a:pt x="353" y="272"/>
                    </a:lnTo>
                    <a:close/>
                    <a:moveTo>
                      <a:pt x="348" y="266"/>
                    </a:moveTo>
                    <a:cubicBezTo>
                      <a:pt x="348" y="266"/>
                      <a:pt x="348" y="266"/>
                      <a:pt x="348" y="266"/>
                    </a:cubicBezTo>
                    <a:cubicBezTo>
                      <a:pt x="348" y="266"/>
                      <a:pt x="348" y="266"/>
                      <a:pt x="348" y="266"/>
                    </a:cubicBezTo>
                    <a:close/>
                    <a:moveTo>
                      <a:pt x="347" y="279"/>
                    </a:moveTo>
                    <a:cubicBezTo>
                      <a:pt x="347" y="279"/>
                      <a:pt x="347" y="279"/>
                      <a:pt x="347" y="279"/>
                    </a:cubicBezTo>
                    <a:cubicBezTo>
                      <a:pt x="347" y="279"/>
                      <a:pt x="347" y="279"/>
                      <a:pt x="347" y="279"/>
                    </a:cubicBezTo>
                    <a:cubicBezTo>
                      <a:pt x="348" y="278"/>
                      <a:pt x="348" y="278"/>
                      <a:pt x="348" y="278"/>
                    </a:cubicBezTo>
                    <a:lnTo>
                      <a:pt x="347" y="279"/>
                    </a:lnTo>
                    <a:close/>
                    <a:moveTo>
                      <a:pt x="347" y="293"/>
                    </a:moveTo>
                    <a:cubicBezTo>
                      <a:pt x="347" y="293"/>
                      <a:pt x="347" y="293"/>
                      <a:pt x="347" y="293"/>
                    </a:cubicBezTo>
                    <a:cubicBezTo>
                      <a:pt x="346" y="293"/>
                      <a:pt x="346" y="293"/>
                      <a:pt x="346" y="293"/>
                    </a:cubicBezTo>
                    <a:lnTo>
                      <a:pt x="347" y="293"/>
                    </a:lnTo>
                    <a:close/>
                    <a:moveTo>
                      <a:pt x="347" y="269"/>
                    </a:moveTo>
                    <a:cubicBezTo>
                      <a:pt x="348" y="269"/>
                      <a:pt x="348" y="269"/>
                      <a:pt x="348" y="269"/>
                    </a:cubicBezTo>
                    <a:cubicBezTo>
                      <a:pt x="347" y="269"/>
                      <a:pt x="347" y="269"/>
                      <a:pt x="347" y="269"/>
                    </a:cubicBezTo>
                    <a:close/>
                    <a:moveTo>
                      <a:pt x="347" y="264"/>
                    </a:moveTo>
                    <a:cubicBezTo>
                      <a:pt x="347" y="266"/>
                      <a:pt x="347" y="266"/>
                      <a:pt x="347" y="266"/>
                    </a:cubicBezTo>
                    <a:cubicBezTo>
                      <a:pt x="347" y="266"/>
                      <a:pt x="347" y="266"/>
                      <a:pt x="347" y="266"/>
                    </a:cubicBezTo>
                    <a:cubicBezTo>
                      <a:pt x="347" y="264"/>
                      <a:pt x="347" y="264"/>
                      <a:pt x="347" y="264"/>
                    </a:cubicBezTo>
                    <a:cubicBezTo>
                      <a:pt x="347" y="264"/>
                      <a:pt x="347" y="264"/>
                      <a:pt x="346" y="264"/>
                    </a:cubicBezTo>
                    <a:cubicBezTo>
                      <a:pt x="347" y="264"/>
                      <a:pt x="347" y="264"/>
                      <a:pt x="347" y="264"/>
                    </a:cubicBezTo>
                    <a:close/>
                    <a:moveTo>
                      <a:pt x="347" y="139"/>
                    </a:moveTo>
                    <a:cubicBezTo>
                      <a:pt x="347" y="140"/>
                      <a:pt x="347" y="140"/>
                      <a:pt x="347" y="140"/>
                    </a:cubicBezTo>
                    <a:cubicBezTo>
                      <a:pt x="347" y="140"/>
                      <a:pt x="347" y="140"/>
                      <a:pt x="347" y="140"/>
                    </a:cubicBezTo>
                    <a:cubicBezTo>
                      <a:pt x="346" y="143"/>
                      <a:pt x="346" y="143"/>
                      <a:pt x="346" y="143"/>
                    </a:cubicBezTo>
                    <a:cubicBezTo>
                      <a:pt x="346" y="143"/>
                      <a:pt x="346" y="143"/>
                      <a:pt x="346" y="143"/>
                    </a:cubicBezTo>
                    <a:lnTo>
                      <a:pt x="347" y="139"/>
                    </a:lnTo>
                    <a:close/>
                    <a:moveTo>
                      <a:pt x="346" y="248"/>
                    </a:moveTo>
                    <a:cubicBezTo>
                      <a:pt x="345" y="247"/>
                      <a:pt x="345" y="247"/>
                      <a:pt x="345" y="247"/>
                    </a:cubicBezTo>
                    <a:cubicBezTo>
                      <a:pt x="345" y="247"/>
                      <a:pt x="345" y="247"/>
                      <a:pt x="345" y="247"/>
                    </a:cubicBezTo>
                    <a:lnTo>
                      <a:pt x="346" y="248"/>
                    </a:lnTo>
                    <a:close/>
                    <a:moveTo>
                      <a:pt x="345" y="255"/>
                    </a:moveTo>
                    <a:cubicBezTo>
                      <a:pt x="345" y="255"/>
                      <a:pt x="345" y="255"/>
                      <a:pt x="345" y="255"/>
                    </a:cubicBezTo>
                    <a:cubicBezTo>
                      <a:pt x="345" y="255"/>
                      <a:pt x="345" y="255"/>
                      <a:pt x="345" y="255"/>
                    </a:cubicBezTo>
                    <a:cubicBezTo>
                      <a:pt x="346" y="254"/>
                      <a:pt x="346" y="254"/>
                      <a:pt x="346" y="254"/>
                    </a:cubicBezTo>
                    <a:lnTo>
                      <a:pt x="345" y="255"/>
                    </a:lnTo>
                    <a:close/>
                    <a:moveTo>
                      <a:pt x="345" y="294"/>
                    </a:moveTo>
                    <a:cubicBezTo>
                      <a:pt x="345" y="294"/>
                      <a:pt x="345" y="294"/>
                      <a:pt x="345" y="294"/>
                    </a:cubicBezTo>
                    <a:cubicBezTo>
                      <a:pt x="345" y="291"/>
                      <a:pt x="345" y="291"/>
                      <a:pt x="345" y="291"/>
                    </a:cubicBezTo>
                    <a:cubicBezTo>
                      <a:pt x="345" y="291"/>
                      <a:pt x="345" y="291"/>
                      <a:pt x="345" y="291"/>
                    </a:cubicBezTo>
                    <a:lnTo>
                      <a:pt x="345" y="294"/>
                    </a:lnTo>
                    <a:close/>
                    <a:moveTo>
                      <a:pt x="345" y="247"/>
                    </a:moveTo>
                    <a:cubicBezTo>
                      <a:pt x="345" y="247"/>
                      <a:pt x="345" y="247"/>
                      <a:pt x="345" y="247"/>
                    </a:cubicBezTo>
                    <a:cubicBezTo>
                      <a:pt x="345" y="247"/>
                      <a:pt x="345" y="247"/>
                      <a:pt x="345" y="247"/>
                    </a:cubicBezTo>
                    <a:cubicBezTo>
                      <a:pt x="345" y="248"/>
                      <a:pt x="345" y="248"/>
                      <a:pt x="345" y="248"/>
                    </a:cubicBezTo>
                    <a:cubicBezTo>
                      <a:pt x="345" y="248"/>
                      <a:pt x="345" y="248"/>
                      <a:pt x="345" y="248"/>
                    </a:cubicBezTo>
                    <a:lnTo>
                      <a:pt x="345" y="247"/>
                    </a:lnTo>
                    <a:close/>
                    <a:moveTo>
                      <a:pt x="344" y="184"/>
                    </a:moveTo>
                    <a:cubicBezTo>
                      <a:pt x="344" y="184"/>
                      <a:pt x="344" y="184"/>
                      <a:pt x="345" y="184"/>
                    </a:cubicBezTo>
                    <a:cubicBezTo>
                      <a:pt x="344" y="184"/>
                      <a:pt x="344" y="184"/>
                      <a:pt x="344" y="184"/>
                    </a:cubicBezTo>
                    <a:close/>
                    <a:moveTo>
                      <a:pt x="345" y="143"/>
                    </a:moveTo>
                    <a:cubicBezTo>
                      <a:pt x="346" y="141"/>
                      <a:pt x="346" y="141"/>
                      <a:pt x="346" y="141"/>
                    </a:cubicBezTo>
                    <a:cubicBezTo>
                      <a:pt x="346" y="141"/>
                      <a:pt x="346" y="141"/>
                      <a:pt x="346" y="141"/>
                    </a:cubicBezTo>
                    <a:cubicBezTo>
                      <a:pt x="345" y="143"/>
                      <a:pt x="345" y="143"/>
                      <a:pt x="345" y="143"/>
                    </a:cubicBezTo>
                    <a:cubicBezTo>
                      <a:pt x="344" y="143"/>
                      <a:pt x="344" y="143"/>
                      <a:pt x="344" y="143"/>
                    </a:cubicBezTo>
                    <a:lnTo>
                      <a:pt x="345" y="143"/>
                    </a:lnTo>
                    <a:close/>
                    <a:moveTo>
                      <a:pt x="344" y="143"/>
                    </a:moveTo>
                    <a:cubicBezTo>
                      <a:pt x="344" y="143"/>
                      <a:pt x="344" y="143"/>
                      <a:pt x="344" y="143"/>
                    </a:cubicBezTo>
                    <a:cubicBezTo>
                      <a:pt x="343" y="145"/>
                      <a:pt x="343" y="145"/>
                      <a:pt x="343" y="145"/>
                    </a:cubicBezTo>
                    <a:cubicBezTo>
                      <a:pt x="344" y="147"/>
                      <a:pt x="344" y="147"/>
                      <a:pt x="344" y="147"/>
                    </a:cubicBezTo>
                    <a:cubicBezTo>
                      <a:pt x="345" y="147"/>
                      <a:pt x="345" y="147"/>
                      <a:pt x="345" y="147"/>
                    </a:cubicBezTo>
                    <a:cubicBezTo>
                      <a:pt x="344" y="149"/>
                      <a:pt x="344" y="149"/>
                      <a:pt x="344" y="149"/>
                    </a:cubicBezTo>
                    <a:cubicBezTo>
                      <a:pt x="344" y="149"/>
                      <a:pt x="344" y="149"/>
                      <a:pt x="344" y="149"/>
                    </a:cubicBezTo>
                    <a:cubicBezTo>
                      <a:pt x="345" y="147"/>
                      <a:pt x="345" y="147"/>
                      <a:pt x="345" y="147"/>
                    </a:cubicBezTo>
                    <a:cubicBezTo>
                      <a:pt x="344" y="147"/>
                      <a:pt x="344" y="147"/>
                      <a:pt x="344" y="147"/>
                    </a:cubicBezTo>
                    <a:cubicBezTo>
                      <a:pt x="343" y="145"/>
                      <a:pt x="343" y="145"/>
                      <a:pt x="343" y="145"/>
                    </a:cubicBezTo>
                    <a:lnTo>
                      <a:pt x="344" y="143"/>
                    </a:lnTo>
                    <a:close/>
                    <a:moveTo>
                      <a:pt x="342" y="243"/>
                    </a:moveTo>
                    <a:cubicBezTo>
                      <a:pt x="344" y="245"/>
                      <a:pt x="344" y="245"/>
                      <a:pt x="344" y="245"/>
                    </a:cubicBezTo>
                    <a:cubicBezTo>
                      <a:pt x="344" y="246"/>
                      <a:pt x="344" y="246"/>
                      <a:pt x="344" y="246"/>
                    </a:cubicBezTo>
                    <a:cubicBezTo>
                      <a:pt x="344" y="248"/>
                      <a:pt x="344" y="248"/>
                      <a:pt x="344" y="248"/>
                    </a:cubicBezTo>
                    <a:cubicBezTo>
                      <a:pt x="344" y="246"/>
                      <a:pt x="344" y="246"/>
                      <a:pt x="344" y="246"/>
                    </a:cubicBezTo>
                    <a:cubicBezTo>
                      <a:pt x="344" y="245"/>
                      <a:pt x="344" y="245"/>
                      <a:pt x="344" y="245"/>
                    </a:cubicBezTo>
                    <a:cubicBezTo>
                      <a:pt x="342" y="243"/>
                      <a:pt x="342" y="243"/>
                      <a:pt x="342" y="243"/>
                    </a:cubicBezTo>
                    <a:close/>
                    <a:moveTo>
                      <a:pt x="345" y="256"/>
                    </a:moveTo>
                    <a:cubicBezTo>
                      <a:pt x="345" y="256"/>
                      <a:pt x="345" y="256"/>
                      <a:pt x="345" y="256"/>
                    </a:cubicBezTo>
                    <a:cubicBezTo>
                      <a:pt x="344" y="255"/>
                      <a:pt x="344" y="255"/>
                      <a:pt x="344" y="255"/>
                    </a:cubicBezTo>
                    <a:lnTo>
                      <a:pt x="345" y="256"/>
                    </a:lnTo>
                    <a:close/>
                    <a:moveTo>
                      <a:pt x="344" y="255"/>
                    </a:moveTo>
                    <a:cubicBezTo>
                      <a:pt x="344" y="257"/>
                      <a:pt x="344" y="257"/>
                      <a:pt x="344" y="257"/>
                    </a:cubicBezTo>
                    <a:cubicBezTo>
                      <a:pt x="344" y="257"/>
                      <a:pt x="344" y="257"/>
                      <a:pt x="344" y="257"/>
                    </a:cubicBezTo>
                    <a:cubicBezTo>
                      <a:pt x="344" y="255"/>
                      <a:pt x="344" y="255"/>
                      <a:pt x="344" y="255"/>
                    </a:cubicBezTo>
                    <a:close/>
                    <a:moveTo>
                      <a:pt x="343" y="257"/>
                    </a:moveTo>
                    <a:cubicBezTo>
                      <a:pt x="343" y="257"/>
                      <a:pt x="343" y="257"/>
                      <a:pt x="343" y="257"/>
                    </a:cubicBezTo>
                    <a:cubicBezTo>
                      <a:pt x="343" y="257"/>
                      <a:pt x="343" y="257"/>
                      <a:pt x="343" y="257"/>
                    </a:cubicBezTo>
                    <a:close/>
                    <a:moveTo>
                      <a:pt x="343" y="281"/>
                    </a:moveTo>
                    <a:cubicBezTo>
                      <a:pt x="342" y="282"/>
                      <a:pt x="342" y="282"/>
                      <a:pt x="342" y="282"/>
                    </a:cubicBezTo>
                    <a:cubicBezTo>
                      <a:pt x="342" y="282"/>
                      <a:pt x="342" y="282"/>
                      <a:pt x="342" y="282"/>
                    </a:cubicBezTo>
                    <a:lnTo>
                      <a:pt x="343" y="281"/>
                    </a:lnTo>
                    <a:close/>
                    <a:moveTo>
                      <a:pt x="342" y="260"/>
                    </a:moveTo>
                    <a:cubicBezTo>
                      <a:pt x="342" y="260"/>
                      <a:pt x="342" y="261"/>
                      <a:pt x="343" y="262"/>
                    </a:cubicBezTo>
                    <a:cubicBezTo>
                      <a:pt x="342" y="261"/>
                      <a:pt x="342" y="260"/>
                      <a:pt x="342" y="260"/>
                    </a:cubicBezTo>
                    <a:close/>
                    <a:moveTo>
                      <a:pt x="343" y="259"/>
                    </a:moveTo>
                    <a:cubicBezTo>
                      <a:pt x="342" y="259"/>
                      <a:pt x="342" y="259"/>
                      <a:pt x="342" y="259"/>
                    </a:cubicBezTo>
                    <a:cubicBezTo>
                      <a:pt x="342" y="259"/>
                      <a:pt x="342" y="260"/>
                      <a:pt x="342" y="260"/>
                    </a:cubicBezTo>
                    <a:cubicBezTo>
                      <a:pt x="342" y="260"/>
                      <a:pt x="342" y="259"/>
                      <a:pt x="342" y="259"/>
                    </a:cubicBezTo>
                    <a:lnTo>
                      <a:pt x="343" y="259"/>
                    </a:lnTo>
                    <a:close/>
                    <a:moveTo>
                      <a:pt x="342" y="284"/>
                    </a:moveTo>
                    <a:cubicBezTo>
                      <a:pt x="342" y="284"/>
                      <a:pt x="342" y="284"/>
                      <a:pt x="342" y="284"/>
                    </a:cubicBezTo>
                    <a:cubicBezTo>
                      <a:pt x="343" y="286"/>
                      <a:pt x="343" y="286"/>
                      <a:pt x="343" y="286"/>
                    </a:cubicBezTo>
                    <a:lnTo>
                      <a:pt x="342" y="284"/>
                    </a:lnTo>
                    <a:close/>
                    <a:moveTo>
                      <a:pt x="343" y="284"/>
                    </a:moveTo>
                    <a:cubicBezTo>
                      <a:pt x="343" y="283"/>
                      <a:pt x="343" y="283"/>
                      <a:pt x="343" y="283"/>
                    </a:cubicBezTo>
                    <a:cubicBezTo>
                      <a:pt x="343" y="283"/>
                      <a:pt x="343" y="283"/>
                      <a:pt x="343" y="283"/>
                    </a:cubicBezTo>
                    <a:lnTo>
                      <a:pt x="343" y="284"/>
                    </a:lnTo>
                    <a:close/>
                    <a:moveTo>
                      <a:pt x="343" y="280"/>
                    </a:moveTo>
                    <a:cubicBezTo>
                      <a:pt x="343" y="281"/>
                      <a:pt x="343" y="281"/>
                      <a:pt x="343" y="281"/>
                    </a:cubicBezTo>
                    <a:cubicBezTo>
                      <a:pt x="343" y="281"/>
                      <a:pt x="343" y="281"/>
                      <a:pt x="343" y="281"/>
                    </a:cubicBezTo>
                    <a:cubicBezTo>
                      <a:pt x="343" y="280"/>
                      <a:pt x="343" y="280"/>
                      <a:pt x="343" y="280"/>
                    </a:cubicBezTo>
                    <a:cubicBezTo>
                      <a:pt x="344" y="279"/>
                      <a:pt x="344" y="279"/>
                      <a:pt x="344" y="279"/>
                    </a:cubicBezTo>
                    <a:lnTo>
                      <a:pt x="343" y="280"/>
                    </a:lnTo>
                    <a:close/>
                    <a:moveTo>
                      <a:pt x="343" y="263"/>
                    </a:moveTo>
                    <a:cubicBezTo>
                      <a:pt x="343" y="263"/>
                      <a:pt x="343" y="263"/>
                      <a:pt x="343" y="263"/>
                    </a:cubicBezTo>
                    <a:cubicBezTo>
                      <a:pt x="344" y="262"/>
                      <a:pt x="344" y="262"/>
                      <a:pt x="344" y="262"/>
                    </a:cubicBezTo>
                    <a:cubicBezTo>
                      <a:pt x="344" y="262"/>
                      <a:pt x="344" y="262"/>
                      <a:pt x="344" y="262"/>
                    </a:cubicBezTo>
                    <a:lnTo>
                      <a:pt x="343" y="263"/>
                    </a:lnTo>
                    <a:close/>
                    <a:moveTo>
                      <a:pt x="345" y="290"/>
                    </a:moveTo>
                    <a:cubicBezTo>
                      <a:pt x="345" y="291"/>
                      <a:pt x="345" y="291"/>
                      <a:pt x="345" y="291"/>
                    </a:cubicBezTo>
                    <a:cubicBezTo>
                      <a:pt x="345" y="290"/>
                      <a:pt x="345" y="290"/>
                      <a:pt x="345" y="290"/>
                    </a:cubicBezTo>
                    <a:cubicBezTo>
                      <a:pt x="344" y="289"/>
                      <a:pt x="344" y="289"/>
                      <a:pt x="344" y="289"/>
                    </a:cubicBezTo>
                    <a:lnTo>
                      <a:pt x="345" y="290"/>
                    </a:lnTo>
                    <a:close/>
                    <a:moveTo>
                      <a:pt x="346" y="295"/>
                    </a:moveTo>
                    <a:cubicBezTo>
                      <a:pt x="345" y="297"/>
                      <a:pt x="345" y="297"/>
                      <a:pt x="345" y="297"/>
                    </a:cubicBezTo>
                    <a:cubicBezTo>
                      <a:pt x="345" y="297"/>
                      <a:pt x="345" y="299"/>
                      <a:pt x="345" y="299"/>
                    </a:cubicBezTo>
                    <a:cubicBezTo>
                      <a:pt x="345" y="299"/>
                      <a:pt x="345" y="299"/>
                      <a:pt x="345" y="299"/>
                    </a:cubicBezTo>
                    <a:cubicBezTo>
                      <a:pt x="345" y="299"/>
                      <a:pt x="345" y="297"/>
                      <a:pt x="345" y="297"/>
                    </a:cubicBezTo>
                    <a:cubicBezTo>
                      <a:pt x="346" y="295"/>
                      <a:pt x="346" y="295"/>
                      <a:pt x="346" y="295"/>
                    </a:cubicBezTo>
                    <a:cubicBezTo>
                      <a:pt x="346" y="294"/>
                      <a:pt x="346" y="294"/>
                      <a:pt x="346" y="294"/>
                    </a:cubicBezTo>
                    <a:lnTo>
                      <a:pt x="346" y="295"/>
                    </a:lnTo>
                    <a:close/>
                    <a:moveTo>
                      <a:pt x="346" y="301"/>
                    </a:moveTo>
                    <a:cubicBezTo>
                      <a:pt x="347" y="301"/>
                      <a:pt x="347" y="301"/>
                      <a:pt x="347" y="302"/>
                    </a:cubicBezTo>
                    <a:cubicBezTo>
                      <a:pt x="347" y="302"/>
                      <a:pt x="348" y="305"/>
                      <a:pt x="348" y="305"/>
                    </a:cubicBezTo>
                    <a:cubicBezTo>
                      <a:pt x="348" y="308"/>
                      <a:pt x="348" y="308"/>
                      <a:pt x="348" y="308"/>
                    </a:cubicBezTo>
                    <a:cubicBezTo>
                      <a:pt x="348" y="308"/>
                      <a:pt x="348" y="308"/>
                      <a:pt x="348" y="308"/>
                    </a:cubicBezTo>
                    <a:cubicBezTo>
                      <a:pt x="348" y="305"/>
                      <a:pt x="348" y="305"/>
                      <a:pt x="348" y="305"/>
                    </a:cubicBezTo>
                    <a:cubicBezTo>
                      <a:pt x="348" y="305"/>
                      <a:pt x="347" y="302"/>
                      <a:pt x="347" y="302"/>
                    </a:cubicBezTo>
                    <a:cubicBezTo>
                      <a:pt x="347" y="301"/>
                      <a:pt x="347" y="301"/>
                      <a:pt x="346" y="301"/>
                    </a:cubicBezTo>
                    <a:close/>
                    <a:moveTo>
                      <a:pt x="347" y="311"/>
                    </a:moveTo>
                    <a:cubicBezTo>
                      <a:pt x="347" y="314"/>
                      <a:pt x="347" y="314"/>
                      <a:pt x="347" y="314"/>
                    </a:cubicBezTo>
                    <a:cubicBezTo>
                      <a:pt x="347" y="314"/>
                      <a:pt x="347" y="314"/>
                      <a:pt x="347" y="314"/>
                    </a:cubicBezTo>
                    <a:cubicBezTo>
                      <a:pt x="347" y="314"/>
                      <a:pt x="347" y="314"/>
                      <a:pt x="347" y="314"/>
                    </a:cubicBezTo>
                    <a:cubicBezTo>
                      <a:pt x="347" y="311"/>
                      <a:pt x="347" y="311"/>
                      <a:pt x="347" y="311"/>
                    </a:cubicBezTo>
                    <a:cubicBezTo>
                      <a:pt x="348" y="309"/>
                      <a:pt x="348" y="309"/>
                      <a:pt x="348" y="309"/>
                    </a:cubicBezTo>
                    <a:lnTo>
                      <a:pt x="347" y="311"/>
                    </a:lnTo>
                    <a:close/>
                    <a:moveTo>
                      <a:pt x="348" y="308"/>
                    </a:moveTo>
                    <a:cubicBezTo>
                      <a:pt x="348" y="308"/>
                      <a:pt x="348" y="308"/>
                      <a:pt x="348" y="308"/>
                    </a:cubicBezTo>
                    <a:cubicBezTo>
                      <a:pt x="348" y="308"/>
                      <a:pt x="348" y="308"/>
                      <a:pt x="348" y="308"/>
                    </a:cubicBezTo>
                    <a:close/>
                    <a:moveTo>
                      <a:pt x="348" y="268"/>
                    </a:moveTo>
                    <a:cubicBezTo>
                      <a:pt x="349" y="267"/>
                      <a:pt x="349" y="267"/>
                      <a:pt x="349" y="267"/>
                    </a:cubicBezTo>
                    <a:cubicBezTo>
                      <a:pt x="348" y="266"/>
                      <a:pt x="348" y="266"/>
                      <a:pt x="348" y="266"/>
                    </a:cubicBezTo>
                    <a:cubicBezTo>
                      <a:pt x="349" y="267"/>
                      <a:pt x="349" y="267"/>
                      <a:pt x="349" y="267"/>
                    </a:cubicBezTo>
                    <a:lnTo>
                      <a:pt x="348" y="268"/>
                    </a:lnTo>
                    <a:close/>
                    <a:moveTo>
                      <a:pt x="349" y="269"/>
                    </a:moveTo>
                    <a:cubicBezTo>
                      <a:pt x="349" y="269"/>
                      <a:pt x="349" y="269"/>
                      <a:pt x="349" y="269"/>
                    </a:cubicBezTo>
                    <a:cubicBezTo>
                      <a:pt x="351" y="272"/>
                      <a:pt x="351" y="272"/>
                      <a:pt x="351" y="272"/>
                    </a:cubicBezTo>
                    <a:cubicBezTo>
                      <a:pt x="351" y="273"/>
                      <a:pt x="351" y="273"/>
                      <a:pt x="351" y="273"/>
                    </a:cubicBezTo>
                    <a:cubicBezTo>
                      <a:pt x="351" y="273"/>
                      <a:pt x="351" y="273"/>
                      <a:pt x="351" y="273"/>
                    </a:cubicBezTo>
                    <a:cubicBezTo>
                      <a:pt x="351" y="272"/>
                      <a:pt x="351" y="272"/>
                      <a:pt x="351" y="272"/>
                    </a:cubicBezTo>
                    <a:lnTo>
                      <a:pt x="349" y="269"/>
                    </a:lnTo>
                    <a:close/>
                    <a:moveTo>
                      <a:pt x="351" y="280"/>
                    </a:moveTo>
                    <a:cubicBezTo>
                      <a:pt x="351" y="280"/>
                      <a:pt x="351" y="279"/>
                      <a:pt x="352" y="279"/>
                    </a:cubicBezTo>
                    <a:cubicBezTo>
                      <a:pt x="351" y="279"/>
                      <a:pt x="351" y="280"/>
                      <a:pt x="351" y="280"/>
                    </a:cubicBezTo>
                    <a:close/>
                    <a:moveTo>
                      <a:pt x="352" y="278"/>
                    </a:moveTo>
                    <a:cubicBezTo>
                      <a:pt x="352" y="278"/>
                      <a:pt x="352" y="278"/>
                      <a:pt x="352" y="278"/>
                    </a:cubicBezTo>
                    <a:cubicBezTo>
                      <a:pt x="352" y="278"/>
                      <a:pt x="352" y="278"/>
                      <a:pt x="352" y="278"/>
                    </a:cubicBezTo>
                    <a:close/>
                    <a:moveTo>
                      <a:pt x="353" y="280"/>
                    </a:moveTo>
                    <a:cubicBezTo>
                      <a:pt x="354" y="280"/>
                      <a:pt x="354" y="280"/>
                      <a:pt x="354" y="280"/>
                    </a:cubicBezTo>
                    <a:cubicBezTo>
                      <a:pt x="354" y="280"/>
                      <a:pt x="354" y="280"/>
                      <a:pt x="354" y="280"/>
                    </a:cubicBezTo>
                    <a:lnTo>
                      <a:pt x="353" y="280"/>
                    </a:lnTo>
                    <a:close/>
                    <a:moveTo>
                      <a:pt x="354" y="285"/>
                    </a:moveTo>
                    <a:cubicBezTo>
                      <a:pt x="354" y="285"/>
                      <a:pt x="354" y="285"/>
                      <a:pt x="354" y="285"/>
                    </a:cubicBezTo>
                    <a:cubicBezTo>
                      <a:pt x="354" y="285"/>
                      <a:pt x="354" y="285"/>
                      <a:pt x="354" y="285"/>
                    </a:cubicBezTo>
                    <a:close/>
                    <a:moveTo>
                      <a:pt x="353" y="287"/>
                    </a:moveTo>
                    <a:cubicBezTo>
                      <a:pt x="354" y="287"/>
                      <a:pt x="354" y="287"/>
                      <a:pt x="354" y="287"/>
                    </a:cubicBezTo>
                    <a:cubicBezTo>
                      <a:pt x="353" y="287"/>
                      <a:pt x="353" y="287"/>
                      <a:pt x="353" y="287"/>
                    </a:cubicBezTo>
                    <a:close/>
                    <a:moveTo>
                      <a:pt x="354" y="288"/>
                    </a:moveTo>
                    <a:cubicBezTo>
                      <a:pt x="353" y="287"/>
                      <a:pt x="353" y="287"/>
                      <a:pt x="353" y="287"/>
                    </a:cubicBezTo>
                    <a:cubicBezTo>
                      <a:pt x="354" y="288"/>
                      <a:pt x="354" y="288"/>
                      <a:pt x="354" y="288"/>
                    </a:cubicBezTo>
                    <a:cubicBezTo>
                      <a:pt x="354" y="287"/>
                      <a:pt x="354" y="287"/>
                      <a:pt x="354" y="287"/>
                    </a:cubicBezTo>
                    <a:lnTo>
                      <a:pt x="354" y="288"/>
                    </a:lnTo>
                    <a:close/>
                    <a:moveTo>
                      <a:pt x="354" y="284"/>
                    </a:moveTo>
                    <a:cubicBezTo>
                      <a:pt x="354" y="284"/>
                      <a:pt x="354" y="284"/>
                      <a:pt x="354" y="284"/>
                    </a:cubicBezTo>
                    <a:cubicBezTo>
                      <a:pt x="354" y="284"/>
                      <a:pt x="354" y="284"/>
                      <a:pt x="354" y="284"/>
                    </a:cubicBezTo>
                    <a:cubicBezTo>
                      <a:pt x="354" y="284"/>
                      <a:pt x="354" y="284"/>
                      <a:pt x="354" y="284"/>
                    </a:cubicBezTo>
                    <a:cubicBezTo>
                      <a:pt x="355" y="281"/>
                      <a:pt x="355" y="281"/>
                      <a:pt x="355" y="281"/>
                    </a:cubicBezTo>
                    <a:cubicBezTo>
                      <a:pt x="354" y="281"/>
                      <a:pt x="354" y="281"/>
                      <a:pt x="354" y="281"/>
                    </a:cubicBezTo>
                    <a:cubicBezTo>
                      <a:pt x="355" y="281"/>
                      <a:pt x="355" y="281"/>
                      <a:pt x="355" y="281"/>
                    </a:cubicBezTo>
                    <a:lnTo>
                      <a:pt x="354" y="284"/>
                    </a:lnTo>
                    <a:close/>
                    <a:moveTo>
                      <a:pt x="354" y="273"/>
                    </a:moveTo>
                    <a:cubicBezTo>
                      <a:pt x="354" y="272"/>
                      <a:pt x="354" y="272"/>
                      <a:pt x="354" y="272"/>
                    </a:cubicBezTo>
                    <a:cubicBezTo>
                      <a:pt x="352" y="273"/>
                      <a:pt x="352" y="273"/>
                      <a:pt x="352" y="273"/>
                    </a:cubicBezTo>
                    <a:cubicBezTo>
                      <a:pt x="352" y="275"/>
                      <a:pt x="352" y="275"/>
                      <a:pt x="352" y="275"/>
                    </a:cubicBezTo>
                    <a:cubicBezTo>
                      <a:pt x="351" y="276"/>
                      <a:pt x="351" y="276"/>
                      <a:pt x="351" y="276"/>
                    </a:cubicBezTo>
                    <a:cubicBezTo>
                      <a:pt x="351" y="276"/>
                      <a:pt x="351" y="277"/>
                      <a:pt x="351" y="277"/>
                    </a:cubicBezTo>
                    <a:cubicBezTo>
                      <a:pt x="351" y="277"/>
                      <a:pt x="351" y="276"/>
                      <a:pt x="351" y="276"/>
                    </a:cubicBezTo>
                    <a:cubicBezTo>
                      <a:pt x="352" y="275"/>
                      <a:pt x="352" y="275"/>
                      <a:pt x="352" y="275"/>
                    </a:cubicBezTo>
                    <a:cubicBezTo>
                      <a:pt x="352" y="273"/>
                      <a:pt x="352" y="273"/>
                      <a:pt x="352" y="273"/>
                    </a:cubicBezTo>
                    <a:cubicBezTo>
                      <a:pt x="354" y="272"/>
                      <a:pt x="354" y="272"/>
                      <a:pt x="354" y="272"/>
                    </a:cubicBezTo>
                    <a:cubicBezTo>
                      <a:pt x="354" y="273"/>
                      <a:pt x="354" y="273"/>
                      <a:pt x="354" y="273"/>
                    </a:cubicBezTo>
                    <a:cubicBezTo>
                      <a:pt x="356" y="273"/>
                      <a:pt x="356" y="273"/>
                      <a:pt x="356" y="273"/>
                    </a:cubicBezTo>
                    <a:lnTo>
                      <a:pt x="354" y="273"/>
                    </a:lnTo>
                    <a:close/>
                    <a:moveTo>
                      <a:pt x="355" y="272"/>
                    </a:moveTo>
                    <a:cubicBezTo>
                      <a:pt x="355" y="272"/>
                      <a:pt x="355" y="271"/>
                      <a:pt x="355" y="271"/>
                    </a:cubicBezTo>
                    <a:cubicBezTo>
                      <a:pt x="355" y="271"/>
                      <a:pt x="355" y="272"/>
                      <a:pt x="355" y="272"/>
                    </a:cubicBezTo>
                    <a:close/>
                    <a:moveTo>
                      <a:pt x="355" y="272"/>
                    </a:moveTo>
                    <a:cubicBezTo>
                      <a:pt x="355" y="272"/>
                      <a:pt x="355" y="272"/>
                      <a:pt x="355" y="272"/>
                    </a:cubicBezTo>
                    <a:cubicBezTo>
                      <a:pt x="355" y="272"/>
                      <a:pt x="355" y="272"/>
                      <a:pt x="355" y="272"/>
                    </a:cubicBezTo>
                    <a:cubicBezTo>
                      <a:pt x="355" y="272"/>
                      <a:pt x="355" y="272"/>
                      <a:pt x="355" y="272"/>
                    </a:cubicBezTo>
                    <a:close/>
                    <a:moveTo>
                      <a:pt x="355" y="269"/>
                    </a:moveTo>
                    <a:cubicBezTo>
                      <a:pt x="355" y="269"/>
                      <a:pt x="355" y="269"/>
                      <a:pt x="355" y="269"/>
                    </a:cubicBezTo>
                    <a:cubicBezTo>
                      <a:pt x="357" y="268"/>
                      <a:pt x="357" y="268"/>
                      <a:pt x="357" y="268"/>
                    </a:cubicBezTo>
                    <a:cubicBezTo>
                      <a:pt x="357" y="268"/>
                      <a:pt x="357" y="268"/>
                      <a:pt x="357" y="268"/>
                    </a:cubicBezTo>
                    <a:lnTo>
                      <a:pt x="355" y="269"/>
                    </a:lnTo>
                    <a:close/>
                    <a:moveTo>
                      <a:pt x="356" y="184"/>
                    </a:moveTo>
                    <a:cubicBezTo>
                      <a:pt x="352" y="182"/>
                      <a:pt x="352" y="184"/>
                      <a:pt x="352" y="184"/>
                    </a:cubicBezTo>
                    <a:cubicBezTo>
                      <a:pt x="352" y="184"/>
                      <a:pt x="352" y="184"/>
                      <a:pt x="352" y="184"/>
                    </a:cubicBezTo>
                    <a:cubicBezTo>
                      <a:pt x="352" y="184"/>
                      <a:pt x="352" y="182"/>
                      <a:pt x="356" y="184"/>
                    </a:cubicBezTo>
                    <a:cubicBezTo>
                      <a:pt x="360" y="186"/>
                      <a:pt x="360" y="186"/>
                      <a:pt x="360" y="186"/>
                    </a:cubicBezTo>
                    <a:cubicBezTo>
                      <a:pt x="360" y="186"/>
                      <a:pt x="361" y="186"/>
                      <a:pt x="361" y="187"/>
                    </a:cubicBezTo>
                    <a:cubicBezTo>
                      <a:pt x="361" y="186"/>
                      <a:pt x="360" y="186"/>
                      <a:pt x="360" y="186"/>
                    </a:cubicBezTo>
                    <a:lnTo>
                      <a:pt x="356" y="184"/>
                    </a:lnTo>
                    <a:close/>
                    <a:moveTo>
                      <a:pt x="359" y="267"/>
                    </a:moveTo>
                    <a:cubicBezTo>
                      <a:pt x="359" y="267"/>
                      <a:pt x="359" y="267"/>
                      <a:pt x="359" y="267"/>
                    </a:cubicBezTo>
                    <a:cubicBezTo>
                      <a:pt x="360" y="268"/>
                      <a:pt x="360" y="268"/>
                      <a:pt x="360" y="268"/>
                    </a:cubicBezTo>
                    <a:cubicBezTo>
                      <a:pt x="360" y="268"/>
                      <a:pt x="360" y="268"/>
                      <a:pt x="360" y="268"/>
                    </a:cubicBezTo>
                    <a:lnTo>
                      <a:pt x="359" y="267"/>
                    </a:lnTo>
                    <a:close/>
                    <a:moveTo>
                      <a:pt x="360" y="274"/>
                    </a:moveTo>
                    <a:cubicBezTo>
                      <a:pt x="360" y="274"/>
                      <a:pt x="360" y="274"/>
                      <a:pt x="360" y="274"/>
                    </a:cubicBezTo>
                    <a:cubicBezTo>
                      <a:pt x="360" y="274"/>
                      <a:pt x="360" y="274"/>
                      <a:pt x="360" y="274"/>
                    </a:cubicBezTo>
                    <a:close/>
                    <a:moveTo>
                      <a:pt x="358" y="308"/>
                    </a:moveTo>
                    <a:cubicBezTo>
                      <a:pt x="358" y="307"/>
                      <a:pt x="358" y="307"/>
                      <a:pt x="358" y="307"/>
                    </a:cubicBezTo>
                    <a:cubicBezTo>
                      <a:pt x="358" y="307"/>
                      <a:pt x="358" y="307"/>
                      <a:pt x="358" y="307"/>
                    </a:cubicBezTo>
                    <a:cubicBezTo>
                      <a:pt x="358" y="307"/>
                      <a:pt x="358" y="307"/>
                      <a:pt x="358" y="307"/>
                    </a:cubicBezTo>
                    <a:cubicBezTo>
                      <a:pt x="358" y="307"/>
                      <a:pt x="358" y="307"/>
                      <a:pt x="358" y="308"/>
                    </a:cubicBezTo>
                    <a:close/>
                    <a:moveTo>
                      <a:pt x="366" y="314"/>
                    </a:moveTo>
                    <a:cubicBezTo>
                      <a:pt x="366" y="314"/>
                      <a:pt x="366" y="314"/>
                      <a:pt x="366" y="314"/>
                    </a:cubicBezTo>
                    <a:cubicBezTo>
                      <a:pt x="366" y="315"/>
                      <a:pt x="366" y="315"/>
                      <a:pt x="366" y="315"/>
                    </a:cubicBezTo>
                    <a:lnTo>
                      <a:pt x="366" y="314"/>
                    </a:lnTo>
                    <a:close/>
                    <a:moveTo>
                      <a:pt x="366" y="301"/>
                    </a:moveTo>
                    <a:cubicBezTo>
                      <a:pt x="365" y="301"/>
                      <a:pt x="365" y="301"/>
                      <a:pt x="365" y="301"/>
                    </a:cubicBezTo>
                    <a:cubicBezTo>
                      <a:pt x="366" y="301"/>
                      <a:pt x="366" y="301"/>
                      <a:pt x="366" y="301"/>
                    </a:cubicBezTo>
                    <a:cubicBezTo>
                      <a:pt x="367" y="301"/>
                      <a:pt x="367" y="301"/>
                      <a:pt x="367" y="301"/>
                    </a:cubicBezTo>
                    <a:lnTo>
                      <a:pt x="366" y="301"/>
                    </a:lnTo>
                    <a:close/>
                    <a:moveTo>
                      <a:pt x="368" y="298"/>
                    </a:moveTo>
                    <a:cubicBezTo>
                      <a:pt x="368" y="298"/>
                      <a:pt x="367" y="300"/>
                      <a:pt x="367" y="300"/>
                    </a:cubicBezTo>
                    <a:cubicBezTo>
                      <a:pt x="366" y="300"/>
                      <a:pt x="366" y="300"/>
                      <a:pt x="366" y="300"/>
                    </a:cubicBezTo>
                    <a:cubicBezTo>
                      <a:pt x="365" y="300"/>
                      <a:pt x="365" y="300"/>
                      <a:pt x="365" y="300"/>
                    </a:cubicBezTo>
                    <a:cubicBezTo>
                      <a:pt x="365" y="300"/>
                      <a:pt x="365" y="300"/>
                      <a:pt x="365" y="300"/>
                    </a:cubicBezTo>
                    <a:cubicBezTo>
                      <a:pt x="363" y="300"/>
                      <a:pt x="363" y="300"/>
                      <a:pt x="363" y="300"/>
                    </a:cubicBezTo>
                    <a:cubicBezTo>
                      <a:pt x="360" y="300"/>
                      <a:pt x="360" y="300"/>
                      <a:pt x="360" y="300"/>
                    </a:cubicBezTo>
                    <a:cubicBezTo>
                      <a:pt x="359" y="301"/>
                      <a:pt x="359" y="301"/>
                      <a:pt x="359" y="301"/>
                    </a:cubicBezTo>
                    <a:cubicBezTo>
                      <a:pt x="358" y="303"/>
                      <a:pt x="358" y="303"/>
                      <a:pt x="358" y="303"/>
                    </a:cubicBezTo>
                    <a:cubicBezTo>
                      <a:pt x="357" y="304"/>
                      <a:pt x="357" y="304"/>
                      <a:pt x="357" y="304"/>
                    </a:cubicBezTo>
                    <a:cubicBezTo>
                      <a:pt x="358" y="307"/>
                      <a:pt x="358" y="307"/>
                      <a:pt x="358" y="307"/>
                    </a:cubicBezTo>
                    <a:cubicBezTo>
                      <a:pt x="358" y="307"/>
                      <a:pt x="358" y="307"/>
                      <a:pt x="358" y="307"/>
                    </a:cubicBezTo>
                    <a:cubicBezTo>
                      <a:pt x="357" y="304"/>
                      <a:pt x="357" y="304"/>
                      <a:pt x="357" y="304"/>
                    </a:cubicBezTo>
                    <a:cubicBezTo>
                      <a:pt x="358" y="303"/>
                      <a:pt x="358" y="303"/>
                      <a:pt x="358" y="303"/>
                    </a:cubicBezTo>
                    <a:cubicBezTo>
                      <a:pt x="359" y="301"/>
                      <a:pt x="359" y="301"/>
                      <a:pt x="359" y="301"/>
                    </a:cubicBezTo>
                    <a:cubicBezTo>
                      <a:pt x="360" y="300"/>
                      <a:pt x="360" y="300"/>
                      <a:pt x="360" y="300"/>
                    </a:cubicBezTo>
                    <a:cubicBezTo>
                      <a:pt x="363" y="300"/>
                      <a:pt x="363" y="300"/>
                      <a:pt x="363" y="300"/>
                    </a:cubicBezTo>
                    <a:cubicBezTo>
                      <a:pt x="365" y="300"/>
                      <a:pt x="365" y="300"/>
                      <a:pt x="365" y="300"/>
                    </a:cubicBezTo>
                    <a:cubicBezTo>
                      <a:pt x="366" y="300"/>
                      <a:pt x="366" y="300"/>
                      <a:pt x="366" y="300"/>
                    </a:cubicBezTo>
                    <a:cubicBezTo>
                      <a:pt x="367" y="300"/>
                      <a:pt x="367" y="300"/>
                      <a:pt x="367" y="300"/>
                    </a:cubicBezTo>
                    <a:cubicBezTo>
                      <a:pt x="367" y="300"/>
                      <a:pt x="368" y="298"/>
                      <a:pt x="368" y="298"/>
                    </a:cubicBezTo>
                    <a:cubicBezTo>
                      <a:pt x="368" y="297"/>
                      <a:pt x="368" y="296"/>
                      <a:pt x="368" y="295"/>
                    </a:cubicBezTo>
                    <a:cubicBezTo>
                      <a:pt x="368" y="295"/>
                      <a:pt x="368" y="295"/>
                      <a:pt x="368" y="295"/>
                    </a:cubicBezTo>
                    <a:cubicBezTo>
                      <a:pt x="368" y="295"/>
                      <a:pt x="368" y="295"/>
                      <a:pt x="368" y="295"/>
                    </a:cubicBezTo>
                    <a:cubicBezTo>
                      <a:pt x="368" y="296"/>
                      <a:pt x="368" y="297"/>
                      <a:pt x="368" y="298"/>
                    </a:cubicBezTo>
                    <a:close/>
                    <a:moveTo>
                      <a:pt x="365" y="291"/>
                    </a:moveTo>
                    <a:cubicBezTo>
                      <a:pt x="365" y="291"/>
                      <a:pt x="366" y="291"/>
                      <a:pt x="366" y="292"/>
                    </a:cubicBezTo>
                    <a:cubicBezTo>
                      <a:pt x="366" y="291"/>
                      <a:pt x="365" y="291"/>
                      <a:pt x="365" y="291"/>
                    </a:cubicBezTo>
                    <a:cubicBezTo>
                      <a:pt x="365" y="291"/>
                      <a:pt x="365" y="290"/>
                      <a:pt x="365" y="290"/>
                    </a:cubicBezTo>
                    <a:cubicBezTo>
                      <a:pt x="365" y="290"/>
                      <a:pt x="365" y="291"/>
                      <a:pt x="365" y="291"/>
                    </a:cubicBezTo>
                    <a:close/>
                    <a:moveTo>
                      <a:pt x="365" y="289"/>
                    </a:moveTo>
                    <a:cubicBezTo>
                      <a:pt x="366" y="289"/>
                      <a:pt x="366" y="289"/>
                      <a:pt x="366" y="289"/>
                    </a:cubicBezTo>
                    <a:cubicBezTo>
                      <a:pt x="366" y="289"/>
                      <a:pt x="366" y="289"/>
                      <a:pt x="366" y="289"/>
                    </a:cubicBezTo>
                    <a:lnTo>
                      <a:pt x="365" y="289"/>
                    </a:lnTo>
                    <a:close/>
                    <a:moveTo>
                      <a:pt x="367" y="294"/>
                    </a:moveTo>
                    <a:cubicBezTo>
                      <a:pt x="367" y="294"/>
                      <a:pt x="367" y="293"/>
                      <a:pt x="367" y="293"/>
                    </a:cubicBezTo>
                    <a:cubicBezTo>
                      <a:pt x="367" y="293"/>
                      <a:pt x="367" y="293"/>
                      <a:pt x="367" y="293"/>
                    </a:cubicBezTo>
                    <a:cubicBezTo>
                      <a:pt x="367" y="293"/>
                      <a:pt x="367" y="294"/>
                      <a:pt x="367" y="294"/>
                    </a:cubicBezTo>
                    <a:close/>
                    <a:moveTo>
                      <a:pt x="370" y="313"/>
                    </a:moveTo>
                    <a:cubicBezTo>
                      <a:pt x="370" y="314"/>
                      <a:pt x="370" y="314"/>
                      <a:pt x="370" y="314"/>
                    </a:cubicBezTo>
                    <a:cubicBezTo>
                      <a:pt x="369" y="314"/>
                      <a:pt x="369" y="314"/>
                      <a:pt x="369" y="314"/>
                    </a:cubicBezTo>
                    <a:cubicBezTo>
                      <a:pt x="369" y="314"/>
                      <a:pt x="369" y="314"/>
                      <a:pt x="369" y="314"/>
                    </a:cubicBezTo>
                    <a:cubicBezTo>
                      <a:pt x="370" y="314"/>
                      <a:pt x="370" y="314"/>
                      <a:pt x="370" y="314"/>
                    </a:cubicBezTo>
                    <a:cubicBezTo>
                      <a:pt x="370" y="313"/>
                      <a:pt x="370" y="313"/>
                      <a:pt x="370" y="313"/>
                    </a:cubicBezTo>
                    <a:close/>
                    <a:moveTo>
                      <a:pt x="369" y="312"/>
                    </a:moveTo>
                    <a:cubicBezTo>
                      <a:pt x="369" y="311"/>
                      <a:pt x="369" y="311"/>
                      <a:pt x="369" y="311"/>
                    </a:cubicBezTo>
                    <a:cubicBezTo>
                      <a:pt x="369" y="311"/>
                      <a:pt x="369" y="311"/>
                      <a:pt x="369" y="311"/>
                    </a:cubicBezTo>
                    <a:cubicBezTo>
                      <a:pt x="369" y="312"/>
                      <a:pt x="369" y="312"/>
                      <a:pt x="369" y="312"/>
                    </a:cubicBezTo>
                    <a:cubicBezTo>
                      <a:pt x="370" y="313"/>
                      <a:pt x="370" y="313"/>
                      <a:pt x="370" y="313"/>
                    </a:cubicBezTo>
                    <a:lnTo>
                      <a:pt x="369" y="312"/>
                    </a:lnTo>
                    <a:close/>
                    <a:moveTo>
                      <a:pt x="370" y="300"/>
                    </a:moveTo>
                    <a:cubicBezTo>
                      <a:pt x="369" y="302"/>
                      <a:pt x="369" y="302"/>
                      <a:pt x="369" y="302"/>
                    </a:cubicBezTo>
                    <a:cubicBezTo>
                      <a:pt x="369" y="302"/>
                      <a:pt x="369" y="302"/>
                      <a:pt x="369" y="302"/>
                    </a:cubicBezTo>
                    <a:cubicBezTo>
                      <a:pt x="368" y="301"/>
                      <a:pt x="368" y="301"/>
                      <a:pt x="368" y="301"/>
                    </a:cubicBezTo>
                    <a:cubicBezTo>
                      <a:pt x="369" y="302"/>
                      <a:pt x="369" y="302"/>
                      <a:pt x="369" y="302"/>
                    </a:cubicBezTo>
                    <a:cubicBezTo>
                      <a:pt x="369" y="302"/>
                      <a:pt x="369" y="302"/>
                      <a:pt x="369" y="302"/>
                    </a:cubicBezTo>
                    <a:cubicBezTo>
                      <a:pt x="370" y="300"/>
                      <a:pt x="370" y="300"/>
                      <a:pt x="370" y="300"/>
                    </a:cubicBezTo>
                    <a:cubicBezTo>
                      <a:pt x="370" y="299"/>
                      <a:pt x="370" y="299"/>
                      <a:pt x="370" y="299"/>
                    </a:cubicBezTo>
                    <a:cubicBezTo>
                      <a:pt x="370" y="299"/>
                      <a:pt x="370" y="299"/>
                      <a:pt x="370" y="300"/>
                    </a:cubicBezTo>
                    <a:close/>
                    <a:moveTo>
                      <a:pt x="370" y="289"/>
                    </a:moveTo>
                    <a:cubicBezTo>
                      <a:pt x="370" y="289"/>
                      <a:pt x="370" y="289"/>
                      <a:pt x="370" y="289"/>
                    </a:cubicBezTo>
                    <a:cubicBezTo>
                      <a:pt x="368" y="286"/>
                      <a:pt x="368" y="286"/>
                      <a:pt x="368" y="286"/>
                    </a:cubicBezTo>
                    <a:cubicBezTo>
                      <a:pt x="365" y="282"/>
                      <a:pt x="365" y="282"/>
                      <a:pt x="365" y="282"/>
                    </a:cubicBezTo>
                    <a:cubicBezTo>
                      <a:pt x="365" y="282"/>
                      <a:pt x="365" y="282"/>
                      <a:pt x="365" y="282"/>
                    </a:cubicBezTo>
                    <a:cubicBezTo>
                      <a:pt x="368" y="286"/>
                      <a:pt x="368" y="286"/>
                      <a:pt x="368" y="286"/>
                    </a:cubicBezTo>
                    <a:lnTo>
                      <a:pt x="370" y="289"/>
                    </a:lnTo>
                    <a:close/>
                    <a:moveTo>
                      <a:pt x="370" y="148"/>
                    </a:moveTo>
                    <a:cubicBezTo>
                      <a:pt x="370" y="148"/>
                      <a:pt x="370" y="148"/>
                      <a:pt x="370" y="148"/>
                    </a:cubicBezTo>
                    <a:cubicBezTo>
                      <a:pt x="371" y="148"/>
                      <a:pt x="371" y="148"/>
                      <a:pt x="371" y="148"/>
                    </a:cubicBezTo>
                    <a:lnTo>
                      <a:pt x="370" y="148"/>
                    </a:lnTo>
                    <a:close/>
                    <a:moveTo>
                      <a:pt x="373" y="149"/>
                    </a:moveTo>
                    <a:cubicBezTo>
                      <a:pt x="374" y="149"/>
                      <a:pt x="375" y="150"/>
                      <a:pt x="375" y="150"/>
                    </a:cubicBezTo>
                    <a:cubicBezTo>
                      <a:pt x="375" y="150"/>
                      <a:pt x="374" y="149"/>
                      <a:pt x="373" y="149"/>
                    </a:cubicBezTo>
                    <a:close/>
                    <a:moveTo>
                      <a:pt x="376" y="151"/>
                    </a:moveTo>
                    <a:cubicBezTo>
                      <a:pt x="375" y="150"/>
                      <a:pt x="375" y="150"/>
                      <a:pt x="375" y="150"/>
                    </a:cubicBezTo>
                    <a:cubicBezTo>
                      <a:pt x="376" y="151"/>
                      <a:pt x="376" y="151"/>
                      <a:pt x="376" y="151"/>
                    </a:cubicBezTo>
                    <a:cubicBezTo>
                      <a:pt x="377" y="152"/>
                      <a:pt x="377" y="152"/>
                      <a:pt x="377" y="152"/>
                    </a:cubicBezTo>
                    <a:lnTo>
                      <a:pt x="376" y="151"/>
                    </a:lnTo>
                    <a:close/>
                    <a:moveTo>
                      <a:pt x="383" y="153"/>
                    </a:moveTo>
                    <a:cubicBezTo>
                      <a:pt x="382" y="154"/>
                      <a:pt x="382" y="153"/>
                      <a:pt x="381" y="153"/>
                    </a:cubicBezTo>
                    <a:cubicBezTo>
                      <a:pt x="379" y="153"/>
                      <a:pt x="379" y="153"/>
                      <a:pt x="379" y="153"/>
                    </a:cubicBezTo>
                    <a:cubicBezTo>
                      <a:pt x="379" y="153"/>
                      <a:pt x="379" y="153"/>
                      <a:pt x="381" y="153"/>
                    </a:cubicBezTo>
                    <a:cubicBezTo>
                      <a:pt x="382" y="153"/>
                      <a:pt x="382" y="154"/>
                      <a:pt x="383" y="153"/>
                    </a:cubicBezTo>
                    <a:cubicBezTo>
                      <a:pt x="384" y="153"/>
                      <a:pt x="385" y="153"/>
                      <a:pt x="385" y="153"/>
                    </a:cubicBezTo>
                    <a:cubicBezTo>
                      <a:pt x="385" y="153"/>
                      <a:pt x="384" y="153"/>
                      <a:pt x="383" y="153"/>
                    </a:cubicBezTo>
                    <a:close/>
                    <a:moveTo>
                      <a:pt x="387" y="179"/>
                    </a:moveTo>
                    <a:cubicBezTo>
                      <a:pt x="387" y="179"/>
                      <a:pt x="387" y="179"/>
                      <a:pt x="386" y="180"/>
                    </a:cubicBezTo>
                    <a:cubicBezTo>
                      <a:pt x="386" y="180"/>
                      <a:pt x="385" y="180"/>
                      <a:pt x="385" y="181"/>
                    </a:cubicBezTo>
                    <a:cubicBezTo>
                      <a:pt x="385" y="180"/>
                      <a:pt x="386" y="180"/>
                      <a:pt x="386" y="180"/>
                    </a:cubicBezTo>
                    <a:cubicBezTo>
                      <a:pt x="387" y="179"/>
                      <a:pt x="387" y="179"/>
                      <a:pt x="387" y="179"/>
                    </a:cubicBezTo>
                    <a:cubicBezTo>
                      <a:pt x="388" y="178"/>
                      <a:pt x="388" y="178"/>
                      <a:pt x="388" y="178"/>
                    </a:cubicBezTo>
                    <a:cubicBezTo>
                      <a:pt x="388" y="178"/>
                      <a:pt x="388" y="178"/>
                      <a:pt x="388" y="178"/>
                    </a:cubicBezTo>
                    <a:lnTo>
                      <a:pt x="387" y="179"/>
                    </a:lnTo>
                    <a:close/>
                    <a:moveTo>
                      <a:pt x="387" y="175"/>
                    </a:moveTo>
                    <a:cubicBezTo>
                      <a:pt x="387" y="176"/>
                      <a:pt x="387" y="176"/>
                      <a:pt x="387" y="176"/>
                    </a:cubicBezTo>
                    <a:cubicBezTo>
                      <a:pt x="387" y="175"/>
                      <a:pt x="387" y="175"/>
                      <a:pt x="387" y="175"/>
                    </a:cubicBezTo>
                    <a:cubicBezTo>
                      <a:pt x="389" y="172"/>
                      <a:pt x="389" y="172"/>
                      <a:pt x="389" y="172"/>
                    </a:cubicBezTo>
                    <a:cubicBezTo>
                      <a:pt x="389" y="172"/>
                      <a:pt x="389" y="172"/>
                      <a:pt x="389" y="172"/>
                    </a:cubicBezTo>
                    <a:lnTo>
                      <a:pt x="387" y="175"/>
                    </a:lnTo>
                    <a:close/>
                    <a:moveTo>
                      <a:pt x="390" y="173"/>
                    </a:moveTo>
                    <a:cubicBezTo>
                      <a:pt x="389" y="173"/>
                      <a:pt x="389" y="173"/>
                      <a:pt x="389" y="173"/>
                    </a:cubicBezTo>
                    <a:cubicBezTo>
                      <a:pt x="390" y="173"/>
                      <a:pt x="390" y="173"/>
                      <a:pt x="390" y="173"/>
                    </a:cubicBezTo>
                    <a:cubicBezTo>
                      <a:pt x="391" y="173"/>
                      <a:pt x="391" y="173"/>
                      <a:pt x="391" y="173"/>
                    </a:cubicBezTo>
                    <a:lnTo>
                      <a:pt x="390" y="173"/>
                    </a:lnTo>
                    <a:close/>
                    <a:moveTo>
                      <a:pt x="395" y="149"/>
                    </a:moveTo>
                    <a:cubicBezTo>
                      <a:pt x="395" y="149"/>
                      <a:pt x="395" y="149"/>
                      <a:pt x="395" y="149"/>
                    </a:cubicBezTo>
                    <a:cubicBezTo>
                      <a:pt x="395" y="149"/>
                      <a:pt x="395" y="149"/>
                      <a:pt x="395" y="149"/>
                    </a:cubicBezTo>
                    <a:close/>
                    <a:moveTo>
                      <a:pt x="394" y="174"/>
                    </a:moveTo>
                    <a:cubicBezTo>
                      <a:pt x="393" y="174"/>
                      <a:pt x="393" y="174"/>
                      <a:pt x="392" y="174"/>
                    </a:cubicBezTo>
                    <a:cubicBezTo>
                      <a:pt x="393" y="174"/>
                      <a:pt x="393" y="174"/>
                      <a:pt x="394" y="174"/>
                    </a:cubicBezTo>
                    <a:cubicBezTo>
                      <a:pt x="394" y="174"/>
                      <a:pt x="396" y="173"/>
                      <a:pt x="397" y="172"/>
                    </a:cubicBezTo>
                    <a:cubicBezTo>
                      <a:pt x="396" y="173"/>
                      <a:pt x="394" y="174"/>
                      <a:pt x="394" y="174"/>
                    </a:cubicBezTo>
                    <a:close/>
                    <a:moveTo>
                      <a:pt x="397" y="172"/>
                    </a:moveTo>
                    <a:cubicBezTo>
                      <a:pt x="397" y="172"/>
                      <a:pt x="397" y="172"/>
                      <a:pt x="397" y="172"/>
                    </a:cubicBezTo>
                    <a:cubicBezTo>
                      <a:pt x="397" y="172"/>
                      <a:pt x="397" y="172"/>
                      <a:pt x="397" y="172"/>
                    </a:cubicBezTo>
                    <a:close/>
                    <a:moveTo>
                      <a:pt x="397" y="149"/>
                    </a:moveTo>
                    <a:cubicBezTo>
                      <a:pt x="396" y="149"/>
                      <a:pt x="395" y="149"/>
                      <a:pt x="395" y="149"/>
                    </a:cubicBezTo>
                    <a:cubicBezTo>
                      <a:pt x="395" y="149"/>
                      <a:pt x="396" y="149"/>
                      <a:pt x="397" y="149"/>
                    </a:cubicBezTo>
                    <a:cubicBezTo>
                      <a:pt x="397" y="149"/>
                      <a:pt x="398" y="149"/>
                      <a:pt x="399" y="149"/>
                    </a:cubicBezTo>
                    <a:cubicBezTo>
                      <a:pt x="398" y="149"/>
                      <a:pt x="397" y="149"/>
                      <a:pt x="397" y="149"/>
                    </a:cubicBezTo>
                    <a:close/>
                    <a:moveTo>
                      <a:pt x="400" y="158"/>
                    </a:moveTo>
                    <a:cubicBezTo>
                      <a:pt x="400" y="158"/>
                      <a:pt x="400" y="158"/>
                      <a:pt x="400" y="158"/>
                    </a:cubicBezTo>
                    <a:cubicBezTo>
                      <a:pt x="400" y="158"/>
                      <a:pt x="400" y="158"/>
                      <a:pt x="400" y="158"/>
                    </a:cubicBezTo>
                    <a:cubicBezTo>
                      <a:pt x="400" y="158"/>
                      <a:pt x="400" y="158"/>
                      <a:pt x="400" y="158"/>
                    </a:cubicBezTo>
                    <a:close/>
                    <a:moveTo>
                      <a:pt x="410" y="150"/>
                    </a:moveTo>
                    <a:cubicBezTo>
                      <a:pt x="413" y="149"/>
                      <a:pt x="413" y="149"/>
                      <a:pt x="413" y="149"/>
                    </a:cubicBezTo>
                    <a:cubicBezTo>
                      <a:pt x="413" y="149"/>
                      <a:pt x="413" y="149"/>
                      <a:pt x="413" y="149"/>
                    </a:cubicBezTo>
                    <a:cubicBezTo>
                      <a:pt x="410" y="150"/>
                      <a:pt x="410" y="150"/>
                      <a:pt x="410" y="150"/>
                    </a:cubicBezTo>
                    <a:cubicBezTo>
                      <a:pt x="409" y="151"/>
                      <a:pt x="409" y="151"/>
                      <a:pt x="409" y="151"/>
                    </a:cubicBezTo>
                    <a:lnTo>
                      <a:pt x="410" y="150"/>
                    </a:lnTo>
                    <a:close/>
                    <a:moveTo>
                      <a:pt x="406" y="151"/>
                    </a:moveTo>
                    <a:cubicBezTo>
                      <a:pt x="407" y="151"/>
                      <a:pt x="407" y="151"/>
                      <a:pt x="407" y="151"/>
                    </a:cubicBezTo>
                    <a:cubicBezTo>
                      <a:pt x="406" y="151"/>
                      <a:pt x="406" y="151"/>
                      <a:pt x="406" y="151"/>
                    </a:cubicBezTo>
                    <a:cubicBezTo>
                      <a:pt x="405" y="151"/>
                      <a:pt x="405" y="151"/>
                      <a:pt x="405" y="151"/>
                    </a:cubicBezTo>
                    <a:lnTo>
                      <a:pt x="406" y="151"/>
                    </a:lnTo>
                    <a:close/>
                    <a:moveTo>
                      <a:pt x="402" y="154"/>
                    </a:moveTo>
                    <a:cubicBezTo>
                      <a:pt x="402" y="154"/>
                      <a:pt x="402" y="154"/>
                      <a:pt x="402" y="154"/>
                    </a:cubicBezTo>
                    <a:cubicBezTo>
                      <a:pt x="402" y="154"/>
                      <a:pt x="402" y="154"/>
                      <a:pt x="402" y="154"/>
                    </a:cubicBezTo>
                    <a:cubicBezTo>
                      <a:pt x="401" y="154"/>
                      <a:pt x="401" y="154"/>
                      <a:pt x="401" y="154"/>
                    </a:cubicBezTo>
                    <a:cubicBezTo>
                      <a:pt x="401" y="154"/>
                      <a:pt x="401" y="154"/>
                      <a:pt x="402" y="154"/>
                    </a:cubicBezTo>
                    <a:close/>
                    <a:moveTo>
                      <a:pt x="402" y="167"/>
                    </a:moveTo>
                    <a:cubicBezTo>
                      <a:pt x="401" y="169"/>
                      <a:pt x="401" y="169"/>
                      <a:pt x="401" y="169"/>
                    </a:cubicBezTo>
                    <a:cubicBezTo>
                      <a:pt x="402" y="167"/>
                      <a:pt x="402" y="167"/>
                      <a:pt x="402" y="167"/>
                    </a:cubicBezTo>
                    <a:cubicBezTo>
                      <a:pt x="402" y="167"/>
                      <a:pt x="403" y="167"/>
                      <a:pt x="403" y="167"/>
                    </a:cubicBezTo>
                    <a:cubicBezTo>
                      <a:pt x="403" y="167"/>
                      <a:pt x="402" y="167"/>
                      <a:pt x="402" y="167"/>
                    </a:cubicBezTo>
                    <a:close/>
                    <a:moveTo>
                      <a:pt x="409" y="158"/>
                    </a:moveTo>
                    <a:cubicBezTo>
                      <a:pt x="409" y="158"/>
                      <a:pt x="408" y="158"/>
                      <a:pt x="408" y="159"/>
                    </a:cubicBezTo>
                    <a:cubicBezTo>
                      <a:pt x="407" y="160"/>
                      <a:pt x="406" y="160"/>
                      <a:pt x="406" y="160"/>
                    </a:cubicBezTo>
                    <a:cubicBezTo>
                      <a:pt x="404" y="159"/>
                      <a:pt x="404" y="159"/>
                      <a:pt x="404" y="159"/>
                    </a:cubicBezTo>
                    <a:cubicBezTo>
                      <a:pt x="403" y="160"/>
                      <a:pt x="403" y="160"/>
                      <a:pt x="403" y="160"/>
                    </a:cubicBezTo>
                    <a:cubicBezTo>
                      <a:pt x="401" y="159"/>
                      <a:pt x="401" y="159"/>
                      <a:pt x="401" y="159"/>
                    </a:cubicBezTo>
                    <a:cubicBezTo>
                      <a:pt x="401" y="159"/>
                      <a:pt x="401" y="159"/>
                      <a:pt x="401" y="159"/>
                    </a:cubicBezTo>
                    <a:cubicBezTo>
                      <a:pt x="401" y="159"/>
                      <a:pt x="401" y="159"/>
                      <a:pt x="401" y="159"/>
                    </a:cubicBezTo>
                    <a:cubicBezTo>
                      <a:pt x="403" y="160"/>
                      <a:pt x="403" y="160"/>
                      <a:pt x="403" y="160"/>
                    </a:cubicBezTo>
                    <a:cubicBezTo>
                      <a:pt x="404" y="159"/>
                      <a:pt x="404" y="159"/>
                      <a:pt x="404" y="159"/>
                    </a:cubicBezTo>
                    <a:cubicBezTo>
                      <a:pt x="406" y="160"/>
                      <a:pt x="406" y="160"/>
                      <a:pt x="406" y="160"/>
                    </a:cubicBezTo>
                    <a:cubicBezTo>
                      <a:pt x="406" y="160"/>
                      <a:pt x="407" y="160"/>
                      <a:pt x="408" y="159"/>
                    </a:cubicBezTo>
                    <a:cubicBezTo>
                      <a:pt x="408" y="158"/>
                      <a:pt x="409" y="158"/>
                      <a:pt x="409" y="158"/>
                    </a:cubicBezTo>
                    <a:cubicBezTo>
                      <a:pt x="412" y="161"/>
                      <a:pt x="412" y="161"/>
                      <a:pt x="412" y="161"/>
                    </a:cubicBezTo>
                    <a:cubicBezTo>
                      <a:pt x="412" y="161"/>
                      <a:pt x="412" y="161"/>
                      <a:pt x="412" y="161"/>
                    </a:cubicBezTo>
                    <a:lnTo>
                      <a:pt x="409" y="158"/>
                    </a:lnTo>
                    <a:close/>
                    <a:moveTo>
                      <a:pt x="412" y="165"/>
                    </a:moveTo>
                    <a:cubicBezTo>
                      <a:pt x="412" y="165"/>
                      <a:pt x="411" y="165"/>
                      <a:pt x="411" y="165"/>
                    </a:cubicBezTo>
                    <a:cubicBezTo>
                      <a:pt x="411" y="165"/>
                      <a:pt x="412" y="165"/>
                      <a:pt x="412" y="165"/>
                    </a:cubicBezTo>
                    <a:cubicBezTo>
                      <a:pt x="413" y="165"/>
                      <a:pt x="413" y="165"/>
                      <a:pt x="414" y="164"/>
                    </a:cubicBezTo>
                    <a:cubicBezTo>
                      <a:pt x="413" y="165"/>
                      <a:pt x="413" y="165"/>
                      <a:pt x="412" y="165"/>
                    </a:cubicBezTo>
                    <a:close/>
                    <a:moveTo>
                      <a:pt x="414" y="164"/>
                    </a:moveTo>
                    <a:cubicBezTo>
                      <a:pt x="414" y="164"/>
                      <a:pt x="414" y="164"/>
                      <a:pt x="414" y="164"/>
                    </a:cubicBezTo>
                    <a:cubicBezTo>
                      <a:pt x="414" y="164"/>
                      <a:pt x="414" y="164"/>
                      <a:pt x="414" y="164"/>
                    </a:cubicBezTo>
                    <a:close/>
                    <a:moveTo>
                      <a:pt x="412" y="147"/>
                    </a:moveTo>
                    <a:cubicBezTo>
                      <a:pt x="412" y="148"/>
                      <a:pt x="412" y="148"/>
                      <a:pt x="412" y="148"/>
                    </a:cubicBezTo>
                    <a:cubicBezTo>
                      <a:pt x="412" y="147"/>
                      <a:pt x="412" y="147"/>
                      <a:pt x="412" y="147"/>
                    </a:cubicBezTo>
                    <a:cubicBezTo>
                      <a:pt x="412" y="147"/>
                      <a:pt x="413" y="143"/>
                      <a:pt x="414" y="142"/>
                    </a:cubicBezTo>
                    <a:cubicBezTo>
                      <a:pt x="413" y="143"/>
                      <a:pt x="412" y="147"/>
                      <a:pt x="412" y="147"/>
                    </a:cubicBezTo>
                    <a:close/>
                    <a:moveTo>
                      <a:pt x="417" y="141"/>
                    </a:moveTo>
                    <a:cubicBezTo>
                      <a:pt x="417" y="141"/>
                      <a:pt x="418" y="140"/>
                      <a:pt x="418" y="140"/>
                    </a:cubicBezTo>
                    <a:cubicBezTo>
                      <a:pt x="418" y="140"/>
                      <a:pt x="417" y="141"/>
                      <a:pt x="417" y="141"/>
                    </a:cubicBezTo>
                    <a:close/>
                    <a:moveTo>
                      <a:pt x="418" y="140"/>
                    </a:moveTo>
                    <a:cubicBezTo>
                      <a:pt x="416" y="137"/>
                      <a:pt x="416" y="137"/>
                      <a:pt x="416" y="137"/>
                    </a:cubicBezTo>
                    <a:cubicBezTo>
                      <a:pt x="416" y="137"/>
                      <a:pt x="416" y="137"/>
                      <a:pt x="416" y="137"/>
                    </a:cubicBezTo>
                    <a:cubicBezTo>
                      <a:pt x="418" y="140"/>
                      <a:pt x="418" y="140"/>
                      <a:pt x="418" y="140"/>
                    </a:cubicBezTo>
                    <a:close/>
                    <a:moveTo>
                      <a:pt x="418" y="134"/>
                    </a:moveTo>
                    <a:cubicBezTo>
                      <a:pt x="417" y="134"/>
                      <a:pt x="417" y="134"/>
                      <a:pt x="417" y="134"/>
                    </a:cubicBezTo>
                    <a:cubicBezTo>
                      <a:pt x="418" y="134"/>
                      <a:pt x="418" y="134"/>
                      <a:pt x="418" y="134"/>
                    </a:cubicBezTo>
                    <a:cubicBezTo>
                      <a:pt x="418" y="134"/>
                      <a:pt x="418" y="134"/>
                      <a:pt x="419" y="133"/>
                    </a:cubicBezTo>
                    <a:cubicBezTo>
                      <a:pt x="418" y="134"/>
                      <a:pt x="418" y="134"/>
                      <a:pt x="418" y="134"/>
                    </a:cubicBezTo>
                    <a:close/>
                    <a:moveTo>
                      <a:pt x="421" y="133"/>
                    </a:moveTo>
                    <a:cubicBezTo>
                      <a:pt x="421" y="133"/>
                      <a:pt x="421" y="133"/>
                      <a:pt x="420" y="133"/>
                    </a:cubicBezTo>
                    <a:cubicBezTo>
                      <a:pt x="420" y="133"/>
                      <a:pt x="420" y="133"/>
                      <a:pt x="421" y="133"/>
                    </a:cubicBezTo>
                    <a:cubicBezTo>
                      <a:pt x="421" y="133"/>
                      <a:pt x="421" y="133"/>
                      <a:pt x="421" y="133"/>
                    </a:cubicBezTo>
                    <a:cubicBezTo>
                      <a:pt x="422" y="133"/>
                      <a:pt x="423" y="133"/>
                      <a:pt x="424" y="133"/>
                    </a:cubicBezTo>
                    <a:cubicBezTo>
                      <a:pt x="423" y="133"/>
                      <a:pt x="422" y="133"/>
                      <a:pt x="421" y="133"/>
                    </a:cubicBezTo>
                    <a:close/>
                    <a:moveTo>
                      <a:pt x="429" y="193"/>
                    </a:moveTo>
                    <a:cubicBezTo>
                      <a:pt x="428" y="195"/>
                      <a:pt x="428" y="195"/>
                      <a:pt x="428" y="195"/>
                    </a:cubicBezTo>
                    <a:cubicBezTo>
                      <a:pt x="429" y="193"/>
                      <a:pt x="429" y="193"/>
                      <a:pt x="429" y="193"/>
                    </a:cubicBezTo>
                    <a:cubicBezTo>
                      <a:pt x="430" y="193"/>
                      <a:pt x="430" y="193"/>
                      <a:pt x="430" y="193"/>
                    </a:cubicBezTo>
                    <a:lnTo>
                      <a:pt x="429" y="193"/>
                    </a:lnTo>
                    <a:close/>
                    <a:moveTo>
                      <a:pt x="431" y="135"/>
                    </a:moveTo>
                    <a:cubicBezTo>
                      <a:pt x="430" y="134"/>
                      <a:pt x="429" y="134"/>
                      <a:pt x="429" y="134"/>
                    </a:cubicBezTo>
                    <a:cubicBezTo>
                      <a:pt x="429" y="134"/>
                      <a:pt x="428" y="133"/>
                      <a:pt x="426" y="133"/>
                    </a:cubicBezTo>
                    <a:cubicBezTo>
                      <a:pt x="425" y="133"/>
                      <a:pt x="424" y="133"/>
                      <a:pt x="424" y="133"/>
                    </a:cubicBezTo>
                    <a:cubicBezTo>
                      <a:pt x="424" y="133"/>
                      <a:pt x="425" y="133"/>
                      <a:pt x="426" y="133"/>
                    </a:cubicBezTo>
                    <a:cubicBezTo>
                      <a:pt x="428" y="133"/>
                      <a:pt x="429" y="134"/>
                      <a:pt x="429" y="134"/>
                    </a:cubicBezTo>
                    <a:cubicBezTo>
                      <a:pt x="429" y="134"/>
                      <a:pt x="430" y="134"/>
                      <a:pt x="431" y="135"/>
                    </a:cubicBezTo>
                    <a:cubicBezTo>
                      <a:pt x="432" y="135"/>
                      <a:pt x="432" y="135"/>
                      <a:pt x="432" y="135"/>
                    </a:cubicBezTo>
                    <a:cubicBezTo>
                      <a:pt x="432" y="135"/>
                      <a:pt x="432" y="135"/>
                      <a:pt x="431" y="135"/>
                    </a:cubicBezTo>
                    <a:close/>
                    <a:moveTo>
                      <a:pt x="434" y="139"/>
                    </a:moveTo>
                    <a:cubicBezTo>
                      <a:pt x="434" y="139"/>
                      <a:pt x="434" y="139"/>
                      <a:pt x="434" y="139"/>
                    </a:cubicBezTo>
                    <a:cubicBezTo>
                      <a:pt x="434" y="139"/>
                      <a:pt x="434" y="139"/>
                      <a:pt x="434" y="139"/>
                    </a:cubicBezTo>
                    <a:cubicBezTo>
                      <a:pt x="434" y="137"/>
                      <a:pt x="434" y="137"/>
                      <a:pt x="434" y="137"/>
                    </a:cubicBezTo>
                    <a:lnTo>
                      <a:pt x="434" y="139"/>
                    </a:lnTo>
                    <a:close/>
                    <a:moveTo>
                      <a:pt x="435" y="188"/>
                    </a:moveTo>
                    <a:cubicBezTo>
                      <a:pt x="435" y="188"/>
                      <a:pt x="435" y="189"/>
                      <a:pt x="434" y="189"/>
                    </a:cubicBezTo>
                    <a:cubicBezTo>
                      <a:pt x="434" y="189"/>
                      <a:pt x="434" y="190"/>
                      <a:pt x="434" y="190"/>
                    </a:cubicBezTo>
                    <a:cubicBezTo>
                      <a:pt x="434" y="190"/>
                      <a:pt x="434" y="189"/>
                      <a:pt x="434" y="189"/>
                    </a:cubicBezTo>
                    <a:cubicBezTo>
                      <a:pt x="435" y="189"/>
                      <a:pt x="435" y="188"/>
                      <a:pt x="435" y="188"/>
                    </a:cubicBezTo>
                    <a:cubicBezTo>
                      <a:pt x="436" y="188"/>
                      <a:pt x="436" y="188"/>
                      <a:pt x="436" y="188"/>
                    </a:cubicBezTo>
                    <a:cubicBezTo>
                      <a:pt x="436" y="188"/>
                      <a:pt x="436" y="188"/>
                      <a:pt x="436" y="188"/>
                    </a:cubicBezTo>
                    <a:lnTo>
                      <a:pt x="435" y="188"/>
                    </a:lnTo>
                    <a:close/>
                    <a:moveTo>
                      <a:pt x="436" y="144"/>
                    </a:moveTo>
                    <a:cubicBezTo>
                      <a:pt x="436" y="143"/>
                      <a:pt x="436" y="142"/>
                      <a:pt x="435" y="141"/>
                    </a:cubicBezTo>
                    <a:cubicBezTo>
                      <a:pt x="436" y="142"/>
                      <a:pt x="436" y="143"/>
                      <a:pt x="436" y="144"/>
                    </a:cubicBezTo>
                    <a:cubicBezTo>
                      <a:pt x="436" y="144"/>
                      <a:pt x="436" y="144"/>
                      <a:pt x="436" y="144"/>
                    </a:cubicBezTo>
                    <a:close/>
                    <a:moveTo>
                      <a:pt x="438" y="147"/>
                    </a:moveTo>
                    <a:cubicBezTo>
                      <a:pt x="438" y="147"/>
                      <a:pt x="438" y="147"/>
                      <a:pt x="438" y="147"/>
                    </a:cubicBezTo>
                    <a:cubicBezTo>
                      <a:pt x="438" y="148"/>
                      <a:pt x="438" y="148"/>
                      <a:pt x="438" y="148"/>
                    </a:cubicBezTo>
                    <a:lnTo>
                      <a:pt x="438" y="147"/>
                    </a:lnTo>
                    <a:close/>
                    <a:moveTo>
                      <a:pt x="439" y="188"/>
                    </a:moveTo>
                    <a:cubicBezTo>
                      <a:pt x="437" y="188"/>
                      <a:pt x="437" y="188"/>
                      <a:pt x="437" y="188"/>
                    </a:cubicBezTo>
                    <a:cubicBezTo>
                      <a:pt x="439" y="188"/>
                      <a:pt x="439" y="188"/>
                      <a:pt x="439" y="188"/>
                    </a:cubicBezTo>
                    <a:close/>
                    <a:moveTo>
                      <a:pt x="440" y="188"/>
                    </a:moveTo>
                    <a:cubicBezTo>
                      <a:pt x="440" y="188"/>
                      <a:pt x="440" y="188"/>
                      <a:pt x="440" y="188"/>
                    </a:cubicBezTo>
                    <a:cubicBezTo>
                      <a:pt x="440" y="187"/>
                      <a:pt x="440" y="187"/>
                      <a:pt x="440" y="187"/>
                    </a:cubicBezTo>
                    <a:cubicBezTo>
                      <a:pt x="440" y="188"/>
                      <a:pt x="440" y="188"/>
                      <a:pt x="440" y="188"/>
                    </a:cubicBezTo>
                    <a:close/>
                    <a:moveTo>
                      <a:pt x="441" y="186"/>
                    </a:moveTo>
                    <a:cubicBezTo>
                      <a:pt x="441" y="186"/>
                      <a:pt x="441" y="186"/>
                      <a:pt x="441" y="186"/>
                    </a:cubicBezTo>
                    <a:cubicBezTo>
                      <a:pt x="441" y="186"/>
                      <a:pt x="441" y="186"/>
                      <a:pt x="441" y="186"/>
                    </a:cubicBezTo>
                    <a:close/>
                    <a:moveTo>
                      <a:pt x="442" y="186"/>
                    </a:moveTo>
                    <a:cubicBezTo>
                      <a:pt x="442" y="186"/>
                      <a:pt x="442" y="186"/>
                      <a:pt x="442" y="186"/>
                    </a:cubicBezTo>
                    <a:cubicBezTo>
                      <a:pt x="442" y="186"/>
                      <a:pt x="442" y="186"/>
                      <a:pt x="442" y="186"/>
                    </a:cubicBezTo>
                    <a:cubicBezTo>
                      <a:pt x="442" y="186"/>
                      <a:pt x="442" y="186"/>
                      <a:pt x="442" y="186"/>
                    </a:cubicBezTo>
                    <a:cubicBezTo>
                      <a:pt x="442" y="186"/>
                      <a:pt x="442" y="186"/>
                      <a:pt x="442" y="186"/>
                    </a:cubicBezTo>
                    <a:close/>
                    <a:moveTo>
                      <a:pt x="441" y="152"/>
                    </a:moveTo>
                    <a:cubicBezTo>
                      <a:pt x="439" y="151"/>
                      <a:pt x="439" y="151"/>
                      <a:pt x="439" y="151"/>
                    </a:cubicBezTo>
                    <a:cubicBezTo>
                      <a:pt x="439" y="151"/>
                      <a:pt x="439" y="151"/>
                      <a:pt x="439" y="151"/>
                    </a:cubicBezTo>
                    <a:cubicBezTo>
                      <a:pt x="441" y="152"/>
                      <a:pt x="441" y="152"/>
                      <a:pt x="441" y="152"/>
                    </a:cubicBezTo>
                    <a:cubicBezTo>
                      <a:pt x="441" y="152"/>
                      <a:pt x="443" y="152"/>
                      <a:pt x="444" y="153"/>
                    </a:cubicBezTo>
                    <a:cubicBezTo>
                      <a:pt x="443" y="152"/>
                      <a:pt x="441" y="152"/>
                      <a:pt x="441" y="152"/>
                    </a:cubicBezTo>
                    <a:close/>
                    <a:moveTo>
                      <a:pt x="444" y="184"/>
                    </a:moveTo>
                    <a:cubicBezTo>
                      <a:pt x="443" y="184"/>
                      <a:pt x="443" y="184"/>
                      <a:pt x="443" y="184"/>
                    </a:cubicBezTo>
                    <a:cubicBezTo>
                      <a:pt x="443" y="184"/>
                      <a:pt x="443" y="184"/>
                      <a:pt x="443" y="184"/>
                    </a:cubicBezTo>
                    <a:cubicBezTo>
                      <a:pt x="444" y="184"/>
                      <a:pt x="444" y="184"/>
                      <a:pt x="444" y="184"/>
                    </a:cubicBezTo>
                    <a:close/>
                    <a:moveTo>
                      <a:pt x="446" y="180"/>
                    </a:moveTo>
                    <a:cubicBezTo>
                      <a:pt x="445" y="180"/>
                      <a:pt x="445" y="180"/>
                      <a:pt x="445" y="180"/>
                    </a:cubicBezTo>
                    <a:cubicBezTo>
                      <a:pt x="445" y="182"/>
                      <a:pt x="445" y="182"/>
                      <a:pt x="445" y="182"/>
                    </a:cubicBezTo>
                    <a:cubicBezTo>
                      <a:pt x="445" y="183"/>
                      <a:pt x="445" y="183"/>
                      <a:pt x="445" y="183"/>
                    </a:cubicBezTo>
                    <a:cubicBezTo>
                      <a:pt x="445" y="184"/>
                      <a:pt x="445" y="184"/>
                      <a:pt x="445" y="184"/>
                    </a:cubicBezTo>
                    <a:cubicBezTo>
                      <a:pt x="445" y="183"/>
                      <a:pt x="445" y="183"/>
                      <a:pt x="445" y="183"/>
                    </a:cubicBezTo>
                    <a:cubicBezTo>
                      <a:pt x="445" y="182"/>
                      <a:pt x="445" y="182"/>
                      <a:pt x="445" y="182"/>
                    </a:cubicBezTo>
                    <a:cubicBezTo>
                      <a:pt x="445" y="180"/>
                      <a:pt x="445" y="180"/>
                      <a:pt x="445" y="180"/>
                    </a:cubicBezTo>
                    <a:cubicBezTo>
                      <a:pt x="446" y="180"/>
                      <a:pt x="446" y="180"/>
                      <a:pt x="446" y="180"/>
                    </a:cubicBezTo>
                    <a:close/>
                    <a:moveTo>
                      <a:pt x="447" y="154"/>
                    </a:moveTo>
                    <a:cubicBezTo>
                      <a:pt x="447" y="154"/>
                      <a:pt x="445" y="153"/>
                      <a:pt x="444" y="153"/>
                    </a:cubicBezTo>
                    <a:cubicBezTo>
                      <a:pt x="445" y="153"/>
                      <a:pt x="447" y="154"/>
                      <a:pt x="447" y="154"/>
                    </a:cubicBezTo>
                    <a:cubicBezTo>
                      <a:pt x="448" y="155"/>
                      <a:pt x="448" y="155"/>
                      <a:pt x="448" y="155"/>
                    </a:cubicBezTo>
                    <a:lnTo>
                      <a:pt x="447" y="154"/>
                    </a:lnTo>
                    <a:close/>
                    <a:moveTo>
                      <a:pt x="448" y="183"/>
                    </a:moveTo>
                    <a:cubicBezTo>
                      <a:pt x="447" y="182"/>
                      <a:pt x="447" y="182"/>
                      <a:pt x="447" y="182"/>
                    </a:cubicBezTo>
                    <a:cubicBezTo>
                      <a:pt x="448" y="183"/>
                      <a:pt x="448" y="183"/>
                      <a:pt x="448" y="183"/>
                    </a:cubicBezTo>
                    <a:close/>
                    <a:moveTo>
                      <a:pt x="450" y="179"/>
                    </a:moveTo>
                    <a:cubicBezTo>
                      <a:pt x="450" y="179"/>
                      <a:pt x="450" y="180"/>
                      <a:pt x="449" y="181"/>
                    </a:cubicBezTo>
                    <a:cubicBezTo>
                      <a:pt x="449" y="181"/>
                      <a:pt x="449" y="181"/>
                      <a:pt x="449" y="181"/>
                    </a:cubicBezTo>
                    <a:cubicBezTo>
                      <a:pt x="448" y="183"/>
                      <a:pt x="448" y="183"/>
                      <a:pt x="448" y="183"/>
                    </a:cubicBezTo>
                    <a:cubicBezTo>
                      <a:pt x="448" y="183"/>
                      <a:pt x="448" y="183"/>
                      <a:pt x="448" y="183"/>
                    </a:cubicBezTo>
                    <a:cubicBezTo>
                      <a:pt x="448" y="183"/>
                      <a:pt x="448" y="183"/>
                      <a:pt x="448" y="183"/>
                    </a:cubicBezTo>
                    <a:cubicBezTo>
                      <a:pt x="449" y="181"/>
                      <a:pt x="449" y="181"/>
                      <a:pt x="449" y="181"/>
                    </a:cubicBezTo>
                    <a:cubicBezTo>
                      <a:pt x="449" y="181"/>
                      <a:pt x="449" y="181"/>
                      <a:pt x="449" y="181"/>
                    </a:cubicBezTo>
                    <a:cubicBezTo>
                      <a:pt x="450" y="180"/>
                      <a:pt x="450" y="179"/>
                      <a:pt x="450" y="179"/>
                    </a:cubicBezTo>
                    <a:cubicBezTo>
                      <a:pt x="450" y="178"/>
                      <a:pt x="450" y="178"/>
                      <a:pt x="450" y="178"/>
                    </a:cubicBezTo>
                    <a:lnTo>
                      <a:pt x="450" y="179"/>
                    </a:lnTo>
                    <a:close/>
                    <a:moveTo>
                      <a:pt x="450" y="175"/>
                    </a:moveTo>
                    <a:cubicBezTo>
                      <a:pt x="450" y="174"/>
                      <a:pt x="450" y="174"/>
                      <a:pt x="450" y="174"/>
                    </a:cubicBezTo>
                    <a:cubicBezTo>
                      <a:pt x="450" y="173"/>
                      <a:pt x="450" y="173"/>
                      <a:pt x="450" y="173"/>
                    </a:cubicBezTo>
                    <a:cubicBezTo>
                      <a:pt x="450" y="174"/>
                      <a:pt x="450" y="174"/>
                      <a:pt x="450" y="174"/>
                    </a:cubicBezTo>
                    <a:lnTo>
                      <a:pt x="450" y="175"/>
                    </a:lnTo>
                    <a:close/>
                    <a:moveTo>
                      <a:pt x="451" y="173"/>
                    </a:moveTo>
                    <a:cubicBezTo>
                      <a:pt x="450" y="173"/>
                      <a:pt x="450" y="173"/>
                      <a:pt x="450" y="173"/>
                    </a:cubicBezTo>
                    <a:cubicBezTo>
                      <a:pt x="451" y="173"/>
                      <a:pt x="451" y="173"/>
                      <a:pt x="451" y="173"/>
                    </a:cubicBezTo>
                    <a:close/>
                    <a:moveTo>
                      <a:pt x="449" y="155"/>
                    </a:moveTo>
                    <a:cubicBezTo>
                      <a:pt x="448" y="155"/>
                      <a:pt x="448" y="155"/>
                      <a:pt x="448" y="155"/>
                    </a:cubicBezTo>
                    <a:cubicBezTo>
                      <a:pt x="448" y="155"/>
                      <a:pt x="448" y="155"/>
                      <a:pt x="448" y="155"/>
                    </a:cubicBezTo>
                    <a:cubicBezTo>
                      <a:pt x="449" y="155"/>
                      <a:pt x="449" y="155"/>
                      <a:pt x="449" y="155"/>
                    </a:cubicBezTo>
                    <a:cubicBezTo>
                      <a:pt x="450" y="154"/>
                      <a:pt x="450" y="154"/>
                      <a:pt x="450" y="154"/>
                    </a:cubicBezTo>
                    <a:cubicBezTo>
                      <a:pt x="451" y="153"/>
                      <a:pt x="451" y="153"/>
                      <a:pt x="451" y="153"/>
                    </a:cubicBezTo>
                    <a:lnTo>
                      <a:pt x="449" y="155"/>
                    </a:lnTo>
                    <a:close/>
                    <a:moveTo>
                      <a:pt x="454" y="153"/>
                    </a:moveTo>
                    <a:cubicBezTo>
                      <a:pt x="454" y="153"/>
                      <a:pt x="454" y="153"/>
                      <a:pt x="454" y="153"/>
                    </a:cubicBezTo>
                    <a:cubicBezTo>
                      <a:pt x="454" y="153"/>
                      <a:pt x="454" y="153"/>
                      <a:pt x="454" y="153"/>
                    </a:cubicBezTo>
                    <a:cubicBezTo>
                      <a:pt x="455" y="153"/>
                      <a:pt x="455" y="153"/>
                      <a:pt x="455" y="153"/>
                    </a:cubicBezTo>
                    <a:lnTo>
                      <a:pt x="454" y="153"/>
                    </a:lnTo>
                    <a:close/>
                    <a:moveTo>
                      <a:pt x="456" y="154"/>
                    </a:moveTo>
                    <a:cubicBezTo>
                      <a:pt x="455" y="153"/>
                      <a:pt x="455" y="153"/>
                      <a:pt x="455" y="153"/>
                    </a:cubicBezTo>
                    <a:cubicBezTo>
                      <a:pt x="456" y="154"/>
                      <a:pt x="456" y="154"/>
                      <a:pt x="456" y="154"/>
                    </a:cubicBezTo>
                    <a:cubicBezTo>
                      <a:pt x="457" y="154"/>
                      <a:pt x="457" y="154"/>
                      <a:pt x="457" y="154"/>
                    </a:cubicBezTo>
                    <a:cubicBezTo>
                      <a:pt x="457" y="154"/>
                      <a:pt x="457" y="154"/>
                      <a:pt x="457" y="154"/>
                    </a:cubicBezTo>
                    <a:lnTo>
                      <a:pt x="456" y="154"/>
                    </a:lnTo>
                    <a:close/>
                    <a:moveTo>
                      <a:pt x="457" y="154"/>
                    </a:moveTo>
                    <a:cubicBezTo>
                      <a:pt x="457" y="154"/>
                      <a:pt x="457" y="154"/>
                      <a:pt x="457" y="154"/>
                    </a:cubicBezTo>
                    <a:cubicBezTo>
                      <a:pt x="457" y="154"/>
                      <a:pt x="457" y="154"/>
                      <a:pt x="457" y="154"/>
                    </a:cubicBezTo>
                    <a:close/>
                    <a:moveTo>
                      <a:pt x="456" y="171"/>
                    </a:moveTo>
                    <a:cubicBezTo>
                      <a:pt x="456" y="172"/>
                      <a:pt x="456" y="172"/>
                      <a:pt x="456" y="172"/>
                    </a:cubicBezTo>
                    <a:cubicBezTo>
                      <a:pt x="456" y="173"/>
                      <a:pt x="456" y="173"/>
                      <a:pt x="456" y="173"/>
                    </a:cubicBezTo>
                    <a:cubicBezTo>
                      <a:pt x="456" y="173"/>
                      <a:pt x="456" y="173"/>
                      <a:pt x="456" y="173"/>
                    </a:cubicBezTo>
                    <a:cubicBezTo>
                      <a:pt x="456" y="172"/>
                      <a:pt x="456" y="172"/>
                      <a:pt x="456" y="172"/>
                    </a:cubicBezTo>
                    <a:cubicBezTo>
                      <a:pt x="456" y="171"/>
                      <a:pt x="456" y="171"/>
                      <a:pt x="456" y="171"/>
                    </a:cubicBezTo>
                    <a:cubicBezTo>
                      <a:pt x="457" y="170"/>
                      <a:pt x="457" y="170"/>
                      <a:pt x="457" y="170"/>
                    </a:cubicBezTo>
                    <a:lnTo>
                      <a:pt x="456" y="171"/>
                    </a:lnTo>
                    <a:close/>
                    <a:moveTo>
                      <a:pt x="457" y="168"/>
                    </a:moveTo>
                    <a:cubicBezTo>
                      <a:pt x="457" y="168"/>
                      <a:pt x="457" y="168"/>
                      <a:pt x="457" y="168"/>
                    </a:cubicBezTo>
                    <a:cubicBezTo>
                      <a:pt x="457" y="168"/>
                      <a:pt x="459" y="168"/>
                      <a:pt x="459" y="168"/>
                    </a:cubicBezTo>
                    <a:cubicBezTo>
                      <a:pt x="459" y="168"/>
                      <a:pt x="457" y="168"/>
                      <a:pt x="457" y="168"/>
                    </a:cubicBezTo>
                    <a:close/>
                    <a:moveTo>
                      <a:pt x="460" y="166"/>
                    </a:moveTo>
                    <a:cubicBezTo>
                      <a:pt x="459" y="163"/>
                      <a:pt x="459" y="163"/>
                      <a:pt x="459" y="163"/>
                    </a:cubicBezTo>
                    <a:cubicBezTo>
                      <a:pt x="459" y="163"/>
                      <a:pt x="459" y="163"/>
                      <a:pt x="459" y="163"/>
                    </a:cubicBezTo>
                    <a:cubicBezTo>
                      <a:pt x="460" y="166"/>
                      <a:pt x="460" y="166"/>
                      <a:pt x="460" y="166"/>
                    </a:cubicBezTo>
                    <a:close/>
                    <a:moveTo>
                      <a:pt x="460" y="162"/>
                    </a:moveTo>
                    <a:cubicBezTo>
                      <a:pt x="460" y="162"/>
                      <a:pt x="460" y="162"/>
                      <a:pt x="460" y="162"/>
                    </a:cubicBezTo>
                    <a:cubicBezTo>
                      <a:pt x="461" y="158"/>
                      <a:pt x="461" y="158"/>
                      <a:pt x="461" y="158"/>
                    </a:cubicBezTo>
                    <a:cubicBezTo>
                      <a:pt x="461" y="158"/>
                      <a:pt x="461" y="158"/>
                      <a:pt x="461" y="158"/>
                    </a:cubicBezTo>
                    <a:lnTo>
                      <a:pt x="460" y="162"/>
                    </a:lnTo>
                    <a:close/>
                    <a:moveTo>
                      <a:pt x="461" y="156"/>
                    </a:moveTo>
                    <a:cubicBezTo>
                      <a:pt x="461" y="155"/>
                      <a:pt x="461" y="155"/>
                      <a:pt x="461" y="155"/>
                    </a:cubicBezTo>
                    <a:cubicBezTo>
                      <a:pt x="461" y="155"/>
                      <a:pt x="461" y="155"/>
                      <a:pt x="461" y="156"/>
                    </a:cubicBezTo>
                    <a:cubicBezTo>
                      <a:pt x="461" y="156"/>
                      <a:pt x="462" y="156"/>
                      <a:pt x="462" y="156"/>
                    </a:cubicBezTo>
                    <a:cubicBezTo>
                      <a:pt x="462" y="156"/>
                      <a:pt x="461" y="156"/>
                      <a:pt x="461" y="15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88" name="Freeform 23">
                <a:extLst>
                  <a:ext uri="{FF2B5EF4-FFF2-40B4-BE49-F238E27FC236}">
                    <a16:creationId xmlns:a16="http://schemas.microsoft.com/office/drawing/2014/main" id="{3DF3F058-4960-479C-986C-8DBEADB49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3" y="1813"/>
                <a:ext cx="28" cy="14"/>
              </a:xfrm>
              <a:custGeom>
                <a:avLst/>
                <a:gdLst>
                  <a:gd name="T0" fmla="*/ 1 w 12"/>
                  <a:gd name="T1" fmla="*/ 6 h 6"/>
                  <a:gd name="T2" fmla="*/ 2 w 12"/>
                  <a:gd name="T3" fmla="*/ 5 h 6"/>
                  <a:gd name="T4" fmla="*/ 3 w 12"/>
                  <a:gd name="T5" fmla="*/ 5 h 6"/>
                  <a:gd name="T6" fmla="*/ 3 w 12"/>
                  <a:gd name="T7" fmla="*/ 5 h 6"/>
                  <a:gd name="T8" fmla="*/ 4 w 12"/>
                  <a:gd name="T9" fmla="*/ 5 h 6"/>
                  <a:gd name="T10" fmla="*/ 5 w 12"/>
                  <a:gd name="T11" fmla="*/ 5 h 6"/>
                  <a:gd name="T12" fmla="*/ 5 w 12"/>
                  <a:gd name="T13" fmla="*/ 5 h 6"/>
                  <a:gd name="T14" fmla="*/ 10 w 12"/>
                  <a:gd name="T15" fmla="*/ 5 h 6"/>
                  <a:gd name="T16" fmla="*/ 11 w 12"/>
                  <a:gd name="T17" fmla="*/ 4 h 6"/>
                  <a:gd name="T18" fmla="*/ 11 w 12"/>
                  <a:gd name="T19" fmla="*/ 4 h 6"/>
                  <a:gd name="T20" fmla="*/ 12 w 12"/>
                  <a:gd name="T21" fmla="*/ 3 h 6"/>
                  <a:gd name="T22" fmla="*/ 11 w 12"/>
                  <a:gd name="T23" fmla="*/ 2 h 6"/>
                  <a:gd name="T24" fmla="*/ 8 w 12"/>
                  <a:gd name="T25" fmla="*/ 1 h 6"/>
                  <a:gd name="T26" fmla="*/ 6 w 12"/>
                  <a:gd name="T27" fmla="*/ 1 h 6"/>
                  <a:gd name="T28" fmla="*/ 6 w 12"/>
                  <a:gd name="T29" fmla="*/ 1 h 6"/>
                  <a:gd name="T30" fmla="*/ 1 w 12"/>
                  <a:gd name="T31" fmla="*/ 3 h 6"/>
                  <a:gd name="T32" fmla="*/ 0 w 12"/>
                  <a:gd name="T33" fmla="*/ 4 h 6"/>
                  <a:gd name="T34" fmla="*/ 0 w 12"/>
                  <a:gd name="T35" fmla="*/ 5 h 6"/>
                  <a:gd name="T36" fmla="*/ 1 w 12"/>
                  <a:gd name="T3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" h="6">
                    <a:moveTo>
                      <a:pt x="1" y="6"/>
                    </a:moveTo>
                    <a:cubicBezTo>
                      <a:pt x="1" y="6"/>
                      <a:pt x="2" y="5"/>
                      <a:pt x="2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4" y="5"/>
                      <a:pt x="4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7" y="5"/>
                      <a:pt x="10" y="5"/>
                    </a:cubicBezTo>
                    <a:cubicBezTo>
                      <a:pt x="10" y="5"/>
                      <a:pt x="10" y="4"/>
                      <a:pt x="11" y="4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2" y="4"/>
                      <a:pt x="12" y="3"/>
                      <a:pt x="12" y="3"/>
                    </a:cubicBezTo>
                    <a:cubicBezTo>
                      <a:pt x="12" y="3"/>
                      <a:pt x="11" y="2"/>
                      <a:pt x="11" y="2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6" y="0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4" y="1"/>
                      <a:pt x="2" y="2"/>
                      <a:pt x="1" y="3"/>
                    </a:cubicBezTo>
                    <a:cubicBezTo>
                      <a:pt x="1" y="3"/>
                      <a:pt x="0" y="4"/>
                      <a:pt x="0" y="4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1" y="6"/>
                      <a:pt x="1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89" name="Freeform 24">
                <a:extLst>
                  <a:ext uri="{FF2B5EF4-FFF2-40B4-BE49-F238E27FC236}">
                    <a16:creationId xmlns:a16="http://schemas.microsoft.com/office/drawing/2014/main" id="{BAF3F016-EA7C-4A53-9141-725E2D631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0" y="1837"/>
                <a:ext cx="12" cy="7"/>
              </a:xfrm>
              <a:custGeom>
                <a:avLst/>
                <a:gdLst>
                  <a:gd name="T0" fmla="*/ 3 w 5"/>
                  <a:gd name="T1" fmla="*/ 2 h 3"/>
                  <a:gd name="T2" fmla="*/ 5 w 5"/>
                  <a:gd name="T3" fmla="*/ 3 h 3"/>
                  <a:gd name="T4" fmla="*/ 5 w 5"/>
                  <a:gd name="T5" fmla="*/ 2 h 3"/>
                  <a:gd name="T6" fmla="*/ 5 w 5"/>
                  <a:gd name="T7" fmla="*/ 1 h 3"/>
                  <a:gd name="T8" fmla="*/ 5 w 5"/>
                  <a:gd name="T9" fmla="*/ 1 h 3"/>
                  <a:gd name="T10" fmla="*/ 3 w 5"/>
                  <a:gd name="T11" fmla="*/ 0 h 3"/>
                  <a:gd name="T12" fmla="*/ 1 w 5"/>
                  <a:gd name="T13" fmla="*/ 0 h 3"/>
                  <a:gd name="T14" fmla="*/ 0 w 5"/>
                  <a:gd name="T15" fmla="*/ 0 h 3"/>
                  <a:gd name="T16" fmla="*/ 1 w 5"/>
                  <a:gd name="T17" fmla="*/ 1 h 3"/>
                  <a:gd name="T18" fmla="*/ 3 w 5"/>
                  <a:gd name="T1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3">
                    <a:moveTo>
                      <a:pt x="3" y="2"/>
                    </a:moveTo>
                    <a:cubicBezTo>
                      <a:pt x="4" y="3"/>
                      <a:pt x="4" y="3"/>
                      <a:pt x="5" y="3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1" y="2"/>
                      <a:pt x="2" y="2"/>
                      <a:pt x="3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90" name="Freeform 25">
                <a:extLst>
                  <a:ext uri="{FF2B5EF4-FFF2-40B4-BE49-F238E27FC236}">
                    <a16:creationId xmlns:a16="http://schemas.microsoft.com/office/drawing/2014/main" id="{52171991-C397-46E5-968D-55D2B8CF64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6" y="1756"/>
                <a:ext cx="38" cy="14"/>
              </a:xfrm>
              <a:custGeom>
                <a:avLst/>
                <a:gdLst>
                  <a:gd name="T0" fmla="*/ 2 w 16"/>
                  <a:gd name="T1" fmla="*/ 4 h 6"/>
                  <a:gd name="T2" fmla="*/ 6 w 16"/>
                  <a:gd name="T3" fmla="*/ 6 h 6"/>
                  <a:gd name="T4" fmla="*/ 9 w 16"/>
                  <a:gd name="T5" fmla="*/ 6 h 6"/>
                  <a:gd name="T6" fmla="*/ 11 w 16"/>
                  <a:gd name="T7" fmla="*/ 6 h 6"/>
                  <a:gd name="T8" fmla="*/ 13 w 16"/>
                  <a:gd name="T9" fmla="*/ 6 h 6"/>
                  <a:gd name="T10" fmla="*/ 15 w 16"/>
                  <a:gd name="T11" fmla="*/ 5 h 6"/>
                  <a:gd name="T12" fmla="*/ 15 w 16"/>
                  <a:gd name="T13" fmla="*/ 4 h 6"/>
                  <a:gd name="T14" fmla="*/ 16 w 16"/>
                  <a:gd name="T15" fmla="*/ 3 h 6"/>
                  <a:gd name="T16" fmla="*/ 15 w 16"/>
                  <a:gd name="T17" fmla="*/ 3 h 6"/>
                  <a:gd name="T18" fmla="*/ 12 w 16"/>
                  <a:gd name="T19" fmla="*/ 3 h 6"/>
                  <a:gd name="T20" fmla="*/ 11 w 16"/>
                  <a:gd name="T21" fmla="*/ 3 h 6"/>
                  <a:gd name="T22" fmla="*/ 11 w 16"/>
                  <a:gd name="T23" fmla="*/ 3 h 6"/>
                  <a:gd name="T24" fmla="*/ 9 w 16"/>
                  <a:gd name="T25" fmla="*/ 3 h 6"/>
                  <a:gd name="T26" fmla="*/ 8 w 16"/>
                  <a:gd name="T27" fmla="*/ 3 h 6"/>
                  <a:gd name="T28" fmla="*/ 7 w 16"/>
                  <a:gd name="T29" fmla="*/ 2 h 6"/>
                  <a:gd name="T30" fmla="*/ 6 w 16"/>
                  <a:gd name="T31" fmla="*/ 2 h 6"/>
                  <a:gd name="T32" fmla="*/ 5 w 16"/>
                  <a:gd name="T33" fmla="*/ 2 h 6"/>
                  <a:gd name="T34" fmla="*/ 3 w 16"/>
                  <a:gd name="T35" fmla="*/ 2 h 6"/>
                  <a:gd name="T36" fmla="*/ 3 w 16"/>
                  <a:gd name="T37" fmla="*/ 2 h 6"/>
                  <a:gd name="T38" fmla="*/ 2 w 16"/>
                  <a:gd name="T39" fmla="*/ 1 h 6"/>
                  <a:gd name="T40" fmla="*/ 2 w 16"/>
                  <a:gd name="T41" fmla="*/ 1 h 6"/>
                  <a:gd name="T42" fmla="*/ 1 w 16"/>
                  <a:gd name="T43" fmla="*/ 1 h 6"/>
                  <a:gd name="T44" fmla="*/ 0 w 16"/>
                  <a:gd name="T45" fmla="*/ 2 h 6"/>
                  <a:gd name="T46" fmla="*/ 0 w 16"/>
                  <a:gd name="T47" fmla="*/ 3 h 6"/>
                  <a:gd name="T48" fmla="*/ 2 w 16"/>
                  <a:gd name="T4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" h="6">
                    <a:moveTo>
                      <a:pt x="2" y="4"/>
                    </a:moveTo>
                    <a:cubicBezTo>
                      <a:pt x="3" y="5"/>
                      <a:pt x="5" y="5"/>
                      <a:pt x="6" y="6"/>
                    </a:cubicBezTo>
                    <a:cubicBezTo>
                      <a:pt x="7" y="6"/>
                      <a:pt x="9" y="6"/>
                      <a:pt x="9" y="6"/>
                    </a:cubicBezTo>
                    <a:cubicBezTo>
                      <a:pt x="10" y="6"/>
                      <a:pt x="11" y="6"/>
                      <a:pt x="11" y="6"/>
                    </a:cubicBezTo>
                    <a:cubicBezTo>
                      <a:pt x="11" y="6"/>
                      <a:pt x="12" y="6"/>
                      <a:pt x="13" y="6"/>
                    </a:cubicBezTo>
                    <a:cubicBezTo>
                      <a:pt x="14" y="6"/>
                      <a:pt x="15" y="6"/>
                      <a:pt x="15" y="5"/>
                    </a:cubicBezTo>
                    <a:cubicBezTo>
                      <a:pt x="14" y="5"/>
                      <a:pt x="15" y="4"/>
                      <a:pt x="15" y="4"/>
                    </a:cubicBezTo>
                    <a:cubicBezTo>
                      <a:pt x="15" y="4"/>
                      <a:pt x="16" y="4"/>
                      <a:pt x="16" y="3"/>
                    </a:cubicBezTo>
                    <a:cubicBezTo>
                      <a:pt x="16" y="3"/>
                      <a:pt x="15" y="3"/>
                      <a:pt x="15" y="3"/>
                    </a:cubicBezTo>
                    <a:cubicBezTo>
                      <a:pt x="14" y="4"/>
                      <a:pt x="13" y="3"/>
                      <a:pt x="12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0" y="3"/>
                      <a:pt x="9" y="3"/>
                      <a:pt x="9" y="3"/>
                    </a:cubicBezTo>
                    <a:cubicBezTo>
                      <a:pt x="8" y="3"/>
                      <a:pt x="7" y="3"/>
                      <a:pt x="8" y="3"/>
                    </a:cubicBezTo>
                    <a:cubicBezTo>
                      <a:pt x="8" y="3"/>
                      <a:pt x="7" y="2"/>
                      <a:pt x="7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2"/>
                      <a:pt x="2" y="2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1" y="3"/>
                      <a:pt x="2" y="4"/>
                      <a:pt x="2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91" name="Freeform 26">
                <a:extLst>
                  <a:ext uri="{FF2B5EF4-FFF2-40B4-BE49-F238E27FC236}">
                    <a16:creationId xmlns:a16="http://schemas.microsoft.com/office/drawing/2014/main" id="{57ACA351-A113-42B4-AF08-EF97CE3D41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5" y="1749"/>
                <a:ext cx="67" cy="23"/>
              </a:xfrm>
              <a:custGeom>
                <a:avLst/>
                <a:gdLst>
                  <a:gd name="T0" fmla="*/ 0 w 28"/>
                  <a:gd name="T1" fmla="*/ 3 h 10"/>
                  <a:gd name="T2" fmla="*/ 2 w 28"/>
                  <a:gd name="T3" fmla="*/ 4 h 10"/>
                  <a:gd name="T4" fmla="*/ 2 w 28"/>
                  <a:gd name="T5" fmla="*/ 5 h 10"/>
                  <a:gd name="T6" fmla="*/ 0 w 28"/>
                  <a:gd name="T7" fmla="*/ 6 h 10"/>
                  <a:gd name="T8" fmla="*/ 2 w 28"/>
                  <a:gd name="T9" fmla="*/ 7 h 10"/>
                  <a:gd name="T10" fmla="*/ 4 w 28"/>
                  <a:gd name="T11" fmla="*/ 9 h 10"/>
                  <a:gd name="T12" fmla="*/ 7 w 28"/>
                  <a:gd name="T13" fmla="*/ 10 h 10"/>
                  <a:gd name="T14" fmla="*/ 9 w 28"/>
                  <a:gd name="T15" fmla="*/ 9 h 10"/>
                  <a:gd name="T16" fmla="*/ 9 w 28"/>
                  <a:gd name="T17" fmla="*/ 8 h 10"/>
                  <a:gd name="T18" fmla="*/ 11 w 28"/>
                  <a:gd name="T19" fmla="*/ 9 h 10"/>
                  <a:gd name="T20" fmla="*/ 12 w 28"/>
                  <a:gd name="T21" fmla="*/ 8 h 10"/>
                  <a:gd name="T22" fmla="*/ 17 w 28"/>
                  <a:gd name="T23" fmla="*/ 8 h 10"/>
                  <a:gd name="T24" fmla="*/ 17 w 28"/>
                  <a:gd name="T25" fmla="*/ 9 h 10"/>
                  <a:gd name="T26" fmla="*/ 20 w 28"/>
                  <a:gd name="T27" fmla="*/ 8 h 10"/>
                  <a:gd name="T28" fmla="*/ 22 w 28"/>
                  <a:gd name="T29" fmla="*/ 8 h 10"/>
                  <a:gd name="T30" fmla="*/ 18 w 28"/>
                  <a:gd name="T31" fmla="*/ 6 h 10"/>
                  <a:gd name="T32" fmla="*/ 17 w 28"/>
                  <a:gd name="T33" fmla="*/ 4 h 10"/>
                  <a:gd name="T34" fmla="*/ 17 w 28"/>
                  <a:gd name="T35" fmla="*/ 3 h 10"/>
                  <a:gd name="T36" fmla="*/ 20 w 28"/>
                  <a:gd name="T37" fmla="*/ 4 h 10"/>
                  <a:gd name="T38" fmla="*/ 19 w 28"/>
                  <a:gd name="T39" fmla="*/ 5 h 10"/>
                  <a:gd name="T40" fmla="*/ 20 w 28"/>
                  <a:gd name="T41" fmla="*/ 6 h 10"/>
                  <a:gd name="T42" fmla="*/ 21 w 28"/>
                  <a:gd name="T43" fmla="*/ 7 h 10"/>
                  <a:gd name="T44" fmla="*/ 22 w 28"/>
                  <a:gd name="T45" fmla="*/ 7 h 10"/>
                  <a:gd name="T46" fmla="*/ 25 w 28"/>
                  <a:gd name="T47" fmla="*/ 7 h 10"/>
                  <a:gd name="T48" fmla="*/ 25 w 28"/>
                  <a:gd name="T49" fmla="*/ 5 h 10"/>
                  <a:gd name="T50" fmla="*/ 27 w 28"/>
                  <a:gd name="T51" fmla="*/ 4 h 10"/>
                  <a:gd name="T52" fmla="*/ 26 w 28"/>
                  <a:gd name="T53" fmla="*/ 4 h 10"/>
                  <a:gd name="T54" fmla="*/ 22 w 28"/>
                  <a:gd name="T55" fmla="*/ 2 h 10"/>
                  <a:gd name="T56" fmla="*/ 19 w 28"/>
                  <a:gd name="T57" fmla="*/ 2 h 10"/>
                  <a:gd name="T58" fmla="*/ 17 w 28"/>
                  <a:gd name="T59" fmla="*/ 1 h 10"/>
                  <a:gd name="T60" fmla="*/ 15 w 28"/>
                  <a:gd name="T61" fmla="*/ 0 h 10"/>
                  <a:gd name="T62" fmla="*/ 14 w 28"/>
                  <a:gd name="T63" fmla="*/ 1 h 10"/>
                  <a:gd name="T64" fmla="*/ 13 w 28"/>
                  <a:gd name="T65" fmla="*/ 2 h 10"/>
                  <a:gd name="T66" fmla="*/ 13 w 28"/>
                  <a:gd name="T67" fmla="*/ 4 h 10"/>
                  <a:gd name="T68" fmla="*/ 11 w 28"/>
                  <a:gd name="T69" fmla="*/ 3 h 10"/>
                  <a:gd name="T70" fmla="*/ 10 w 28"/>
                  <a:gd name="T71" fmla="*/ 2 h 10"/>
                  <a:gd name="T72" fmla="*/ 7 w 28"/>
                  <a:gd name="T73" fmla="*/ 0 h 10"/>
                  <a:gd name="T74" fmla="*/ 5 w 28"/>
                  <a:gd name="T75" fmla="*/ 1 h 10"/>
                  <a:gd name="T76" fmla="*/ 4 w 28"/>
                  <a:gd name="T77" fmla="*/ 1 h 10"/>
                  <a:gd name="T78" fmla="*/ 2 w 28"/>
                  <a:gd name="T79" fmla="*/ 1 h 10"/>
                  <a:gd name="T80" fmla="*/ 3 w 28"/>
                  <a:gd name="T81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8" h="10">
                    <a:moveTo>
                      <a:pt x="2" y="3"/>
                    </a:moveTo>
                    <a:cubicBezTo>
                      <a:pt x="2" y="3"/>
                      <a:pt x="1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0" y="6"/>
                      <a:pt x="0" y="6"/>
                    </a:cubicBezTo>
                    <a:cubicBezTo>
                      <a:pt x="1" y="7"/>
                      <a:pt x="1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3" y="8"/>
                      <a:pt x="3" y="8"/>
                    </a:cubicBezTo>
                    <a:cubicBezTo>
                      <a:pt x="3" y="8"/>
                      <a:pt x="4" y="8"/>
                      <a:pt x="4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5" y="9"/>
                      <a:pt x="6" y="9"/>
                      <a:pt x="7" y="10"/>
                    </a:cubicBezTo>
                    <a:cubicBezTo>
                      <a:pt x="8" y="10"/>
                      <a:pt x="8" y="10"/>
                      <a:pt x="8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9" y="8"/>
                      <a:pt x="9" y="8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8"/>
                      <a:pt x="10" y="9"/>
                      <a:pt x="11" y="9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4" y="8"/>
                      <a:pt x="16" y="8"/>
                      <a:pt x="17" y="8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6" y="8"/>
                      <a:pt x="16" y="8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9" y="9"/>
                      <a:pt x="19" y="8"/>
                      <a:pt x="20" y="8"/>
                    </a:cubicBezTo>
                    <a:cubicBezTo>
                      <a:pt x="20" y="8"/>
                      <a:pt x="21" y="8"/>
                      <a:pt x="21" y="8"/>
                    </a:cubicBezTo>
                    <a:cubicBezTo>
                      <a:pt x="22" y="8"/>
                      <a:pt x="22" y="8"/>
                      <a:pt x="22" y="8"/>
                    </a:cubicBezTo>
                    <a:cubicBezTo>
                      <a:pt x="22" y="8"/>
                      <a:pt x="21" y="7"/>
                      <a:pt x="20" y="7"/>
                    </a:cubicBezTo>
                    <a:cubicBezTo>
                      <a:pt x="19" y="7"/>
                      <a:pt x="19" y="7"/>
                      <a:pt x="18" y="6"/>
                    </a:cubicBezTo>
                    <a:cubicBezTo>
                      <a:pt x="18" y="6"/>
                      <a:pt x="18" y="6"/>
                      <a:pt x="17" y="5"/>
                    </a:cubicBezTo>
                    <a:cubicBezTo>
                      <a:pt x="17" y="5"/>
                      <a:pt x="17" y="5"/>
                      <a:pt x="17" y="4"/>
                    </a:cubicBezTo>
                    <a:cubicBezTo>
                      <a:pt x="17" y="4"/>
                      <a:pt x="17" y="3"/>
                      <a:pt x="17" y="3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9" y="3"/>
                      <a:pt x="20" y="3"/>
                      <a:pt x="20" y="4"/>
                    </a:cubicBezTo>
                    <a:cubicBezTo>
                      <a:pt x="20" y="4"/>
                      <a:pt x="20" y="4"/>
                      <a:pt x="19" y="4"/>
                    </a:cubicBezTo>
                    <a:cubicBezTo>
                      <a:pt x="19" y="4"/>
                      <a:pt x="19" y="5"/>
                      <a:pt x="19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5"/>
                      <a:pt x="19" y="6"/>
                      <a:pt x="20" y="6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21" y="6"/>
                      <a:pt x="21" y="7"/>
                      <a:pt x="21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7"/>
                      <a:pt x="23" y="7"/>
                      <a:pt x="23" y="7"/>
                    </a:cubicBezTo>
                    <a:cubicBezTo>
                      <a:pt x="23" y="7"/>
                      <a:pt x="24" y="7"/>
                      <a:pt x="25" y="7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5" y="6"/>
                      <a:pt x="26" y="6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6" y="5"/>
                      <a:pt x="26" y="4"/>
                      <a:pt x="27" y="4"/>
                    </a:cubicBezTo>
                    <a:cubicBezTo>
                      <a:pt x="27" y="4"/>
                      <a:pt x="28" y="4"/>
                      <a:pt x="27" y="4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25" y="3"/>
                      <a:pt x="24" y="3"/>
                      <a:pt x="24" y="3"/>
                    </a:cubicBezTo>
                    <a:cubicBezTo>
                      <a:pt x="23" y="2"/>
                      <a:pt x="22" y="2"/>
                      <a:pt x="22" y="2"/>
                    </a:cubicBezTo>
                    <a:cubicBezTo>
                      <a:pt x="22" y="2"/>
                      <a:pt x="21" y="2"/>
                      <a:pt x="21" y="2"/>
                    </a:cubicBezTo>
                    <a:cubicBezTo>
                      <a:pt x="21" y="2"/>
                      <a:pt x="20" y="2"/>
                      <a:pt x="19" y="2"/>
                    </a:cubicBezTo>
                    <a:cubicBezTo>
                      <a:pt x="19" y="2"/>
                      <a:pt x="19" y="3"/>
                      <a:pt x="19" y="2"/>
                    </a:cubicBezTo>
                    <a:cubicBezTo>
                      <a:pt x="18" y="2"/>
                      <a:pt x="17" y="1"/>
                      <a:pt x="17" y="1"/>
                    </a:cubicBezTo>
                    <a:cubicBezTo>
                      <a:pt x="17" y="1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4" y="0"/>
                      <a:pt x="14" y="1"/>
                      <a:pt x="15" y="1"/>
                    </a:cubicBezTo>
                    <a:cubicBezTo>
                      <a:pt x="15" y="1"/>
                      <a:pt x="15" y="1"/>
                      <a:pt x="14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3" y="1"/>
                      <a:pt x="13" y="1"/>
                      <a:pt x="13" y="2"/>
                    </a:cubicBezTo>
                    <a:cubicBezTo>
                      <a:pt x="13" y="2"/>
                      <a:pt x="13" y="3"/>
                      <a:pt x="13" y="3"/>
                    </a:cubicBezTo>
                    <a:cubicBezTo>
                      <a:pt x="13" y="3"/>
                      <a:pt x="13" y="4"/>
                      <a:pt x="13" y="4"/>
                    </a:cubicBezTo>
                    <a:cubicBezTo>
                      <a:pt x="12" y="4"/>
                      <a:pt x="10" y="4"/>
                      <a:pt x="11" y="3"/>
                    </a:cubicBezTo>
                    <a:cubicBezTo>
                      <a:pt x="11" y="3"/>
                      <a:pt x="12" y="3"/>
                      <a:pt x="11" y="3"/>
                    </a:cubicBezTo>
                    <a:cubicBezTo>
                      <a:pt x="11" y="3"/>
                      <a:pt x="9" y="3"/>
                      <a:pt x="10" y="2"/>
                    </a:cubicBezTo>
                    <a:cubicBezTo>
                      <a:pt x="10" y="2"/>
                      <a:pt x="11" y="2"/>
                      <a:pt x="10" y="2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3" y="1"/>
                      <a:pt x="3" y="1"/>
                      <a:pt x="2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3" y="3"/>
                      <a:pt x="3" y="3"/>
                    </a:cubicBezTo>
                    <a:cubicBezTo>
                      <a:pt x="3" y="3"/>
                      <a:pt x="3" y="3"/>
                      <a:pt x="2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92" name="Freeform 27">
                <a:extLst>
                  <a:ext uri="{FF2B5EF4-FFF2-40B4-BE49-F238E27FC236}">
                    <a16:creationId xmlns:a16="http://schemas.microsoft.com/office/drawing/2014/main" id="{D32F7EC7-720B-49FA-B654-B8D25DD256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5" y="1794"/>
                <a:ext cx="7" cy="5"/>
              </a:xfrm>
              <a:custGeom>
                <a:avLst/>
                <a:gdLst>
                  <a:gd name="T0" fmla="*/ 2 w 3"/>
                  <a:gd name="T1" fmla="*/ 2 h 2"/>
                  <a:gd name="T2" fmla="*/ 2 w 3"/>
                  <a:gd name="T3" fmla="*/ 2 h 2"/>
                  <a:gd name="T4" fmla="*/ 3 w 3"/>
                  <a:gd name="T5" fmla="*/ 2 h 2"/>
                  <a:gd name="T6" fmla="*/ 3 w 3"/>
                  <a:gd name="T7" fmla="*/ 1 h 2"/>
                  <a:gd name="T8" fmla="*/ 3 w 3"/>
                  <a:gd name="T9" fmla="*/ 1 h 2"/>
                  <a:gd name="T10" fmla="*/ 1 w 3"/>
                  <a:gd name="T11" fmla="*/ 0 h 2"/>
                  <a:gd name="T12" fmla="*/ 1 w 3"/>
                  <a:gd name="T13" fmla="*/ 1 h 2"/>
                  <a:gd name="T14" fmla="*/ 0 w 3"/>
                  <a:gd name="T15" fmla="*/ 1 h 2"/>
                  <a:gd name="T16" fmla="*/ 0 w 3"/>
                  <a:gd name="T17" fmla="*/ 2 h 2"/>
                  <a:gd name="T18" fmla="*/ 2 w 3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3" y="2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1" y="2"/>
                      <a:pt x="2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93" name="Freeform 28">
                <a:extLst>
                  <a:ext uri="{FF2B5EF4-FFF2-40B4-BE49-F238E27FC236}">
                    <a16:creationId xmlns:a16="http://schemas.microsoft.com/office/drawing/2014/main" id="{C5C9CF0F-9684-4E5C-A44E-FAB79AF66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1" y="1801"/>
                <a:ext cx="9" cy="5"/>
              </a:xfrm>
              <a:custGeom>
                <a:avLst/>
                <a:gdLst>
                  <a:gd name="T0" fmla="*/ 1 w 4"/>
                  <a:gd name="T1" fmla="*/ 2 h 2"/>
                  <a:gd name="T2" fmla="*/ 3 w 4"/>
                  <a:gd name="T3" fmla="*/ 1 h 2"/>
                  <a:gd name="T4" fmla="*/ 3 w 4"/>
                  <a:gd name="T5" fmla="*/ 1 h 2"/>
                  <a:gd name="T6" fmla="*/ 4 w 4"/>
                  <a:gd name="T7" fmla="*/ 0 h 2"/>
                  <a:gd name="T8" fmla="*/ 4 w 4"/>
                  <a:gd name="T9" fmla="*/ 0 h 2"/>
                  <a:gd name="T10" fmla="*/ 3 w 4"/>
                  <a:gd name="T11" fmla="*/ 0 h 2"/>
                  <a:gd name="T12" fmla="*/ 3 w 4"/>
                  <a:gd name="T13" fmla="*/ 0 h 2"/>
                  <a:gd name="T14" fmla="*/ 1 w 4"/>
                  <a:gd name="T15" fmla="*/ 0 h 2"/>
                  <a:gd name="T16" fmla="*/ 1 w 4"/>
                  <a:gd name="T17" fmla="*/ 0 h 2"/>
                  <a:gd name="T18" fmla="*/ 0 w 4"/>
                  <a:gd name="T19" fmla="*/ 1 h 2"/>
                  <a:gd name="T20" fmla="*/ 0 w 4"/>
                  <a:gd name="T21" fmla="*/ 1 h 2"/>
                  <a:gd name="T22" fmla="*/ 1 w 4"/>
                  <a:gd name="T2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" h="2">
                    <a:moveTo>
                      <a:pt x="1" y="2"/>
                    </a:moveTo>
                    <a:cubicBezTo>
                      <a:pt x="1" y="2"/>
                      <a:pt x="2" y="2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94" name="Freeform 29">
                <a:extLst>
                  <a:ext uri="{FF2B5EF4-FFF2-40B4-BE49-F238E27FC236}">
                    <a16:creationId xmlns:a16="http://schemas.microsoft.com/office/drawing/2014/main" id="{A7D9AA8D-92EA-485E-B7BC-CE19571658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9" y="1791"/>
                <a:ext cx="8" cy="5"/>
              </a:xfrm>
              <a:custGeom>
                <a:avLst/>
                <a:gdLst>
                  <a:gd name="T0" fmla="*/ 2 w 3"/>
                  <a:gd name="T1" fmla="*/ 2 h 2"/>
                  <a:gd name="T2" fmla="*/ 2 w 3"/>
                  <a:gd name="T3" fmla="*/ 2 h 2"/>
                  <a:gd name="T4" fmla="*/ 3 w 3"/>
                  <a:gd name="T5" fmla="*/ 1 h 2"/>
                  <a:gd name="T6" fmla="*/ 3 w 3"/>
                  <a:gd name="T7" fmla="*/ 1 h 2"/>
                  <a:gd name="T8" fmla="*/ 2 w 3"/>
                  <a:gd name="T9" fmla="*/ 1 h 2"/>
                  <a:gd name="T10" fmla="*/ 2 w 3"/>
                  <a:gd name="T11" fmla="*/ 1 h 2"/>
                  <a:gd name="T12" fmla="*/ 1 w 3"/>
                  <a:gd name="T13" fmla="*/ 0 h 2"/>
                  <a:gd name="T14" fmla="*/ 0 w 3"/>
                  <a:gd name="T15" fmla="*/ 1 h 2"/>
                  <a:gd name="T16" fmla="*/ 0 w 3"/>
                  <a:gd name="T17" fmla="*/ 1 h 2"/>
                  <a:gd name="T18" fmla="*/ 2 w 3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2"/>
                      <a:pt x="2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95" name="Freeform 30">
                <a:extLst>
                  <a:ext uri="{FF2B5EF4-FFF2-40B4-BE49-F238E27FC236}">
                    <a16:creationId xmlns:a16="http://schemas.microsoft.com/office/drawing/2014/main" id="{35532D24-3FD5-4BC0-93D4-5F2EDA73F0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9" y="1787"/>
                <a:ext cx="14" cy="7"/>
              </a:xfrm>
              <a:custGeom>
                <a:avLst/>
                <a:gdLst>
                  <a:gd name="T0" fmla="*/ 1 w 6"/>
                  <a:gd name="T1" fmla="*/ 3 h 3"/>
                  <a:gd name="T2" fmla="*/ 1 w 6"/>
                  <a:gd name="T3" fmla="*/ 3 h 3"/>
                  <a:gd name="T4" fmla="*/ 4 w 6"/>
                  <a:gd name="T5" fmla="*/ 3 h 3"/>
                  <a:gd name="T6" fmla="*/ 6 w 6"/>
                  <a:gd name="T7" fmla="*/ 2 h 3"/>
                  <a:gd name="T8" fmla="*/ 5 w 6"/>
                  <a:gd name="T9" fmla="*/ 2 h 3"/>
                  <a:gd name="T10" fmla="*/ 5 w 6"/>
                  <a:gd name="T11" fmla="*/ 1 h 3"/>
                  <a:gd name="T12" fmla="*/ 4 w 6"/>
                  <a:gd name="T13" fmla="*/ 2 h 3"/>
                  <a:gd name="T14" fmla="*/ 4 w 6"/>
                  <a:gd name="T15" fmla="*/ 1 h 3"/>
                  <a:gd name="T16" fmla="*/ 4 w 6"/>
                  <a:gd name="T17" fmla="*/ 1 h 3"/>
                  <a:gd name="T18" fmla="*/ 5 w 6"/>
                  <a:gd name="T19" fmla="*/ 0 h 3"/>
                  <a:gd name="T20" fmla="*/ 4 w 6"/>
                  <a:gd name="T21" fmla="*/ 0 h 3"/>
                  <a:gd name="T22" fmla="*/ 2 w 6"/>
                  <a:gd name="T23" fmla="*/ 0 h 3"/>
                  <a:gd name="T24" fmla="*/ 1 w 6"/>
                  <a:gd name="T25" fmla="*/ 1 h 3"/>
                  <a:gd name="T26" fmla="*/ 0 w 6"/>
                  <a:gd name="T27" fmla="*/ 1 h 3"/>
                  <a:gd name="T28" fmla="*/ 1 w 6"/>
                  <a:gd name="T29" fmla="*/ 2 h 3"/>
                  <a:gd name="T30" fmla="*/ 0 w 6"/>
                  <a:gd name="T31" fmla="*/ 2 h 3"/>
                  <a:gd name="T32" fmla="*/ 0 w 6"/>
                  <a:gd name="T33" fmla="*/ 3 h 3"/>
                  <a:gd name="T34" fmla="*/ 0 w 6"/>
                  <a:gd name="T35" fmla="*/ 3 h 3"/>
                  <a:gd name="T36" fmla="*/ 1 w 6"/>
                  <a:gd name="T3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" h="3"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2" y="3"/>
                      <a:pt x="4" y="3"/>
                    </a:cubicBezTo>
                    <a:cubicBezTo>
                      <a:pt x="5" y="3"/>
                      <a:pt x="6" y="2"/>
                      <a:pt x="6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2"/>
                      <a:pt x="4" y="2"/>
                      <a:pt x="4" y="2"/>
                    </a:cubicBezTo>
                    <a:cubicBezTo>
                      <a:pt x="4" y="2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1"/>
                      <a:pt x="5" y="0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2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3"/>
                      <a:pt x="1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96" name="Freeform 31">
                <a:extLst>
                  <a:ext uri="{FF2B5EF4-FFF2-40B4-BE49-F238E27FC236}">
                    <a16:creationId xmlns:a16="http://schemas.microsoft.com/office/drawing/2014/main" id="{C6291FA4-B114-4DBA-81A5-C3B6842F62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1" y="1829"/>
                <a:ext cx="17" cy="12"/>
              </a:xfrm>
              <a:custGeom>
                <a:avLst/>
                <a:gdLst>
                  <a:gd name="T0" fmla="*/ 4 w 7"/>
                  <a:gd name="T1" fmla="*/ 4 h 5"/>
                  <a:gd name="T2" fmla="*/ 5 w 7"/>
                  <a:gd name="T3" fmla="*/ 5 h 5"/>
                  <a:gd name="T4" fmla="*/ 6 w 7"/>
                  <a:gd name="T5" fmla="*/ 5 h 5"/>
                  <a:gd name="T6" fmla="*/ 6 w 7"/>
                  <a:gd name="T7" fmla="*/ 5 h 5"/>
                  <a:gd name="T8" fmla="*/ 7 w 7"/>
                  <a:gd name="T9" fmla="*/ 4 h 5"/>
                  <a:gd name="T10" fmla="*/ 7 w 7"/>
                  <a:gd name="T11" fmla="*/ 4 h 5"/>
                  <a:gd name="T12" fmla="*/ 6 w 7"/>
                  <a:gd name="T13" fmla="*/ 3 h 5"/>
                  <a:gd name="T14" fmla="*/ 6 w 7"/>
                  <a:gd name="T15" fmla="*/ 3 h 5"/>
                  <a:gd name="T16" fmla="*/ 6 w 7"/>
                  <a:gd name="T17" fmla="*/ 3 h 5"/>
                  <a:gd name="T18" fmla="*/ 4 w 7"/>
                  <a:gd name="T19" fmla="*/ 2 h 5"/>
                  <a:gd name="T20" fmla="*/ 4 w 7"/>
                  <a:gd name="T21" fmla="*/ 2 h 5"/>
                  <a:gd name="T22" fmla="*/ 3 w 7"/>
                  <a:gd name="T23" fmla="*/ 1 h 5"/>
                  <a:gd name="T24" fmla="*/ 2 w 7"/>
                  <a:gd name="T25" fmla="*/ 0 h 5"/>
                  <a:gd name="T26" fmla="*/ 1 w 7"/>
                  <a:gd name="T27" fmla="*/ 1 h 5"/>
                  <a:gd name="T28" fmla="*/ 1 w 7"/>
                  <a:gd name="T29" fmla="*/ 1 h 5"/>
                  <a:gd name="T30" fmla="*/ 1 w 7"/>
                  <a:gd name="T31" fmla="*/ 1 h 5"/>
                  <a:gd name="T32" fmla="*/ 2 w 7"/>
                  <a:gd name="T33" fmla="*/ 2 h 5"/>
                  <a:gd name="T34" fmla="*/ 0 w 7"/>
                  <a:gd name="T35" fmla="*/ 2 h 5"/>
                  <a:gd name="T36" fmla="*/ 0 w 7"/>
                  <a:gd name="T37" fmla="*/ 2 h 5"/>
                  <a:gd name="T38" fmla="*/ 0 w 7"/>
                  <a:gd name="T39" fmla="*/ 2 h 5"/>
                  <a:gd name="T40" fmla="*/ 0 w 7"/>
                  <a:gd name="T41" fmla="*/ 3 h 5"/>
                  <a:gd name="T42" fmla="*/ 1 w 7"/>
                  <a:gd name="T43" fmla="*/ 3 h 5"/>
                  <a:gd name="T44" fmla="*/ 1 w 7"/>
                  <a:gd name="T45" fmla="*/ 4 h 5"/>
                  <a:gd name="T46" fmla="*/ 2 w 7"/>
                  <a:gd name="T47" fmla="*/ 4 h 5"/>
                  <a:gd name="T48" fmla="*/ 3 w 7"/>
                  <a:gd name="T49" fmla="*/ 4 h 5"/>
                  <a:gd name="T50" fmla="*/ 3 w 7"/>
                  <a:gd name="T51" fmla="*/ 4 h 5"/>
                  <a:gd name="T52" fmla="*/ 3 w 7"/>
                  <a:gd name="T53" fmla="*/ 4 h 5"/>
                  <a:gd name="T54" fmla="*/ 4 w 7"/>
                  <a:gd name="T5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" h="5">
                    <a:moveTo>
                      <a:pt x="4" y="4"/>
                    </a:moveTo>
                    <a:cubicBezTo>
                      <a:pt x="4" y="5"/>
                      <a:pt x="5" y="5"/>
                      <a:pt x="5" y="5"/>
                    </a:cubicBezTo>
                    <a:cubicBezTo>
                      <a:pt x="5" y="5"/>
                      <a:pt x="6" y="5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5"/>
                      <a:pt x="7" y="5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3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3" y="2"/>
                      <a:pt x="3" y="1"/>
                      <a:pt x="3" y="1"/>
                    </a:cubicBezTo>
                    <a:cubicBezTo>
                      <a:pt x="3" y="1"/>
                      <a:pt x="2" y="1"/>
                      <a:pt x="2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4" y="4"/>
                      <a:pt x="4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97" name="Freeform 32">
                <a:extLst>
                  <a:ext uri="{FF2B5EF4-FFF2-40B4-BE49-F238E27FC236}">
                    <a16:creationId xmlns:a16="http://schemas.microsoft.com/office/drawing/2014/main" id="{6DDD0E20-2B71-4B94-A5B3-EBA276D705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5" y="1844"/>
                <a:ext cx="14" cy="9"/>
              </a:xfrm>
              <a:custGeom>
                <a:avLst/>
                <a:gdLst>
                  <a:gd name="T0" fmla="*/ 5 w 6"/>
                  <a:gd name="T1" fmla="*/ 3 h 4"/>
                  <a:gd name="T2" fmla="*/ 6 w 6"/>
                  <a:gd name="T3" fmla="*/ 3 h 4"/>
                  <a:gd name="T4" fmla="*/ 6 w 6"/>
                  <a:gd name="T5" fmla="*/ 2 h 4"/>
                  <a:gd name="T6" fmla="*/ 5 w 6"/>
                  <a:gd name="T7" fmla="*/ 1 h 4"/>
                  <a:gd name="T8" fmla="*/ 3 w 6"/>
                  <a:gd name="T9" fmla="*/ 0 h 4"/>
                  <a:gd name="T10" fmla="*/ 2 w 6"/>
                  <a:gd name="T11" fmla="*/ 0 h 4"/>
                  <a:gd name="T12" fmla="*/ 1 w 6"/>
                  <a:gd name="T13" fmla="*/ 0 h 4"/>
                  <a:gd name="T14" fmla="*/ 0 w 6"/>
                  <a:gd name="T15" fmla="*/ 1 h 4"/>
                  <a:gd name="T16" fmla="*/ 0 w 6"/>
                  <a:gd name="T17" fmla="*/ 1 h 4"/>
                  <a:gd name="T18" fmla="*/ 0 w 6"/>
                  <a:gd name="T19" fmla="*/ 2 h 4"/>
                  <a:gd name="T20" fmla="*/ 0 w 6"/>
                  <a:gd name="T21" fmla="*/ 4 h 4"/>
                  <a:gd name="T22" fmla="*/ 2 w 6"/>
                  <a:gd name="T23" fmla="*/ 4 h 4"/>
                  <a:gd name="T24" fmla="*/ 3 w 6"/>
                  <a:gd name="T25" fmla="*/ 4 h 4"/>
                  <a:gd name="T26" fmla="*/ 4 w 6"/>
                  <a:gd name="T27" fmla="*/ 3 h 4"/>
                  <a:gd name="T28" fmla="*/ 5 w 6"/>
                  <a:gd name="T29" fmla="*/ 3 h 4"/>
                  <a:gd name="T30" fmla="*/ 5 w 6"/>
                  <a:gd name="T31" fmla="*/ 3 h 4"/>
                  <a:gd name="T32" fmla="*/ 5 w 6"/>
                  <a:gd name="T33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" h="4">
                    <a:moveTo>
                      <a:pt x="5" y="3"/>
                    </a:move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2"/>
                      <a:pt x="6" y="2"/>
                    </a:cubicBezTo>
                    <a:cubicBezTo>
                      <a:pt x="6" y="2"/>
                      <a:pt x="6" y="1"/>
                      <a:pt x="5" y="1"/>
                    </a:cubicBezTo>
                    <a:cubicBezTo>
                      <a:pt x="5" y="1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1" y="4"/>
                      <a:pt x="1" y="4"/>
                      <a:pt x="2" y="4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4" y="4"/>
                      <a:pt x="4" y="3"/>
                      <a:pt x="4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2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98" name="Freeform 33">
                <a:extLst>
                  <a:ext uri="{FF2B5EF4-FFF2-40B4-BE49-F238E27FC236}">
                    <a16:creationId xmlns:a16="http://schemas.microsoft.com/office/drawing/2014/main" id="{46AF7613-E10E-45D9-9C96-6E8861A8D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0" y="1801"/>
                <a:ext cx="19" cy="7"/>
              </a:xfrm>
              <a:custGeom>
                <a:avLst/>
                <a:gdLst>
                  <a:gd name="T0" fmla="*/ 2 w 8"/>
                  <a:gd name="T1" fmla="*/ 0 h 3"/>
                  <a:gd name="T2" fmla="*/ 1 w 8"/>
                  <a:gd name="T3" fmla="*/ 0 h 3"/>
                  <a:gd name="T4" fmla="*/ 1 w 8"/>
                  <a:gd name="T5" fmla="*/ 1 h 3"/>
                  <a:gd name="T6" fmla="*/ 3 w 8"/>
                  <a:gd name="T7" fmla="*/ 1 h 3"/>
                  <a:gd name="T8" fmla="*/ 3 w 8"/>
                  <a:gd name="T9" fmla="*/ 1 h 3"/>
                  <a:gd name="T10" fmla="*/ 5 w 8"/>
                  <a:gd name="T11" fmla="*/ 2 h 3"/>
                  <a:gd name="T12" fmla="*/ 5 w 8"/>
                  <a:gd name="T13" fmla="*/ 2 h 3"/>
                  <a:gd name="T14" fmla="*/ 6 w 8"/>
                  <a:gd name="T15" fmla="*/ 3 h 3"/>
                  <a:gd name="T16" fmla="*/ 7 w 8"/>
                  <a:gd name="T17" fmla="*/ 3 h 3"/>
                  <a:gd name="T18" fmla="*/ 8 w 8"/>
                  <a:gd name="T19" fmla="*/ 2 h 3"/>
                  <a:gd name="T20" fmla="*/ 8 w 8"/>
                  <a:gd name="T21" fmla="*/ 2 h 3"/>
                  <a:gd name="T22" fmla="*/ 8 w 8"/>
                  <a:gd name="T23" fmla="*/ 2 h 3"/>
                  <a:gd name="T24" fmla="*/ 6 w 8"/>
                  <a:gd name="T25" fmla="*/ 1 h 3"/>
                  <a:gd name="T26" fmla="*/ 6 w 8"/>
                  <a:gd name="T27" fmla="*/ 1 h 3"/>
                  <a:gd name="T28" fmla="*/ 6 w 8"/>
                  <a:gd name="T29" fmla="*/ 1 h 3"/>
                  <a:gd name="T30" fmla="*/ 3 w 8"/>
                  <a:gd name="T31" fmla="*/ 0 h 3"/>
                  <a:gd name="T32" fmla="*/ 2 w 8"/>
                  <a:gd name="T3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3">
                    <a:moveTo>
                      <a:pt x="2" y="0"/>
                    </a:moveTo>
                    <a:cubicBezTo>
                      <a:pt x="2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2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3"/>
                      <a:pt x="6" y="3"/>
                      <a:pt x="6" y="3"/>
                    </a:cubicBezTo>
                    <a:cubicBezTo>
                      <a:pt x="6" y="3"/>
                      <a:pt x="7" y="3"/>
                      <a:pt x="7" y="3"/>
                    </a:cubicBezTo>
                    <a:cubicBezTo>
                      <a:pt x="8" y="3"/>
                      <a:pt x="8" y="3"/>
                      <a:pt x="8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1"/>
                      <a:pt x="7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3" y="0"/>
                      <a:pt x="3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99" name="Freeform 34">
                <a:extLst>
                  <a:ext uri="{FF2B5EF4-FFF2-40B4-BE49-F238E27FC236}">
                    <a16:creationId xmlns:a16="http://schemas.microsoft.com/office/drawing/2014/main" id="{E631DE8C-3DCF-4091-9DCC-F078D271AA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2" y="1801"/>
                <a:ext cx="4" cy="0"/>
              </a:xfrm>
              <a:custGeom>
                <a:avLst/>
                <a:gdLst>
                  <a:gd name="T0" fmla="*/ 2 w 2"/>
                  <a:gd name="T1" fmla="*/ 1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00" name="Freeform 35">
                <a:extLst>
                  <a:ext uri="{FF2B5EF4-FFF2-40B4-BE49-F238E27FC236}">
                    <a16:creationId xmlns:a16="http://schemas.microsoft.com/office/drawing/2014/main" id="{A698A265-580A-4AEA-90C8-DD2EBC8DD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9" y="1784"/>
                <a:ext cx="28" cy="19"/>
              </a:xfrm>
              <a:custGeom>
                <a:avLst/>
                <a:gdLst>
                  <a:gd name="T0" fmla="*/ 1 w 12"/>
                  <a:gd name="T1" fmla="*/ 5 h 8"/>
                  <a:gd name="T2" fmla="*/ 2 w 12"/>
                  <a:gd name="T3" fmla="*/ 6 h 8"/>
                  <a:gd name="T4" fmla="*/ 2 w 12"/>
                  <a:gd name="T5" fmla="*/ 6 h 8"/>
                  <a:gd name="T6" fmla="*/ 4 w 12"/>
                  <a:gd name="T7" fmla="*/ 6 h 8"/>
                  <a:gd name="T8" fmla="*/ 6 w 12"/>
                  <a:gd name="T9" fmla="*/ 6 h 8"/>
                  <a:gd name="T10" fmla="*/ 7 w 12"/>
                  <a:gd name="T11" fmla="*/ 7 h 8"/>
                  <a:gd name="T12" fmla="*/ 9 w 12"/>
                  <a:gd name="T13" fmla="*/ 8 h 8"/>
                  <a:gd name="T14" fmla="*/ 9 w 12"/>
                  <a:gd name="T15" fmla="*/ 8 h 8"/>
                  <a:gd name="T16" fmla="*/ 10 w 12"/>
                  <a:gd name="T17" fmla="*/ 8 h 8"/>
                  <a:gd name="T18" fmla="*/ 12 w 12"/>
                  <a:gd name="T19" fmla="*/ 8 h 8"/>
                  <a:gd name="T20" fmla="*/ 12 w 12"/>
                  <a:gd name="T21" fmla="*/ 8 h 8"/>
                  <a:gd name="T22" fmla="*/ 11 w 12"/>
                  <a:gd name="T23" fmla="*/ 6 h 8"/>
                  <a:gd name="T24" fmla="*/ 11 w 12"/>
                  <a:gd name="T25" fmla="*/ 5 h 8"/>
                  <a:gd name="T26" fmla="*/ 12 w 12"/>
                  <a:gd name="T27" fmla="*/ 4 h 8"/>
                  <a:gd name="T28" fmla="*/ 12 w 12"/>
                  <a:gd name="T29" fmla="*/ 2 h 8"/>
                  <a:gd name="T30" fmla="*/ 11 w 12"/>
                  <a:gd name="T31" fmla="*/ 2 h 8"/>
                  <a:gd name="T32" fmla="*/ 11 w 12"/>
                  <a:gd name="T33" fmla="*/ 2 h 8"/>
                  <a:gd name="T34" fmla="*/ 11 w 12"/>
                  <a:gd name="T35" fmla="*/ 2 h 8"/>
                  <a:gd name="T36" fmla="*/ 10 w 12"/>
                  <a:gd name="T37" fmla="*/ 2 h 8"/>
                  <a:gd name="T38" fmla="*/ 9 w 12"/>
                  <a:gd name="T39" fmla="*/ 1 h 8"/>
                  <a:gd name="T40" fmla="*/ 9 w 12"/>
                  <a:gd name="T41" fmla="*/ 1 h 8"/>
                  <a:gd name="T42" fmla="*/ 8 w 12"/>
                  <a:gd name="T43" fmla="*/ 1 h 8"/>
                  <a:gd name="T44" fmla="*/ 7 w 12"/>
                  <a:gd name="T45" fmla="*/ 0 h 8"/>
                  <a:gd name="T46" fmla="*/ 6 w 12"/>
                  <a:gd name="T47" fmla="*/ 0 h 8"/>
                  <a:gd name="T48" fmla="*/ 6 w 12"/>
                  <a:gd name="T49" fmla="*/ 0 h 8"/>
                  <a:gd name="T50" fmla="*/ 5 w 12"/>
                  <a:gd name="T51" fmla="*/ 0 h 8"/>
                  <a:gd name="T52" fmla="*/ 4 w 12"/>
                  <a:gd name="T53" fmla="*/ 0 h 8"/>
                  <a:gd name="T54" fmla="*/ 4 w 12"/>
                  <a:gd name="T55" fmla="*/ 0 h 8"/>
                  <a:gd name="T56" fmla="*/ 4 w 12"/>
                  <a:gd name="T57" fmla="*/ 0 h 8"/>
                  <a:gd name="T58" fmla="*/ 3 w 12"/>
                  <a:gd name="T59" fmla="*/ 1 h 8"/>
                  <a:gd name="T60" fmla="*/ 3 w 12"/>
                  <a:gd name="T61" fmla="*/ 1 h 8"/>
                  <a:gd name="T62" fmla="*/ 3 w 12"/>
                  <a:gd name="T63" fmla="*/ 0 h 8"/>
                  <a:gd name="T64" fmla="*/ 2 w 12"/>
                  <a:gd name="T65" fmla="*/ 1 h 8"/>
                  <a:gd name="T66" fmla="*/ 2 w 12"/>
                  <a:gd name="T67" fmla="*/ 1 h 8"/>
                  <a:gd name="T68" fmla="*/ 2 w 12"/>
                  <a:gd name="T69" fmla="*/ 2 h 8"/>
                  <a:gd name="T70" fmla="*/ 2 w 12"/>
                  <a:gd name="T71" fmla="*/ 3 h 8"/>
                  <a:gd name="T72" fmla="*/ 2 w 12"/>
                  <a:gd name="T73" fmla="*/ 3 h 8"/>
                  <a:gd name="T74" fmla="*/ 2 w 12"/>
                  <a:gd name="T75" fmla="*/ 4 h 8"/>
                  <a:gd name="T76" fmla="*/ 2 w 12"/>
                  <a:gd name="T77" fmla="*/ 4 h 8"/>
                  <a:gd name="T78" fmla="*/ 2 w 12"/>
                  <a:gd name="T79" fmla="*/ 5 h 8"/>
                  <a:gd name="T80" fmla="*/ 1 w 12"/>
                  <a:gd name="T81" fmla="*/ 4 h 8"/>
                  <a:gd name="T82" fmla="*/ 0 w 12"/>
                  <a:gd name="T83" fmla="*/ 4 h 8"/>
                  <a:gd name="T84" fmla="*/ 1 w 12"/>
                  <a:gd name="T85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" h="8">
                    <a:moveTo>
                      <a:pt x="1" y="5"/>
                    </a:move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3" y="6"/>
                      <a:pt x="4" y="6"/>
                      <a:pt x="4" y="6"/>
                    </a:cubicBezTo>
                    <a:cubicBezTo>
                      <a:pt x="5" y="6"/>
                      <a:pt x="6" y="6"/>
                      <a:pt x="6" y="6"/>
                    </a:cubicBezTo>
                    <a:cubicBezTo>
                      <a:pt x="6" y="6"/>
                      <a:pt x="7" y="7"/>
                      <a:pt x="7" y="7"/>
                    </a:cubicBezTo>
                    <a:cubicBezTo>
                      <a:pt x="8" y="7"/>
                      <a:pt x="9" y="7"/>
                      <a:pt x="9" y="8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8"/>
                      <a:pt x="11" y="8"/>
                      <a:pt x="1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7"/>
                      <a:pt x="11" y="6"/>
                      <a:pt x="11" y="6"/>
                    </a:cubicBezTo>
                    <a:cubicBezTo>
                      <a:pt x="11" y="6"/>
                      <a:pt x="11" y="6"/>
                      <a:pt x="11" y="5"/>
                    </a:cubicBezTo>
                    <a:cubicBezTo>
                      <a:pt x="11" y="5"/>
                      <a:pt x="11" y="5"/>
                      <a:pt x="12" y="4"/>
                    </a:cubicBezTo>
                    <a:cubicBezTo>
                      <a:pt x="12" y="4"/>
                      <a:pt x="12" y="3"/>
                      <a:pt x="12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8" y="1"/>
                      <a:pt x="8" y="1"/>
                    </a:cubicBezTo>
                    <a:cubicBezTo>
                      <a:pt x="7" y="1"/>
                      <a:pt x="7" y="0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3"/>
                    </a:cubicBezTo>
                    <a:cubicBezTo>
                      <a:pt x="2" y="3"/>
                      <a:pt x="3" y="3"/>
                      <a:pt x="2" y="3"/>
                    </a:cubicBezTo>
                    <a:cubicBezTo>
                      <a:pt x="2" y="3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1" y="5"/>
                      <a:pt x="1" y="4"/>
                    </a:cubicBezTo>
                    <a:cubicBezTo>
                      <a:pt x="1" y="4"/>
                      <a:pt x="0" y="4"/>
                      <a:pt x="0" y="4"/>
                    </a:cubicBezTo>
                    <a:cubicBezTo>
                      <a:pt x="0" y="5"/>
                      <a:pt x="0" y="5"/>
                      <a:pt x="1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01" name="Freeform 36">
                <a:extLst>
                  <a:ext uri="{FF2B5EF4-FFF2-40B4-BE49-F238E27FC236}">
                    <a16:creationId xmlns:a16="http://schemas.microsoft.com/office/drawing/2014/main" id="{A679332C-4439-4BED-85C0-9D853AC02C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7" y="1787"/>
                <a:ext cx="19" cy="14"/>
              </a:xfrm>
              <a:custGeom>
                <a:avLst/>
                <a:gdLst>
                  <a:gd name="T0" fmla="*/ 1 w 8"/>
                  <a:gd name="T1" fmla="*/ 6 h 6"/>
                  <a:gd name="T2" fmla="*/ 3 w 8"/>
                  <a:gd name="T3" fmla="*/ 5 h 6"/>
                  <a:gd name="T4" fmla="*/ 3 w 8"/>
                  <a:gd name="T5" fmla="*/ 5 h 6"/>
                  <a:gd name="T6" fmla="*/ 4 w 8"/>
                  <a:gd name="T7" fmla="*/ 5 h 6"/>
                  <a:gd name="T8" fmla="*/ 6 w 8"/>
                  <a:gd name="T9" fmla="*/ 5 h 6"/>
                  <a:gd name="T10" fmla="*/ 6 w 8"/>
                  <a:gd name="T11" fmla="*/ 4 h 6"/>
                  <a:gd name="T12" fmla="*/ 7 w 8"/>
                  <a:gd name="T13" fmla="*/ 4 h 6"/>
                  <a:gd name="T14" fmla="*/ 8 w 8"/>
                  <a:gd name="T15" fmla="*/ 3 h 6"/>
                  <a:gd name="T16" fmla="*/ 7 w 8"/>
                  <a:gd name="T17" fmla="*/ 2 h 6"/>
                  <a:gd name="T18" fmla="*/ 7 w 8"/>
                  <a:gd name="T19" fmla="*/ 2 h 6"/>
                  <a:gd name="T20" fmla="*/ 6 w 8"/>
                  <a:gd name="T21" fmla="*/ 2 h 6"/>
                  <a:gd name="T22" fmla="*/ 6 w 8"/>
                  <a:gd name="T23" fmla="*/ 2 h 6"/>
                  <a:gd name="T24" fmla="*/ 6 w 8"/>
                  <a:gd name="T25" fmla="*/ 1 h 6"/>
                  <a:gd name="T26" fmla="*/ 5 w 8"/>
                  <a:gd name="T27" fmla="*/ 1 h 6"/>
                  <a:gd name="T28" fmla="*/ 4 w 8"/>
                  <a:gd name="T29" fmla="*/ 1 h 6"/>
                  <a:gd name="T30" fmla="*/ 2 w 8"/>
                  <a:gd name="T31" fmla="*/ 0 h 6"/>
                  <a:gd name="T32" fmla="*/ 1 w 8"/>
                  <a:gd name="T33" fmla="*/ 1 h 6"/>
                  <a:gd name="T34" fmla="*/ 1 w 8"/>
                  <a:gd name="T35" fmla="*/ 1 h 6"/>
                  <a:gd name="T36" fmla="*/ 1 w 8"/>
                  <a:gd name="T37" fmla="*/ 2 h 6"/>
                  <a:gd name="T38" fmla="*/ 1 w 8"/>
                  <a:gd name="T39" fmla="*/ 3 h 6"/>
                  <a:gd name="T40" fmla="*/ 1 w 8"/>
                  <a:gd name="T41" fmla="*/ 3 h 6"/>
                  <a:gd name="T42" fmla="*/ 0 w 8"/>
                  <a:gd name="T43" fmla="*/ 4 h 6"/>
                  <a:gd name="T44" fmla="*/ 0 w 8"/>
                  <a:gd name="T45" fmla="*/ 5 h 6"/>
                  <a:gd name="T46" fmla="*/ 0 w 8"/>
                  <a:gd name="T47" fmla="*/ 5 h 6"/>
                  <a:gd name="T48" fmla="*/ 1 w 8"/>
                  <a:gd name="T4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6">
                    <a:moveTo>
                      <a:pt x="1" y="6"/>
                    </a:moveTo>
                    <a:cubicBezTo>
                      <a:pt x="1" y="6"/>
                      <a:pt x="2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5" y="5"/>
                      <a:pt x="6" y="5"/>
                    </a:cubicBezTo>
                    <a:cubicBezTo>
                      <a:pt x="6" y="5"/>
                      <a:pt x="6" y="5"/>
                      <a:pt x="6" y="4"/>
                    </a:cubicBezTo>
                    <a:cubicBezTo>
                      <a:pt x="6" y="4"/>
                      <a:pt x="7" y="4"/>
                      <a:pt x="7" y="4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2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4" y="1"/>
                      <a:pt x="4" y="1"/>
                    </a:cubicBezTo>
                    <a:cubicBezTo>
                      <a:pt x="3" y="1"/>
                      <a:pt x="2" y="0"/>
                      <a:pt x="2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2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1" y="6"/>
                      <a:pt x="1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02" name="Freeform 37">
                <a:extLst>
                  <a:ext uri="{FF2B5EF4-FFF2-40B4-BE49-F238E27FC236}">
                    <a16:creationId xmlns:a16="http://schemas.microsoft.com/office/drawing/2014/main" id="{6EADC941-D5FE-4F9E-A184-764BA18DDA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4" y="1796"/>
                <a:ext cx="5" cy="3"/>
              </a:xfrm>
              <a:custGeom>
                <a:avLst/>
                <a:gdLst>
                  <a:gd name="T0" fmla="*/ 0 w 2"/>
                  <a:gd name="T1" fmla="*/ 0 h 1"/>
                  <a:gd name="T2" fmla="*/ 1 w 2"/>
                  <a:gd name="T3" fmla="*/ 1 h 1"/>
                  <a:gd name="T4" fmla="*/ 2 w 2"/>
                  <a:gd name="T5" fmla="*/ 1 h 1"/>
                  <a:gd name="T6" fmla="*/ 2 w 2"/>
                  <a:gd name="T7" fmla="*/ 1 h 1"/>
                  <a:gd name="T8" fmla="*/ 1 w 2"/>
                  <a:gd name="T9" fmla="*/ 0 h 1"/>
                  <a:gd name="T10" fmla="*/ 0 w 2"/>
                  <a:gd name="T1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03" name="Freeform 38">
                <a:extLst>
                  <a:ext uri="{FF2B5EF4-FFF2-40B4-BE49-F238E27FC236}">
                    <a16:creationId xmlns:a16="http://schemas.microsoft.com/office/drawing/2014/main" id="{F09CA497-630A-418C-8BC5-B9DA259758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4" y="1701"/>
                <a:ext cx="42" cy="22"/>
              </a:xfrm>
              <a:custGeom>
                <a:avLst/>
                <a:gdLst>
                  <a:gd name="T0" fmla="*/ 1 w 18"/>
                  <a:gd name="T1" fmla="*/ 7 h 9"/>
                  <a:gd name="T2" fmla="*/ 0 w 18"/>
                  <a:gd name="T3" fmla="*/ 7 h 9"/>
                  <a:gd name="T4" fmla="*/ 0 w 18"/>
                  <a:gd name="T5" fmla="*/ 9 h 9"/>
                  <a:gd name="T6" fmla="*/ 3 w 18"/>
                  <a:gd name="T7" fmla="*/ 8 h 9"/>
                  <a:gd name="T8" fmla="*/ 3 w 18"/>
                  <a:gd name="T9" fmla="*/ 8 h 9"/>
                  <a:gd name="T10" fmla="*/ 4 w 18"/>
                  <a:gd name="T11" fmla="*/ 8 h 9"/>
                  <a:gd name="T12" fmla="*/ 8 w 18"/>
                  <a:gd name="T13" fmla="*/ 7 h 9"/>
                  <a:gd name="T14" fmla="*/ 10 w 18"/>
                  <a:gd name="T15" fmla="*/ 8 h 9"/>
                  <a:gd name="T16" fmla="*/ 10 w 18"/>
                  <a:gd name="T17" fmla="*/ 8 h 9"/>
                  <a:gd name="T18" fmla="*/ 11 w 18"/>
                  <a:gd name="T19" fmla="*/ 7 h 9"/>
                  <a:gd name="T20" fmla="*/ 14 w 18"/>
                  <a:gd name="T21" fmla="*/ 7 h 9"/>
                  <a:gd name="T22" fmla="*/ 16 w 18"/>
                  <a:gd name="T23" fmla="*/ 6 h 9"/>
                  <a:gd name="T24" fmla="*/ 18 w 18"/>
                  <a:gd name="T25" fmla="*/ 5 h 9"/>
                  <a:gd name="T26" fmla="*/ 18 w 18"/>
                  <a:gd name="T27" fmla="*/ 2 h 9"/>
                  <a:gd name="T28" fmla="*/ 17 w 18"/>
                  <a:gd name="T29" fmla="*/ 3 h 9"/>
                  <a:gd name="T30" fmla="*/ 17 w 18"/>
                  <a:gd name="T31" fmla="*/ 3 h 9"/>
                  <a:gd name="T32" fmla="*/ 16 w 18"/>
                  <a:gd name="T33" fmla="*/ 3 h 9"/>
                  <a:gd name="T34" fmla="*/ 16 w 18"/>
                  <a:gd name="T35" fmla="*/ 2 h 9"/>
                  <a:gd name="T36" fmla="*/ 15 w 18"/>
                  <a:gd name="T37" fmla="*/ 2 h 9"/>
                  <a:gd name="T38" fmla="*/ 14 w 18"/>
                  <a:gd name="T39" fmla="*/ 2 h 9"/>
                  <a:gd name="T40" fmla="*/ 12 w 18"/>
                  <a:gd name="T41" fmla="*/ 2 h 9"/>
                  <a:gd name="T42" fmla="*/ 11 w 18"/>
                  <a:gd name="T43" fmla="*/ 2 h 9"/>
                  <a:gd name="T44" fmla="*/ 11 w 18"/>
                  <a:gd name="T45" fmla="*/ 2 h 9"/>
                  <a:gd name="T46" fmla="*/ 10 w 18"/>
                  <a:gd name="T47" fmla="*/ 3 h 9"/>
                  <a:gd name="T48" fmla="*/ 9 w 18"/>
                  <a:gd name="T49" fmla="*/ 2 h 9"/>
                  <a:gd name="T50" fmla="*/ 10 w 18"/>
                  <a:gd name="T51" fmla="*/ 1 h 9"/>
                  <a:gd name="T52" fmla="*/ 10 w 18"/>
                  <a:gd name="T53" fmla="*/ 0 h 9"/>
                  <a:gd name="T54" fmla="*/ 9 w 18"/>
                  <a:gd name="T55" fmla="*/ 0 h 9"/>
                  <a:gd name="T56" fmla="*/ 8 w 18"/>
                  <a:gd name="T57" fmla="*/ 0 h 9"/>
                  <a:gd name="T58" fmla="*/ 7 w 18"/>
                  <a:gd name="T59" fmla="*/ 0 h 9"/>
                  <a:gd name="T60" fmla="*/ 7 w 18"/>
                  <a:gd name="T61" fmla="*/ 0 h 9"/>
                  <a:gd name="T62" fmla="*/ 6 w 18"/>
                  <a:gd name="T63" fmla="*/ 0 h 9"/>
                  <a:gd name="T64" fmla="*/ 5 w 18"/>
                  <a:gd name="T65" fmla="*/ 1 h 9"/>
                  <a:gd name="T66" fmla="*/ 5 w 18"/>
                  <a:gd name="T67" fmla="*/ 2 h 9"/>
                  <a:gd name="T68" fmla="*/ 5 w 18"/>
                  <a:gd name="T69" fmla="*/ 2 h 9"/>
                  <a:gd name="T70" fmla="*/ 4 w 18"/>
                  <a:gd name="T71" fmla="*/ 3 h 9"/>
                  <a:gd name="T72" fmla="*/ 3 w 18"/>
                  <a:gd name="T73" fmla="*/ 4 h 9"/>
                  <a:gd name="T74" fmla="*/ 2 w 18"/>
                  <a:gd name="T75" fmla="*/ 4 h 9"/>
                  <a:gd name="T76" fmla="*/ 2 w 18"/>
                  <a:gd name="T77" fmla="*/ 6 h 9"/>
                  <a:gd name="T78" fmla="*/ 2 w 18"/>
                  <a:gd name="T79" fmla="*/ 6 h 9"/>
                  <a:gd name="T80" fmla="*/ 1 w 18"/>
                  <a:gd name="T81" fmla="*/ 6 h 9"/>
                  <a:gd name="T82" fmla="*/ 1 w 18"/>
                  <a:gd name="T83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" h="9">
                    <a:moveTo>
                      <a:pt x="1" y="7"/>
                    </a:moveTo>
                    <a:cubicBezTo>
                      <a:pt x="1" y="7"/>
                      <a:pt x="0" y="7"/>
                      <a:pt x="0" y="7"/>
                    </a:cubicBezTo>
                    <a:cubicBezTo>
                      <a:pt x="0" y="8"/>
                      <a:pt x="0" y="8"/>
                      <a:pt x="0" y="9"/>
                    </a:cubicBezTo>
                    <a:cubicBezTo>
                      <a:pt x="0" y="9"/>
                      <a:pt x="1" y="9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5" y="8"/>
                      <a:pt x="7" y="7"/>
                      <a:pt x="8" y="7"/>
                    </a:cubicBezTo>
                    <a:cubicBezTo>
                      <a:pt x="9" y="8"/>
                      <a:pt x="10" y="8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7"/>
                      <a:pt x="11" y="7"/>
                      <a:pt x="11" y="7"/>
                    </a:cubicBezTo>
                    <a:cubicBezTo>
                      <a:pt x="12" y="7"/>
                      <a:pt x="13" y="7"/>
                      <a:pt x="14" y="7"/>
                    </a:cubicBezTo>
                    <a:cubicBezTo>
                      <a:pt x="15" y="7"/>
                      <a:pt x="16" y="7"/>
                      <a:pt x="16" y="6"/>
                    </a:cubicBezTo>
                    <a:cubicBezTo>
                      <a:pt x="17" y="6"/>
                      <a:pt x="18" y="5"/>
                      <a:pt x="18" y="5"/>
                    </a:cubicBezTo>
                    <a:cubicBezTo>
                      <a:pt x="18" y="5"/>
                      <a:pt x="18" y="4"/>
                      <a:pt x="18" y="2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5" y="3"/>
                      <a:pt x="15" y="2"/>
                      <a:pt x="16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3" y="2"/>
                      <a:pt x="12" y="2"/>
                      <a:pt x="12" y="2"/>
                    </a:cubicBezTo>
                    <a:cubicBezTo>
                      <a:pt x="12" y="2"/>
                      <a:pt x="12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2"/>
                      <a:pt x="10" y="3"/>
                      <a:pt x="10" y="3"/>
                    </a:cubicBezTo>
                    <a:cubicBezTo>
                      <a:pt x="9" y="3"/>
                      <a:pt x="9" y="3"/>
                      <a:pt x="9" y="2"/>
                    </a:cubicBezTo>
                    <a:cubicBezTo>
                      <a:pt x="10" y="2"/>
                      <a:pt x="10" y="1"/>
                      <a:pt x="10" y="1"/>
                    </a:cubicBezTo>
                    <a:cubicBezTo>
                      <a:pt x="10" y="1"/>
                      <a:pt x="10" y="0"/>
                      <a:pt x="10" y="0"/>
                    </a:cubicBezTo>
                    <a:cubicBezTo>
                      <a:pt x="10" y="0"/>
                      <a:pt x="9" y="0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6" y="0"/>
                      <a:pt x="5" y="1"/>
                      <a:pt x="5" y="1"/>
                    </a:cubicBezTo>
                    <a:cubicBezTo>
                      <a:pt x="5" y="1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4"/>
                      <a:pt x="3" y="4"/>
                    </a:cubicBezTo>
                    <a:cubicBezTo>
                      <a:pt x="3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04" name="Freeform 39">
                <a:extLst>
                  <a:ext uri="{FF2B5EF4-FFF2-40B4-BE49-F238E27FC236}">
                    <a16:creationId xmlns:a16="http://schemas.microsoft.com/office/drawing/2014/main" id="{E0958568-B177-4039-9C35-1215FEB53E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9" y="1689"/>
                <a:ext cx="47" cy="22"/>
              </a:xfrm>
              <a:custGeom>
                <a:avLst/>
                <a:gdLst>
                  <a:gd name="T0" fmla="*/ 12 w 20"/>
                  <a:gd name="T1" fmla="*/ 2 h 9"/>
                  <a:gd name="T2" fmla="*/ 13 w 20"/>
                  <a:gd name="T3" fmla="*/ 1 h 9"/>
                  <a:gd name="T4" fmla="*/ 13 w 20"/>
                  <a:gd name="T5" fmla="*/ 0 h 9"/>
                  <a:gd name="T6" fmla="*/ 12 w 20"/>
                  <a:gd name="T7" fmla="*/ 0 h 9"/>
                  <a:gd name="T8" fmla="*/ 9 w 20"/>
                  <a:gd name="T9" fmla="*/ 0 h 9"/>
                  <a:gd name="T10" fmla="*/ 9 w 20"/>
                  <a:gd name="T11" fmla="*/ 0 h 9"/>
                  <a:gd name="T12" fmla="*/ 9 w 20"/>
                  <a:gd name="T13" fmla="*/ 0 h 9"/>
                  <a:gd name="T14" fmla="*/ 6 w 20"/>
                  <a:gd name="T15" fmla="*/ 0 h 9"/>
                  <a:gd name="T16" fmla="*/ 6 w 20"/>
                  <a:gd name="T17" fmla="*/ 0 h 9"/>
                  <a:gd name="T18" fmla="*/ 5 w 20"/>
                  <a:gd name="T19" fmla="*/ 0 h 9"/>
                  <a:gd name="T20" fmla="*/ 3 w 20"/>
                  <a:gd name="T21" fmla="*/ 1 h 9"/>
                  <a:gd name="T22" fmla="*/ 2 w 20"/>
                  <a:gd name="T23" fmla="*/ 1 h 9"/>
                  <a:gd name="T24" fmla="*/ 2 w 20"/>
                  <a:gd name="T25" fmla="*/ 1 h 9"/>
                  <a:gd name="T26" fmla="*/ 2 w 20"/>
                  <a:gd name="T27" fmla="*/ 2 h 9"/>
                  <a:gd name="T28" fmla="*/ 2 w 20"/>
                  <a:gd name="T29" fmla="*/ 2 h 9"/>
                  <a:gd name="T30" fmla="*/ 1 w 20"/>
                  <a:gd name="T31" fmla="*/ 2 h 9"/>
                  <a:gd name="T32" fmla="*/ 1 w 20"/>
                  <a:gd name="T33" fmla="*/ 2 h 9"/>
                  <a:gd name="T34" fmla="*/ 0 w 20"/>
                  <a:gd name="T35" fmla="*/ 3 h 9"/>
                  <a:gd name="T36" fmla="*/ 1 w 20"/>
                  <a:gd name="T37" fmla="*/ 4 h 9"/>
                  <a:gd name="T38" fmla="*/ 1 w 20"/>
                  <a:gd name="T39" fmla="*/ 4 h 9"/>
                  <a:gd name="T40" fmla="*/ 1 w 20"/>
                  <a:gd name="T41" fmla="*/ 4 h 9"/>
                  <a:gd name="T42" fmla="*/ 2 w 20"/>
                  <a:gd name="T43" fmla="*/ 5 h 9"/>
                  <a:gd name="T44" fmla="*/ 2 w 20"/>
                  <a:gd name="T45" fmla="*/ 6 h 9"/>
                  <a:gd name="T46" fmla="*/ 3 w 20"/>
                  <a:gd name="T47" fmla="*/ 6 h 9"/>
                  <a:gd name="T48" fmla="*/ 4 w 20"/>
                  <a:gd name="T49" fmla="*/ 7 h 9"/>
                  <a:gd name="T50" fmla="*/ 5 w 20"/>
                  <a:gd name="T51" fmla="*/ 7 h 9"/>
                  <a:gd name="T52" fmla="*/ 6 w 20"/>
                  <a:gd name="T53" fmla="*/ 7 h 9"/>
                  <a:gd name="T54" fmla="*/ 7 w 20"/>
                  <a:gd name="T55" fmla="*/ 7 h 9"/>
                  <a:gd name="T56" fmla="*/ 10 w 20"/>
                  <a:gd name="T57" fmla="*/ 8 h 9"/>
                  <a:gd name="T58" fmla="*/ 11 w 20"/>
                  <a:gd name="T59" fmla="*/ 8 h 9"/>
                  <a:gd name="T60" fmla="*/ 13 w 20"/>
                  <a:gd name="T61" fmla="*/ 8 h 9"/>
                  <a:gd name="T62" fmla="*/ 17 w 20"/>
                  <a:gd name="T63" fmla="*/ 8 h 9"/>
                  <a:gd name="T64" fmla="*/ 17 w 20"/>
                  <a:gd name="T65" fmla="*/ 8 h 9"/>
                  <a:gd name="T66" fmla="*/ 20 w 20"/>
                  <a:gd name="T67" fmla="*/ 7 h 9"/>
                  <a:gd name="T68" fmla="*/ 20 w 20"/>
                  <a:gd name="T69" fmla="*/ 7 h 9"/>
                  <a:gd name="T70" fmla="*/ 20 w 20"/>
                  <a:gd name="T71" fmla="*/ 7 h 9"/>
                  <a:gd name="T72" fmla="*/ 20 w 20"/>
                  <a:gd name="T73" fmla="*/ 6 h 9"/>
                  <a:gd name="T74" fmla="*/ 18 w 20"/>
                  <a:gd name="T75" fmla="*/ 6 h 9"/>
                  <a:gd name="T76" fmla="*/ 18 w 20"/>
                  <a:gd name="T77" fmla="*/ 6 h 9"/>
                  <a:gd name="T78" fmla="*/ 19 w 20"/>
                  <a:gd name="T79" fmla="*/ 5 h 9"/>
                  <a:gd name="T80" fmla="*/ 19 w 20"/>
                  <a:gd name="T81" fmla="*/ 4 h 9"/>
                  <a:gd name="T82" fmla="*/ 19 w 20"/>
                  <a:gd name="T83" fmla="*/ 4 h 9"/>
                  <a:gd name="T84" fmla="*/ 20 w 20"/>
                  <a:gd name="T85" fmla="*/ 3 h 9"/>
                  <a:gd name="T86" fmla="*/ 20 w 20"/>
                  <a:gd name="T87" fmla="*/ 2 h 9"/>
                  <a:gd name="T88" fmla="*/ 20 w 20"/>
                  <a:gd name="T89" fmla="*/ 2 h 9"/>
                  <a:gd name="T90" fmla="*/ 19 w 20"/>
                  <a:gd name="T91" fmla="*/ 1 h 9"/>
                  <a:gd name="T92" fmla="*/ 17 w 20"/>
                  <a:gd name="T93" fmla="*/ 0 h 9"/>
                  <a:gd name="T94" fmla="*/ 16 w 20"/>
                  <a:gd name="T95" fmla="*/ 0 h 9"/>
                  <a:gd name="T96" fmla="*/ 16 w 20"/>
                  <a:gd name="T97" fmla="*/ 0 h 9"/>
                  <a:gd name="T98" fmla="*/ 15 w 20"/>
                  <a:gd name="T99" fmla="*/ 0 h 9"/>
                  <a:gd name="T100" fmla="*/ 15 w 20"/>
                  <a:gd name="T101" fmla="*/ 1 h 9"/>
                  <a:gd name="T102" fmla="*/ 15 w 20"/>
                  <a:gd name="T103" fmla="*/ 1 h 9"/>
                  <a:gd name="T104" fmla="*/ 15 w 20"/>
                  <a:gd name="T105" fmla="*/ 1 h 9"/>
                  <a:gd name="T106" fmla="*/ 14 w 20"/>
                  <a:gd name="T107" fmla="*/ 2 h 9"/>
                  <a:gd name="T108" fmla="*/ 14 w 20"/>
                  <a:gd name="T109" fmla="*/ 2 h 9"/>
                  <a:gd name="T110" fmla="*/ 12 w 20"/>
                  <a:gd name="T111" fmla="*/ 2 h 9"/>
                  <a:gd name="T112" fmla="*/ 12 w 20"/>
                  <a:gd name="T113" fmla="*/ 2 h 9"/>
                  <a:gd name="T114" fmla="*/ 12 w 20"/>
                  <a:gd name="T115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" h="9">
                    <a:moveTo>
                      <a:pt x="12" y="2"/>
                    </a:moveTo>
                    <a:cubicBezTo>
                      <a:pt x="13" y="2"/>
                      <a:pt x="13" y="1"/>
                      <a:pt x="13" y="1"/>
                    </a:cubicBezTo>
                    <a:cubicBezTo>
                      <a:pt x="14" y="0"/>
                      <a:pt x="14" y="0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11" y="0"/>
                      <a:pt x="10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4" y="0"/>
                      <a:pt x="4" y="0"/>
                      <a:pt x="3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4"/>
                      <a:pt x="2" y="5"/>
                      <a:pt x="2" y="5"/>
                    </a:cubicBezTo>
                    <a:cubicBezTo>
                      <a:pt x="1" y="5"/>
                      <a:pt x="2" y="6"/>
                      <a:pt x="2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7"/>
                      <a:pt x="4" y="7"/>
                      <a:pt x="4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7"/>
                      <a:pt x="7" y="7"/>
                      <a:pt x="7" y="7"/>
                    </a:cubicBezTo>
                    <a:cubicBezTo>
                      <a:pt x="8" y="7"/>
                      <a:pt x="9" y="8"/>
                      <a:pt x="10" y="8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8"/>
                      <a:pt x="12" y="8"/>
                      <a:pt x="13" y="8"/>
                    </a:cubicBezTo>
                    <a:cubicBezTo>
                      <a:pt x="14" y="9"/>
                      <a:pt x="16" y="8"/>
                      <a:pt x="17" y="8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8" y="8"/>
                      <a:pt x="20" y="8"/>
                      <a:pt x="20" y="7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19" y="6"/>
                      <a:pt x="18" y="6"/>
                      <a:pt x="18" y="6"/>
                    </a:cubicBezTo>
                    <a:cubicBezTo>
                      <a:pt x="17" y="6"/>
                      <a:pt x="17" y="5"/>
                      <a:pt x="18" y="6"/>
                    </a:cubicBezTo>
                    <a:cubicBezTo>
                      <a:pt x="18" y="6"/>
                      <a:pt x="19" y="6"/>
                      <a:pt x="19" y="5"/>
                    </a:cubicBezTo>
                    <a:cubicBezTo>
                      <a:pt x="19" y="5"/>
                      <a:pt x="19" y="4"/>
                      <a:pt x="19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20" y="4"/>
                      <a:pt x="20" y="3"/>
                      <a:pt x="20" y="3"/>
                    </a:cubicBezTo>
                    <a:cubicBezTo>
                      <a:pt x="19" y="3"/>
                      <a:pt x="20" y="3"/>
                      <a:pt x="20" y="2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2"/>
                      <a:pt x="19" y="1"/>
                      <a:pt x="19" y="1"/>
                    </a:cubicBezTo>
                    <a:cubicBezTo>
                      <a:pt x="18" y="1"/>
                      <a:pt x="17" y="1"/>
                      <a:pt x="17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5" y="0"/>
                      <a:pt x="15" y="0"/>
                    </a:cubicBezTo>
                    <a:cubicBezTo>
                      <a:pt x="15" y="0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4" y="1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3" y="2"/>
                      <a:pt x="13" y="2"/>
                      <a:pt x="12" y="2"/>
                    </a:cubicBezTo>
                    <a:cubicBezTo>
                      <a:pt x="12" y="3"/>
                      <a:pt x="12" y="3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05" name="Freeform 40">
                <a:extLst>
                  <a:ext uri="{FF2B5EF4-FFF2-40B4-BE49-F238E27FC236}">
                    <a16:creationId xmlns:a16="http://schemas.microsoft.com/office/drawing/2014/main" id="{40D2BE86-B2C8-4E9B-B924-D0E8D271F5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689"/>
                <a:ext cx="22" cy="8"/>
              </a:xfrm>
              <a:custGeom>
                <a:avLst/>
                <a:gdLst>
                  <a:gd name="T0" fmla="*/ 0 w 9"/>
                  <a:gd name="T1" fmla="*/ 0 h 3"/>
                  <a:gd name="T2" fmla="*/ 1 w 9"/>
                  <a:gd name="T3" fmla="*/ 1 h 3"/>
                  <a:gd name="T4" fmla="*/ 1 w 9"/>
                  <a:gd name="T5" fmla="*/ 1 h 3"/>
                  <a:gd name="T6" fmla="*/ 1 w 9"/>
                  <a:gd name="T7" fmla="*/ 1 h 3"/>
                  <a:gd name="T8" fmla="*/ 2 w 9"/>
                  <a:gd name="T9" fmla="*/ 2 h 3"/>
                  <a:gd name="T10" fmla="*/ 2 w 9"/>
                  <a:gd name="T11" fmla="*/ 2 h 3"/>
                  <a:gd name="T12" fmla="*/ 2 w 9"/>
                  <a:gd name="T13" fmla="*/ 2 h 3"/>
                  <a:gd name="T14" fmla="*/ 5 w 9"/>
                  <a:gd name="T15" fmla="*/ 2 h 3"/>
                  <a:gd name="T16" fmla="*/ 4 w 9"/>
                  <a:gd name="T17" fmla="*/ 3 h 3"/>
                  <a:gd name="T18" fmla="*/ 4 w 9"/>
                  <a:gd name="T19" fmla="*/ 3 h 3"/>
                  <a:gd name="T20" fmla="*/ 4 w 9"/>
                  <a:gd name="T21" fmla="*/ 3 h 3"/>
                  <a:gd name="T22" fmla="*/ 5 w 9"/>
                  <a:gd name="T23" fmla="*/ 3 h 3"/>
                  <a:gd name="T24" fmla="*/ 7 w 9"/>
                  <a:gd name="T25" fmla="*/ 3 h 3"/>
                  <a:gd name="T26" fmla="*/ 9 w 9"/>
                  <a:gd name="T27" fmla="*/ 2 h 3"/>
                  <a:gd name="T28" fmla="*/ 9 w 9"/>
                  <a:gd name="T29" fmla="*/ 1 h 3"/>
                  <a:gd name="T30" fmla="*/ 7 w 9"/>
                  <a:gd name="T31" fmla="*/ 1 h 3"/>
                  <a:gd name="T32" fmla="*/ 3 w 9"/>
                  <a:gd name="T33" fmla="*/ 0 h 3"/>
                  <a:gd name="T34" fmla="*/ 0 w 9"/>
                  <a:gd name="T35" fmla="*/ 0 h 3"/>
                  <a:gd name="T36" fmla="*/ 0 w 9"/>
                  <a:gd name="T3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" h="3">
                    <a:moveTo>
                      <a:pt x="0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5" y="2"/>
                      <a:pt x="5" y="2"/>
                    </a:cubicBezTo>
                    <a:cubicBezTo>
                      <a:pt x="5" y="2"/>
                      <a:pt x="4" y="2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5" y="3"/>
                    </a:cubicBezTo>
                    <a:cubicBezTo>
                      <a:pt x="5" y="3"/>
                      <a:pt x="6" y="3"/>
                      <a:pt x="7" y="3"/>
                    </a:cubicBezTo>
                    <a:cubicBezTo>
                      <a:pt x="7" y="2"/>
                      <a:pt x="8" y="2"/>
                      <a:pt x="9" y="2"/>
                    </a:cubicBezTo>
                    <a:cubicBezTo>
                      <a:pt x="9" y="2"/>
                      <a:pt x="9" y="1"/>
                      <a:pt x="9" y="1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1"/>
                      <a:pt x="4" y="0"/>
                      <a:pt x="3" y="0"/>
                    </a:cubicBezTo>
                    <a:cubicBezTo>
                      <a:pt x="3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06" name="Freeform 41">
                <a:extLst>
                  <a:ext uri="{FF2B5EF4-FFF2-40B4-BE49-F238E27FC236}">
                    <a16:creationId xmlns:a16="http://schemas.microsoft.com/office/drawing/2014/main" id="{5DD18091-281E-4B25-80B0-1BF32FA2C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4" y="1670"/>
                <a:ext cx="45" cy="22"/>
              </a:xfrm>
              <a:custGeom>
                <a:avLst/>
                <a:gdLst>
                  <a:gd name="T0" fmla="*/ 1 w 19"/>
                  <a:gd name="T1" fmla="*/ 7 h 9"/>
                  <a:gd name="T2" fmla="*/ 2 w 19"/>
                  <a:gd name="T3" fmla="*/ 7 h 9"/>
                  <a:gd name="T4" fmla="*/ 1 w 19"/>
                  <a:gd name="T5" fmla="*/ 7 h 9"/>
                  <a:gd name="T6" fmla="*/ 3 w 19"/>
                  <a:gd name="T7" fmla="*/ 8 h 9"/>
                  <a:gd name="T8" fmla="*/ 5 w 19"/>
                  <a:gd name="T9" fmla="*/ 8 h 9"/>
                  <a:gd name="T10" fmla="*/ 7 w 19"/>
                  <a:gd name="T11" fmla="*/ 9 h 9"/>
                  <a:gd name="T12" fmla="*/ 8 w 19"/>
                  <a:gd name="T13" fmla="*/ 8 h 9"/>
                  <a:gd name="T14" fmla="*/ 9 w 19"/>
                  <a:gd name="T15" fmla="*/ 8 h 9"/>
                  <a:gd name="T16" fmla="*/ 13 w 19"/>
                  <a:gd name="T17" fmla="*/ 7 h 9"/>
                  <a:gd name="T18" fmla="*/ 15 w 19"/>
                  <a:gd name="T19" fmla="*/ 7 h 9"/>
                  <a:gd name="T20" fmla="*/ 16 w 19"/>
                  <a:gd name="T21" fmla="*/ 7 h 9"/>
                  <a:gd name="T22" fmla="*/ 17 w 19"/>
                  <a:gd name="T23" fmla="*/ 7 h 9"/>
                  <a:gd name="T24" fmla="*/ 18 w 19"/>
                  <a:gd name="T25" fmla="*/ 7 h 9"/>
                  <a:gd name="T26" fmla="*/ 18 w 19"/>
                  <a:gd name="T27" fmla="*/ 7 h 9"/>
                  <a:gd name="T28" fmla="*/ 17 w 19"/>
                  <a:gd name="T29" fmla="*/ 6 h 9"/>
                  <a:gd name="T30" fmla="*/ 17 w 19"/>
                  <a:gd name="T31" fmla="*/ 6 h 9"/>
                  <a:gd name="T32" fmla="*/ 17 w 19"/>
                  <a:gd name="T33" fmla="*/ 5 h 9"/>
                  <a:gd name="T34" fmla="*/ 17 w 19"/>
                  <a:gd name="T35" fmla="*/ 5 h 9"/>
                  <a:gd name="T36" fmla="*/ 18 w 19"/>
                  <a:gd name="T37" fmla="*/ 4 h 9"/>
                  <a:gd name="T38" fmla="*/ 19 w 19"/>
                  <a:gd name="T39" fmla="*/ 4 h 9"/>
                  <a:gd name="T40" fmla="*/ 19 w 19"/>
                  <a:gd name="T41" fmla="*/ 4 h 9"/>
                  <a:gd name="T42" fmla="*/ 19 w 19"/>
                  <a:gd name="T43" fmla="*/ 3 h 9"/>
                  <a:gd name="T44" fmla="*/ 17 w 19"/>
                  <a:gd name="T45" fmla="*/ 3 h 9"/>
                  <a:gd name="T46" fmla="*/ 16 w 19"/>
                  <a:gd name="T47" fmla="*/ 2 h 9"/>
                  <a:gd name="T48" fmla="*/ 16 w 19"/>
                  <a:gd name="T49" fmla="*/ 2 h 9"/>
                  <a:gd name="T50" fmla="*/ 15 w 19"/>
                  <a:gd name="T51" fmla="*/ 2 h 9"/>
                  <a:gd name="T52" fmla="*/ 14 w 19"/>
                  <a:gd name="T53" fmla="*/ 1 h 9"/>
                  <a:gd name="T54" fmla="*/ 13 w 19"/>
                  <a:gd name="T55" fmla="*/ 0 h 9"/>
                  <a:gd name="T56" fmla="*/ 12 w 19"/>
                  <a:gd name="T57" fmla="*/ 0 h 9"/>
                  <a:gd name="T58" fmla="*/ 10 w 19"/>
                  <a:gd name="T59" fmla="*/ 1 h 9"/>
                  <a:gd name="T60" fmla="*/ 9 w 19"/>
                  <a:gd name="T61" fmla="*/ 1 h 9"/>
                  <a:gd name="T62" fmla="*/ 7 w 19"/>
                  <a:gd name="T63" fmla="*/ 2 h 9"/>
                  <a:gd name="T64" fmla="*/ 5 w 19"/>
                  <a:gd name="T65" fmla="*/ 2 h 9"/>
                  <a:gd name="T66" fmla="*/ 4 w 19"/>
                  <a:gd name="T67" fmla="*/ 2 h 9"/>
                  <a:gd name="T68" fmla="*/ 4 w 19"/>
                  <a:gd name="T69" fmla="*/ 3 h 9"/>
                  <a:gd name="T70" fmla="*/ 3 w 19"/>
                  <a:gd name="T71" fmla="*/ 3 h 9"/>
                  <a:gd name="T72" fmla="*/ 3 w 19"/>
                  <a:gd name="T73" fmla="*/ 3 h 9"/>
                  <a:gd name="T74" fmla="*/ 4 w 19"/>
                  <a:gd name="T75" fmla="*/ 3 h 9"/>
                  <a:gd name="T76" fmla="*/ 4 w 19"/>
                  <a:gd name="T77" fmla="*/ 4 h 9"/>
                  <a:gd name="T78" fmla="*/ 4 w 19"/>
                  <a:gd name="T79" fmla="*/ 4 h 9"/>
                  <a:gd name="T80" fmla="*/ 3 w 19"/>
                  <a:gd name="T81" fmla="*/ 5 h 9"/>
                  <a:gd name="T82" fmla="*/ 1 w 19"/>
                  <a:gd name="T83" fmla="*/ 5 h 9"/>
                  <a:gd name="T84" fmla="*/ 1 w 19"/>
                  <a:gd name="T85" fmla="*/ 6 h 9"/>
                  <a:gd name="T86" fmla="*/ 1 w 19"/>
                  <a:gd name="T87" fmla="*/ 6 h 9"/>
                  <a:gd name="T88" fmla="*/ 0 w 19"/>
                  <a:gd name="T89" fmla="*/ 7 h 9"/>
                  <a:gd name="T90" fmla="*/ 1 w 19"/>
                  <a:gd name="T91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9" h="9">
                    <a:moveTo>
                      <a:pt x="1" y="7"/>
                    </a:moveTo>
                    <a:cubicBezTo>
                      <a:pt x="1" y="7"/>
                      <a:pt x="2" y="7"/>
                      <a:pt x="2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8"/>
                      <a:pt x="2" y="8"/>
                      <a:pt x="3" y="8"/>
                    </a:cubicBezTo>
                    <a:cubicBezTo>
                      <a:pt x="4" y="8"/>
                      <a:pt x="4" y="8"/>
                      <a:pt x="5" y="8"/>
                    </a:cubicBezTo>
                    <a:cubicBezTo>
                      <a:pt x="6" y="9"/>
                      <a:pt x="6" y="9"/>
                      <a:pt x="7" y="9"/>
                    </a:cubicBezTo>
                    <a:cubicBezTo>
                      <a:pt x="7" y="9"/>
                      <a:pt x="8" y="8"/>
                      <a:pt x="8" y="8"/>
                    </a:cubicBezTo>
                    <a:cubicBezTo>
                      <a:pt x="8" y="8"/>
                      <a:pt x="9" y="8"/>
                      <a:pt x="9" y="8"/>
                    </a:cubicBezTo>
                    <a:cubicBezTo>
                      <a:pt x="10" y="8"/>
                      <a:pt x="12" y="7"/>
                      <a:pt x="13" y="7"/>
                    </a:cubicBezTo>
                    <a:cubicBezTo>
                      <a:pt x="14" y="7"/>
                      <a:pt x="15" y="7"/>
                      <a:pt x="15" y="7"/>
                    </a:cubicBezTo>
                    <a:cubicBezTo>
                      <a:pt x="15" y="7"/>
                      <a:pt x="16" y="7"/>
                      <a:pt x="16" y="7"/>
                    </a:cubicBezTo>
                    <a:cubicBezTo>
                      <a:pt x="16" y="7"/>
                      <a:pt x="16" y="7"/>
                      <a:pt x="17" y="7"/>
                    </a:cubicBezTo>
                    <a:cubicBezTo>
                      <a:pt x="17" y="7"/>
                      <a:pt x="18" y="7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4"/>
                      <a:pt x="18" y="4"/>
                      <a:pt x="18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9" y="4"/>
                      <a:pt x="19" y="3"/>
                      <a:pt x="19" y="3"/>
                    </a:cubicBezTo>
                    <a:cubicBezTo>
                      <a:pt x="19" y="3"/>
                      <a:pt x="18" y="3"/>
                      <a:pt x="17" y="3"/>
                    </a:cubicBezTo>
                    <a:cubicBezTo>
                      <a:pt x="17" y="3"/>
                      <a:pt x="16" y="3"/>
                      <a:pt x="16" y="2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2"/>
                      <a:pt x="15" y="1"/>
                      <a:pt x="14" y="1"/>
                    </a:cubicBezTo>
                    <a:cubicBezTo>
                      <a:pt x="14" y="1"/>
                      <a:pt x="13" y="1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11" y="0"/>
                      <a:pt x="11" y="0"/>
                      <a:pt x="10" y="1"/>
                    </a:cubicBezTo>
                    <a:cubicBezTo>
                      <a:pt x="10" y="1"/>
                      <a:pt x="10" y="1"/>
                      <a:pt x="9" y="1"/>
                    </a:cubicBezTo>
                    <a:cubicBezTo>
                      <a:pt x="8" y="1"/>
                      <a:pt x="7" y="1"/>
                      <a:pt x="7" y="2"/>
                    </a:cubicBezTo>
                    <a:cubicBezTo>
                      <a:pt x="6" y="2"/>
                      <a:pt x="5" y="2"/>
                      <a:pt x="5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3"/>
                      <a:pt x="4" y="3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3" y="4"/>
                      <a:pt x="4" y="3"/>
                    </a:cubicBezTo>
                    <a:cubicBezTo>
                      <a:pt x="4" y="3"/>
                      <a:pt x="5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5"/>
                      <a:pt x="3" y="5"/>
                      <a:pt x="3" y="5"/>
                    </a:cubicBezTo>
                    <a:cubicBezTo>
                      <a:pt x="3" y="5"/>
                      <a:pt x="2" y="5"/>
                      <a:pt x="1" y="5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0" y="6"/>
                      <a:pt x="0" y="7"/>
                    </a:cubicBezTo>
                    <a:cubicBezTo>
                      <a:pt x="0" y="7"/>
                      <a:pt x="0" y="7"/>
                      <a:pt x="1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07" name="Freeform 42">
                <a:extLst>
                  <a:ext uri="{FF2B5EF4-FFF2-40B4-BE49-F238E27FC236}">
                    <a16:creationId xmlns:a16="http://schemas.microsoft.com/office/drawing/2014/main" id="{DBD5EF72-0DF2-4F83-9887-0691A2FA97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" y="1737"/>
                <a:ext cx="135" cy="92"/>
              </a:xfrm>
              <a:custGeom>
                <a:avLst/>
                <a:gdLst>
                  <a:gd name="T0" fmla="*/ 3 w 57"/>
                  <a:gd name="T1" fmla="*/ 34 h 39"/>
                  <a:gd name="T2" fmla="*/ 5 w 57"/>
                  <a:gd name="T3" fmla="*/ 34 h 39"/>
                  <a:gd name="T4" fmla="*/ 7 w 57"/>
                  <a:gd name="T5" fmla="*/ 34 h 39"/>
                  <a:gd name="T6" fmla="*/ 9 w 57"/>
                  <a:gd name="T7" fmla="*/ 36 h 39"/>
                  <a:gd name="T8" fmla="*/ 8 w 57"/>
                  <a:gd name="T9" fmla="*/ 37 h 39"/>
                  <a:gd name="T10" fmla="*/ 9 w 57"/>
                  <a:gd name="T11" fmla="*/ 38 h 39"/>
                  <a:gd name="T12" fmla="*/ 12 w 57"/>
                  <a:gd name="T13" fmla="*/ 39 h 39"/>
                  <a:gd name="T14" fmla="*/ 16 w 57"/>
                  <a:gd name="T15" fmla="*/ 39 h 39"/>
                  <a:gd name="T16" fmla="*/ 19 w 57"/>
                  <a:gd name="T17" fmla="*/ 39 h 39"/>
                  <a:gd name="T18" fmla="*/ 18 w 57"/>
                  <a:gd name="T19" fmla="*/ 37 h 39"/>
                  <a:gd name="T20" fmla="*/ 14 w 57"/>
                  <a:gd name="T21" fmla="*/ 31 h 39"/>
                  <a:gd name="T22" fmla="*/ 14 w 57"/>
                  <a:gd name="T23" fmla="*/ 29 h 39"/>
                  <a:gd name="T24" fmla="*/ 14 w 57"/>
                  <a:gd name="T25" fmla="*/ 27 h 39"/>
                  <a:gd name="T26" fmla="*/ 16 w 57"/>
                  <a:gd name="T27" fmla="*/ 25 h 39"/>
                  <a:gd name="T28" fmla="*/ 18 w 57"/>
                  <a:gd name="T29" fmla="*/ 23 h 39"/>
                  <a:gd name="T30" fmla="*/ 19 w 57"/>
                  <a:gd name="T31" fmla="*/ 22 h 39"/>
                  <a:gd name="T32" fmla="*/ 21 w 57"/>
                  <a:gd name="T33" fmla="*/ 20 h 39"/>
                  <a:gd name="T34" fmla="*/ 20 w 57"/>
                  <a:gd name="T35" fmla="*/ 18 h 39"/>
                  <a:gd name="T36" fmla="*/ 22 w 57"/>
                  <a:gd name="T37" fmla="*/ 18 h 39"/>
                  <a:gd name="T38" fmla="*/ 23 w 57"/>
                  <a:gd name="T39" fmla="*/ 15 h 39"/>
                  <a:gd name="T40" fmla="*/ 26 w 57"/>
                  <a:gd name="T41" fmla="*/ 15 h 39"/>
                  <a:gd name="T42" fmla="*/ 28 w 57"/>
                  <a:gd name="T43" fmla="*/ 14 h 39"/>
                  <a:gd name="T44" fmla="*/ 30 w 57"/>
                  <a:gd name="T45" fmla="*/ 13 h 39"/>
                  <a:gd name="T46" fmla="*/ 30 w 57"/>
                  <a:gd name="T47" fmla="*/ 12 h 39"/>
                  <a:gd name="T48" fmla="*/ 33 w 57"/>
                  <a:gd name="T49" fmla="*/ 10 h 39"/>
                  <a:gd name="T50" fmla="*/ 37 w 57"/>
                  <a:gd name="T51" fmla="*/ 9 h 39"/>
                  <a:gd name="T52" fmla="*/ 48 w 57"/>
                  <a:gd name="T53" fmla="*/ 7 h 39"/>
                  <a:gd name="T54" fmla="*/ 57 w 57"/>
                  <a:gd name="T55" fmla="*/ 3 h 39"/>
                  <a:gd name="T56" fmla="*/ 56 w 57"/>
                  <a:gd name="T57" fmla="*/ 0 h 39"/>
                  <a:gd name="T58" fmla="*/ 50 w 57"/>
                  <a:gd name="T59" fmla="*/ 1 h 39"/>
                  <a:gd name="T60" fmla="*/ 47 w 57"/>
                  <a:gd name="T61" fmla="*/ 2 h 39"/>
                  <a:gd name="T62" fmla="*/ 45 w 57"/>
                  <a:gd name="T63" fmla="*/ 3 h 39"/>
                  <a:gd name="T64" fmla="*/ 42 w 57"/>
                  <a:gd name="T65" fmla="*/ 4 h 39"/>
                  <a:gd name="T66" fmla="*/ 38 w 57"/>
                  <a:gd name="T67" fmla="*/ 5 h 39"/>
                  <a:gd name="T68" fmla="*/ 34 w 57"/>
                  <a:gd name="T69" fmla="*/ 5 h 39"/>
                  <a:gd name="T70" fmla="*/ 32 w 57"/>
                  <a:gd name="T71" fmla="*/ 5 h 39"/>
                  <a:gd name="T72" fmla="*/ 30 w 57"/>
                  <a:gd name="T73" fmla="*/ 6 h 39"/>
                  <a:gd name="T74" fmla="*/ 29 w 57"/>
                  <a:gd name="T75" fmla="*/ 5 h 39"/>
                  <a:gd name="T76" fmla="*/ 29 w 57"/>
                  <a:gd name="T77" fmla="*/ 6 h 39"/>
                  <a:gd name="T78" fmla="*/ 25 w 57"/>
                  <a:gd name="T79" fmla="*/ 7 h 39"/>
                  <a:gd name="T80" fmla="*/ 21 w 57"/>
                  <a:gd name="T81" fmla="*/ 8 h 39"/>
                  <a:gd name="T82" fmla="*/ 21 w 57"/>
                  <a:gd name="T83" fmla="*/ 10 h 39"/>
                  <a:gd name="T84" fmla="*/ 18 w 57"/>
                  <a:gd name="T85" fmla="*/ 10 h 39"/>
                  <a:gd name="T86" fmla="*/ 17 w 57"/>
                  <a:gd name="T87" fmla="*/ 11 h 39"/>
                  <a:gd name="T88" fmla="*/ 15 w 57"/>
                  <a:gd name="T89" fmla="*/ 11 h 39"/>
                  <a:gd name="T90" fmla="*/ 15 w 57"/>
                  <a:gd name="T91" fmla="*/ 13 h 39"/>
                  <a:gd name="T92" fmla="*/ 16 w 57"/>
                  <a:gd name="T93" fmla="*/ 13 h 39"/>
                  <a:gd name="T94" fmla="*/ 16 w 57"/>
                  <a:gd name="T95" fmla="*/ 14 h 39"/>
                  <a:gd name="T96" fmla="*/ 15 w 57"/>
                  <a:gd name="T97" fmla="*/ 15 h 39"/>
                  <a:gd name="T98" fmla="*/ 14 w 57"/>
                  <a:gd name="T99" fmla="*/ 16 h 39"/>
                  <a:gd name="T100" fmla="*/ 13 w 57"/>
                  <a:gd name="T101" fmla="*/ 17 h 39"/>
                  <a:gd name="T102" fmla="*/ 11 w 57"/>
                  <a:gd name="T103" fmla="*/ 19 h 39"/>
                  <a:gd name="T104" fmla="*/ 8 w 57"/>
                  <a:gd name="T105" fmla="*/ 20 h 39"/>
                  <a:gd name="T106" fmla="*/ 11 w 57"/>
                  <a:gd name="T107" fmla="*/ 20 h 39"/>
                  <a:gd name="T108" fmla="*/ 10 w 57"/>
                  <a:gd name="T109" fmla="*/ 22 h 39"/>
                  <a:gd name="T110" fmla="*/ 10 w 57"/>
                  <a:gd name="T111" fmla="*/ 23 h 39"/>
                  <a:gd name="T112" fmla="*/ 7 w 57"/>
                  <a:gd name="T113" fmla="*/ 24 h 39"/>
                  <a:gd name="T114" fmla="*/ 4 w 57"/>
                  <a:gd name="T115" fmla="*/ 26 h 39"/>
                  <a:gd name="T116" fmla="*/ 5 w 57"/>
                  <a:gd name="T117" fmla="*/ 27 h 39"/>
                  <a:gd name="T118" fmla="*/ 4 w 57"/>
                  <a:gd name="T119" fmla="*/ 29 h 39"/>
                  <a:gd name="T120" fmla="*/ 3 w 57"/>
                  <a:gd name="T121" fmla="*/ 30 h 39"/>
                  <a:gd name="T122" fmla="*/ 0 w 57"/>
                  <a:gd name="T123" fmla="*/ 3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7" h="39">
                    <a:moveTo>
                      <a:pt x="1" y="32"/>
                    </a:moveTo>
                    <a:cubicBezTo>
                      <a:pt x="1" y="32"/>
                      <a:pt x="1" y="33"/>
                      <a:pt x="1" y="33"/>
                    </a:cubicBezTo>
                    <a:cubicBezTo>
                      <a:pt x="1" y="33"/>
                      <a:pt x="2" y="34"/>
                      <a:pt x="2" y="34"/>
                    </a:cubicBezTo>
                    <a:cubicBezTo>
                      <a:pt x="2" y="34"/>
                      <a:pt x="3" y="34"/>
                      <a:pt x="3" y="34"/>
                    </a:cubicBezTo>
                    <a:cubicBezTo>
                      <a:pt x="3" y="33"/>
                      <a:pt x="3" y="32"/>
                      <a:pt x="3" y="33"/>
                    </a:cubicBezTo>
                    <a:cubicBezTo>
                      <a:pt x="4" y="34"/>
                      <a:pt x="3" y="34"/>
                      <a:pt x="4" y="34"/>
                    </a:cubicBezTo>
                    <a:cubicBezTo>
                      <a:pt x="4" y="33"/>
                      <a:pt x="4" y="32"/>
                      <a:pt x="4" y="33"/>
                    </a:cubicBezTo>
                    <a:cubicBezTo>
                      <a:pt x="5" y="33"/>
                      <a:pt x="5" y="33"/>
                      <a:pt x="5" y="34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6" y="33"/>
                      <a:pt x="6" y="34"/>
                      <a:pt x="7" y="33"/>
                    </a:cubicBezTo>
                    <a:cubicBezTo>
                      <a:pt x="7" y="33"/>
                      <a:pt x="7" y="33"/>
                      <a:pt x="7" y="34"/>
                    </a:cubicBezTo>
                    <a:cubicBezTo>
                      <a:pt x="7" y="35"/>
                      <a:pt x="7" y="35"/>
                      <a:pt x="8" y="35"/>
                    </a:cubicBezTo>
                    <a:cubicBezTo>
                      <a:pt x="8" y="35"/>
                      <a:pt x="8" y="35"/>
                      <a:pt x="8" y="35"/>
                    </a:cubicBezTo>
                    <a:cubicBezTo>
                      <a:pt x="8" y="35"/>
                      <a:pt x="8" y="35"/>
                      <a:pt x="9" y="36"/>
                    </a:cubicBezTo>
                    <a:cubicBezTo>
                      <a:pt x="9" y="36"/>
                      <a:pt x="9" y="36"/>
                      <a:pt x="9" y="36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8" y="36"/>
                      <a:pt x="8" y="36"/>
                      <a:pt x="8" y="37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9" y="38"/>
                      <a:pt x="9" y="38"/>
                      <a:pt x="9" y="38"/>
                    </a:cubicBezTo>
                    <a:cubicBezTo>
                      <a:pt x="9" y="38"/>
                      <a:pt x="9" y="38"/>
                      <a:pt x="9" y="38"/>
                    </a:cubicBezTo>
                    <a:cubicBezTo>
                      <a:pt x="10" y="38"/>
                      <a:pt x="10" y="38"/>
                      <a:pt x="11" y="37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1" y="38"/>
                      <a:pt x="11" y="38"/>
                      <a:pt x="12" y="38"/>
                    </a:cubicBezTo>
                    <a:cubicBezTo>
                      <a:pt x="12" y="38"/>
                      <a:pt x="12" y="39"/>
                      <a:pt x="12" y="39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38"/>
                      <a:pt x="14" y="38"/>
                      <a:pt x="14" y="38"/>
                    </a:cubicBezTo>
                    <a:cubicBezTo>
                      <a:pt x="14" y="38"/>
                      <a:pt x="15" y="38"/>
                      <a:pt x="15" y="38"/>
                    </a:cubicBezTo>
                    <a:cubicBezTo>
                      <a:pt x="15" y="38"/>
                      <a:pt x="16" y="39"/>
                      <a:pt x="16" y="39"/>
                    </a:cubicBezTo>
                    <a:cubicBezTo>
                      <a:pt x="16" y="39"/>
                      <a:pt x="16" y="39"/>
                      <a:pt x="16" y="39"/>
                    </a:cubicBezTo>
                    <a:cubicBezTo>
                      <a:pt x="17" y="39"/>
                      <a:pt x="17" y="39"/>
                      <a:pt x="18" y="39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19" y="38"/>
                      <a:pt x="18" y="38"/>
                      <a:pt x="19" y="39"/>
                    </a:cubicBezTo>
                    <a:cubicBezTo>
                      <a:pt x="20" y="39"/>
                      <a:pt x="20" y="39"/>
                      <a:pt x="20" y="39"/>
                    </a:cubicBezTo>
                    <a:cubicBezTo>
                      <a:pt x="20" y="39"/>
                      <a:pt x="20" y="39"/>
                      <a:pt x="20" y="38"/>
                    </a:cubicBezTo>
                    <a:cubicBezTo>
                      <a:pt x="21" y="38"/>
                      <a:pt x="20" y="38"/>
                      <a:pt x="20" y="38"/>
                    </a:cubicBezTo>
                    <a:cubicBezTo>
                      <a:pt x="20" y="38"/>
                      <a:pt x="19" y="37"/>
                      <a:pt x="18" y="37"/>
                    </a:cubicBezTo>
                    <a:cubicBezTo>
                      <a:pt x="17" y="36"/>
                      <a:pt x="17" y="36"/>
                      <a:pt x="17" y="36"/>
                    </a:cubicBezTo>
                    <a:cubicBezTo>
                      <a:pt x="17" y="36"/>
                      <a:pt x="16" y="35"/>
                      <a:pt x="16" y="34"/>
                    </a:cubicBezTo>
                    <a:cubicBezTo>
                      <a:pt x="16" y="34"/>
                      <a:pt x="14" y="33"/>
                      <a:pt x="14" y="32"/>
                    </a:cubicBezTo>
                    <a:cubicBezTo>
                      <a:pt x="14" y="32"/>
                      <a:pt x="14" y="31"/>
                      <a:pt x="14" y="31"/>
                    </a:cubicBezTo>
                    <a:cubicBezTo>
                      <a:pt x="14" y="31"/>
                      <a:pt x="14" y="31"/>
                      <a:pt x="14" y="31"/>
                    </a:cubicBezTo>
                    <a:cubicBezTo>
                      <a:pt x="13" y="31"/>
                      <a:pt x="13" y="30"/>
                      <a:pt x="14" y="30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4" y="30"/>
                      <a:pt x="14" y="29"/>
                      <a:pt x="14" y="29"/>
                    </a:cubicBezTo>
                    <a:cubicBezTo>
                      <a:pt x="14" y="29"/>
                      <a:pt x="13" y="28"/>
                      <a:pt x="14" y="28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4" y="27"/>
                      <a:pt x="14" y="26"/>
                      <a:pt x="15" y="26"/>
                    </a:cubicBezTo>
                    <a:cubicBezTo>
                      <a:pt x="15" y="27"/>
                      <a:pt x="15" y="26"/>
                      <a:pt x="16" y="26"/>
                    </a:cubicBezTo>
                    <a:cubicBezTo>
                      <a:pt x="16" y="26"/>
                      <a:pt x="16" y="25"/>
                      <a:pt x="16" y="25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7" y="24"/>
                      <a:pt x="17" y="23"/>
                      <a:pt x="18" y="23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18" y="23"/>
                      <a:pt x="19" y="23"/>
                      <a:pt x="19" y="22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19" y="22"/>
                      <a:pt x="19" y="21"/>
                      <a:pt x="20" y="21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21" y="21"/>
                      <a:pt x="21" y="20"/>
                      <a:pt x="21" y="20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1" y="20"/>
                      <a:pt x="23" y="20"/>
                      <a:pt x="22" y="19"/>
                    </a:cubicBezTo>
                    <a:cubicBezTo>
                      <a:pt x="21" y="19"/>
                      <a:pt x="21" y="18"/>
                      <a:pt x="20" y="18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18"/>
                      <a:pt x="21" y="18"/>
                      <a:pt x="22" y="19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3" y="18"/>
                      <a:pt x="21" y="18"/>
                      <a:pt x="22" y="18"/>
                    </a:cubicBezTo>
                    <a:cubicBezTo>
                      <a:pt x="23" y="17"/>
                      <a:pt x="22" y="17"/>
                      <a:pt x="23" y="17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4" y="17"/>
                      <a:pt x="24" y="17"/>
                      <a:pt x="24" y="17"/>
                    </a:cubicBezTo>
                    <a:cubicBezTo>
                      <a:pt x="24" y="17"/>
                      <a:pt x="24" y="16"/>
                      <a:pt x="23" y="15"/>
                    </a:cubicBezTo>
                    <a:cubicBezTo>
                      <a:pt x="22" y="15"/>
                      <a:pt x="22" y="14"/>
                      <a:pt x="23" y="15"/>
                    </a:cubicBezTo>
                    <a:cubicBezTo>
                      <a:pt x="24" y="15"/>
                      <a:pt x="24" y="15"/>
                      <a:pt x="24" y="15"/>
                    </a:cubicBezTo>
                    <a:cubicBezTo>
                      <a:pt x="25" y="15"/>
                      <a:pt x="26" y="15"/>
                      <a:pt x="26" y="15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14"/>
                      <a:pt x="27" y="15"/>
                      <a:pt x="27" y="15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8" y="15"/>
                      <a:pt x="28" y="14"/>
                      <a:pt x="28" y="14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9" y="14"/>
                      <a:pt x="30" y="14"/>
                      <a:pt x="30" y="13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2"/>
                      <a:pt x="31" y="12"/>
                      <a:pt x="32" y="11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2" y="11"/>
                      <a:pt x="33" y="10"/>
                      <a:pt x="33" y="10"/>
                    </a:cubicBezTo>
                    <a:cubicBezTo>
                      <a:pt x="33" y="11"/>
                      <a:pt x="32" y="11"/>
                      <a:pt x="33" y="11"/>
                    </a:cubicBezTo>
                    <a:cubicBezTo>
                      <a:pt x="33" y="11"/>
                      <a:pt x="34" y="11"/>
                      <a:pt x="34" y="10"/>
                    </a:cubicBezTo>
                    <a:cubicBezTo>
                      <a:pt x="34" y="10"/>
                      <a:pt x="34" y="10"/>
                      <a:pt x="35" y="10"/>
                    </a:cubicBezTo>
                    <a:cubicBezTo>
                      <a:pt x="36" y="10"/>
                      <a:pt x="36" y="9"/>
                      <a:pt x="37" y="9"/>
                    </a:cubicBezTo>
                    <a:cubicBezTo>
                      <a:pt x="38" y="9"/>
                      <a:pt x="39" y="9"/>
                      <a:pt x="39" y="9"/>
                    </a:cubicBezTo>
                    <a:cubicBezTo>
                      <a:pt x="40" y="8"/>
                      <a:pt x="40" y="7"/>
                      <a:pt x="40" y="8"/>
                    </a:cubicBezTo>
                    <a:cubicBezTo>
                      <a:pt x="40" y="8"/>
                      <a:pt x="39" y="9"/>
                      <a:pt x="40" y="9"/>
                    </a:cubicBezTo>
                    <a:cubicBezTo>
                      <a:pt x="41" y="9"/>
                      <a:pt x="47" y="7"/>
                      <a:pt x="48" y="7"/>
                    </a:cubicBezTo>
                    <a:cubicBezTo>
                      <a:pt x="48" y="7"/>
                      <a:pt x="51" y="6"/>
                      <a:pt x="52" y="5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53" y="5"/>
                      <a:pt x="55" y="4"/>
                      <a:pt x="57" y="3"/>
                    </a:cubicBezTo>
                    <a:cubicBezTo>
                      <a:pt x="57" y="3"/>
                      <a:pt x="57" y="3"/>
                      <a:pt x="57" y="3"/>
                    </a:cubicBezTo>
                    <a:cubicBezTo>
                      <a:pt x="57" y="3"/>
                      <a:pt x="56" y="3"/>
                      <a:pt x="56" y="2"/>
                    </a:cubicBezTo>
                    <a:cubicBezTo>
                      <a:pt x="57" y="2"/>
                      <a:pt x="57" y="2"/>
                      <a:pt x="57" y="2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6" y="1"/>
                      <a:pt x="56" y="1"/>
                      <a:pt x="56" y="0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55" y="0"/>
                      <a:pt x="54" y="0"/>
                      <a:pt x="53" y="0"/>
                    </a:cubicBezTo>
                    <a:cubicBezTo>
                      <a:pt x="52" y="0"/>
                      <a:pt x="50" y="0"/>
                      <a:pt x="50" y="0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49" y="1"/>
                      <a:pt x="48" y="1"/>
                      <a:pt x="48" y="1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8" y="3"/>
                      <a:pt x="47" y="3"/>
                    </a:cubicBezTo>
                    <a:cubicBezTo>
                      <a:pt x="47" y="3"/>
                      <a:pt x="47" y="3"/>
                      <a:pt x="46" y="3"/>
                    </a:cubicBezTo>
                    <a:cubicBezTo>
                      <a:pt x="45" y="3"/>
                      <a:pt x="45" y="3"/>
                      <a:pt x="45" y="3"/>
                    </a:cubicBezTo>
                    <a:cubicBezTo>
                      <a:pt x="45" y="3"/>
                      <a:pt x="44" y="3"/>
                      <a:pt x="44" y="3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3" y="3"/>
                      <a:pt x="43" y="4"/>
                      <a:pt x="43" y="4"/>
                    </a:cubicBezTo>
                    <a:cubicBezTo>
                      <a:pt x="43" y="4"/>
                      <a:pt x="42" y="4"/>
                      <a:pt x="42" y="4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40" y="4"/>
                      <a:pt x="38" y="5"/>
                      <a:pt x="38" y="5"/>
                    </a:cubicBezTo>
                    <a:cubicBezTo>
                      <a:pt x="37" y="5"/>
                      <a:pt x="37" y="4"/>
                      <a:pt x="37" y="5"/>
                    </a:cubicBezTo>
                    <a:cubicBezTo>
                      <a:pt x="36" y="5"/>
                      <a:pt x="36" y="6"/>
                      <a:pt x="36" y="5"/>
                    </a:cubicBezTo>
                    <a:cubicBezTo>
                      <a:pt x="36" y="5"/>
                      <a:pt x="36" y="5"/>
                      <a:pt x="35" y="5"/>
                    </a:cubicBezTo>
                    <a:cubicBezTo>
                      <a:pt x="35" y="5"/>
                      <a:pt x="34" y="5"/>
                      <a:pt x="34" y="5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3" y="5"/>
                      <a:pt x="32" y="5"/>
                      <a:pt x="31" y="5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32" y="5"/>
                      <a:pt x="32" y="5"/>
                      <a:pt x="32" y="6"/>
                    </a:cubicBezTo>
                    <a:cubicBezTo>
                      <a:pt x="32" y="6"/>
                      <a:pt x="32" y="6"/>
                      <a:pt x="32" y="6"/>
                    </a:cubicBezTo>
                    <a:cubicBezTo>
                      <a:pt x="31" y="6"/>
                      <a:pt x="31" y="6"/>
                      <a:pt x="31" y="6"/>
                    </a:cubicBezTo>
                    <a:cubicBezTo>
                      <a:pt x="31" y="6"/>
                      <a:pt x="30" y="6"/>
                      <a:pt x="30" y="6"/>
                    </a:cubicBezTo>
                    <a:cubicBezTo>
                      <a:pt x="31" y="6"/>
                      <a:pt x="31" y="6"/>
                      <a:pt x="31" y="5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29" y="5"/>
                      <a:pt x="28" y="6"/>
                      <a:pt x="28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8" y="7"/>
                      <a:pt x="27" y="6"/>
                      <a:pt x="27" y="7"/>
                    </a:cubicBezTo>
                    <a:cubicBezTo>
                      <a:pt x="27" y="7"/>
                      <a:pt x="26" y="7"/>
                      <a:pt x="26" y="7"/>
                    </a:cubicBezTo>
                    <a:cubicBezTo>
                      <a:pt x="26" y="7"/>
                      <a:pt x="26" y="7"/>
                      <a:pt x="25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3" y="8"/>
                      <a:pt x="23" y="8"/>
                      <a:pt x="22" y="8"/>
                    </a:cubicBezTo>
                    <a:cubicBezTo>
                      <a:pt x="22" y="8"/>
                      <a:pt x="21" y="8"/>
                      <a:pt x="21" y="8"/>
                    </a:cubicBezTo>
                    <a:cubicBezTo>
                      <a:pt x="22" y="9"/>
                      <a:pt x="23" y="9"/>
                      <a:pt x="22" y="9"/>
                    </a:cubicBezTo>
                    <a:cubicBezTo>
                      <a:pt x="22" y="9"/>
                      <a:pt x="22" y="9"/>
                      <a:pt x="21" y="9"/>
                    </a:cubicBezTo>
                    <a:cubicBezTo>
                      <a:pt x="20" y="9"/>
                      <a:pt x="20" y="10"/>
                      <a:pt x="20" y="10"/>
                    </a:cubicBezTo>
                    <a:cubicBezTo>
                      <a:pt x="21" y="10"/>
                      <a:pt x="21" y="10"/>
                      <a:pt x="21" y="10"/>
                    </a:cubicBezTo>
                    <a:cubicBezTo>
                      <a:pt x="20" y="10"/>
                      <a:pt x="20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8" y="11"/>
                      <a:pt x="18" y="11"/>
                      <a:pt x="17" y="11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7" y="12"/>
                      <a:pt x="17" y="12"/>
                      <a:pt x="17" y="11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6" y="11"/>
                      <a:pt x="16" y="11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4" y="12"/>
                      <a:pt x="14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5" y="13"/>
                      <a:pt x="16" y="13"/>
                      <a:pt x="16" y="13"/>
                    </a:cubicBezTo>
                    <a:cubicBezTo>
                      <a:pt x="16" y="12"/>
                      <a:pt x="17" y="13"/>
                      <a:pt x="16" y="13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5" y="13"/>
                      <a:pt x="15" y="14"/>
                      <a:pt x="15" y="14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5" y="14"/>
                      <a:pt x="15" y="14"/>
                      <a:pt x="16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14"/>
                      <a:pt x="16" y="14"/>
                      <a:pt x="15" y="14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5"/>
                      <a:pt x="14" y="15"/>
                      <a:pt x="15" y="15"/>
                    </a:cubicBezTo>
                    <a:cubicBezTo>
                      <a:pt x="15" y="15"/>
                      <a:pt x="16" y="16"/>
                      <a:pt x="15" y="16"/>
                    </a:cubicBezTo>
                    <a:cubicBezTo>
                      <a:pt x="15" y="16"/>
                      <a:pt x="15" y="16"/>
                      <a:pt x="14" y="16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3" y="16"/>
                      <a:pt x="13" y="16"/>
                      <a:pt x="14" y="16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4" y="17"/>
                      <a:pt x="13" y="17"/>
                      <a:pt x="13" y="17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17"/>
                      <a:pt x="13" y="18"/>
                      <a:pt x="12" y="18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1" y="18"/>
                      <a:pt x="11" y="19"/>
                      <a:pt x="11" y="19"/>
                    </a:cubicBezTo>
                    <a:cubicBezTo>
                      <a:pt x="11" y="19"/>
                      <a:pt x="11" y="19"/>
                      <a:pt x="10" y="18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9" y="20"/>
                      <a:pt x="9" y="20"/>
                      <a:pt x="8" y="20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0"/>
                      <a:pt x="8" y="20"/>
                      <a:pt x="8" y="21"/>
                    </a:cubicBezTo>
                    <a:cubicBezTo>
                      <a:pt x="8" y="21"/>
                      <a:pt x="9" y="21"/>
                      <a:pt x="9" y="21"/>
                    </a:cubicBezTo>
                    <a:cubicBezTo>
                      <a:pt x="9" y="21"/>
                      <a:pt x="10" y="21"/>
                      <a:pt x="11" y="21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11" y="20"/>
                      <a:pt x="11" y="20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1"/>
                      <a:pt x="10" y="21"/>
                      <a:pt x="10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0" y="22"/>
                      <a:pt x="9" y="22"/>
                      <a:pt x="9" y="22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2"/>
                      <a:pt x="10" y="23"/>
                      <a:pt x="10" y="23"/>
                    </a:cubicBezTo>
                    <a:cubicBezTo>
                      <a:pt x="9" y="23"/>
                      <a:pt x="9" y="23"/>
                      <a:pt x="8" y="23"/>
                    </a:cubicBezTo>
                    <a:cubicBezTo>
                      <a:pt x="8" y="23"/>
                      <a:pt x="8" y="23"/>
                      <a:pt x="7" y="23"/>
                    </a:cubicBezTo>
                    <a:cubicBezTo>
                      <a:pt x="7" y="24"/>
                      <a:pt x="6" y="24"/>
                      <a:pt x="6" y="24"/>
                    </a:cubicBezTo>
                    <a:cubicBezTo>
                      <a:pt x="7" y="24"/>
                      <a:pt x="7" y="24"/>
                      <a:pt x="7" y="24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6" y="25"/>
                      <a:pt x="5" y="26"/>
                      <a:pt x="4" y="26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4" y="26"/>
                      <a:pt x="5" y="27"/>
                      <a:pt x="5" y="27"/>
                    </a:cubicBezTo>
                    <a:cubicBezTo>
                      <a:pt x="5" y="27"/>
                      <a:pt x="6" y="27"/>
                      <a:pt x="5" y="27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5" y="28"/>
                      <a:pt x="5" y="29"/>
                      <a:pt x="5" y="29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4" y="30"/>
                      <a:pt x="4" y="30"/>
                      <a:pt x="4" y="30"/>
                    </a:cubicBezTo>
                    <a:cubicBezTo>
                      <a:pt x="4" y="30"/>
                      <a:pt x="4" y="30"/>
                      <a:pt x="4" y="30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0"/>
                      <a:pt x="3" y="31"/>
                      <a:pt x="3" y="30"/>
                    </a:cubicBezTo>
                    <a:cubicBezTo>
                      <a:pt x="2" y="30"/>
                      <a:pt x="2" y="29"/>
                      <a:pt x="1" y="30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1" y="31"/>
                      <a:pt x="1" y="31"/>
                      <a:pt x="0" y="31"/>
                    </a:cubicBezTo>
                    <a:lnTo>
                      <a:pt x="1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08" name="Freeform 43">
                <a:extLst>
                  <a:ext uri="{FF2B5EF4-FFF2-40B4-BE49-F238E27FC236}">
                    <a16:creationId xmlns:a16="http://schemas.microsoft.com/office/drawing/2014/main" id="{00B80760-6BC5-4193-9595-CB1A9325B2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1" y="1772"/>
                <a:ext cx="17" cy="8"/>
              </a:xfrm>
              <a:custGeom>
                <a:avLst/>
                <a:gdLst>
                  <a:gd name="T0" fmla="*/ 5 w 7"/>
                  <a:gd name="T1" fmla="*/ 1 h 3"/>
                  <a:gd name="T2" fmla="*/ 5 w 7"/>
                  <a:gd name="T3" fmla="*/ 1 h 3"/>
                  <a:gd name="T4" fmla="*/ 5 w 7"/>
                  <a:gd name="T5" fmla="*/ 1 h 3"/>
                  <a:gd name="T6" fmla="*/ 3 w 7"/>
                  <a:gd name="T7" fmla="*/ 0 h 3"/>
                  <a:gd name="T8" fmla="*/ 3 w 7"/>
                  <a:gd name="T9" fmla="*/ 0 h 3"/>
                  <a:gd name="T10" fmla="*/ 3 w 7"/>
                  <a:gd name="T11" fmla="*/ 0 h 3"/>
                  <a:gd name="T12" fmla="*/ 3 w 7"/>
                  <a:gd name="T13" fmla="*/ 1 h 3"/>
                  <a:gd name="T14" fmla="*/ 2 w 7"/>
                  <a:gd name="T15" fmla="*/ 1 h 3"/>
                  <a:gd name="T16" fmla="*/ 2 w 7"/>
                  <a:gd name="T17" fmla="*/ 1 h 3"/>
                  <a:gd name="T18" fmla="*/ 1 w 7"/>
                  <a:gd name="T19" fmla="*/ 1 h 3"/>
                  <a:gd name="T20" fmla="*/ 0 w 7"/>
                  <a:gd name="T21" fmla="*/ 2 h 3"/>
                  <a:gd name="T22" fmla="*/ 3 w 7"/>
                  <a:gd name="T23" fmla="*/ 3 h 3"/>
                  <a:gd name="T24" fmla="*/ 3 w 7"/>
                  <a:gd name="T25" fmla="*/ 3 h 3"/>
                  <a:gd name="T26" fmla="*/ 3 w 7"/>
                  <a:gd name="T27" fmla="*/ 3 h 3"/>
                  <a:gd name="T28" fmla="*/ 5 w 7"/>
                  <a:gd name="T29" fmla="*/ 3 h 3"/>
                  <a:gd name="T30" fmla="*/ 6 w 7"/>
                  <a:gd name="T31" fmla="*/ 2 h 3"/>
                  <a:gd name="T32" fmla="*/ 7 w 7"/>
                  <a:gd name="T33" fmla="*/ 1 h 3"/>
                  <a:gd name="T34" fmla="*/ 7 w 7"/>
                  <a:gd name="T35" fmla="*/ 1 h 3"/>
                  <a:gd name="T36" fmla="*/ 5 w 7"/>
                  <a:gd name="T3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" h="3">
                    <a:moveTo>
                      <a:pt x="5" y="1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2" y="2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3"/>
                      <a:pt x="5" y="3"/>
                      <a:pt x="5" y="3"/>
                    </a:cubicBezTo>
                    <a:cubicBezTo>
                      <a:pt x="5" y="3"/>
                      <a:pt x="6" y="2"/>
                      <a:pt x="6" y="2"/>
                    </a:cubicBezTo>
                    <a:cubicBezTo>
                      <a:pt x="6" y="2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6" y="1"/>
                      <a:pt x="5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09" name="Freeform 44">
                <a:extLst>
                  <a:ext uri="{FF2B5EF4-FFF2-40B4-BE49-F238E27FC236}">
                    <a16:creationId xmlns:a16="http://schemas.microsoft.com/office/drawing/2014/main" id="{B1219767-C98C-4167-BA29-F1359D883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9" y="1777"/>
                <a:ext cx="7" cy="5"/>
              </a:xfrm>
              <a:custGeom>
                <a:avLst/>
                <a:gdLst>
                  <a:gd name="T0" fmla="*/ 2 w 3"/>
                  <a:gd name="T1" fmla="*/ 2 h 2"/>
                  <a:gd name="T2" fmla="*/ 3 w 3"/>
                  <a:gd name="T3" fmla="*/ 1 h 2"/>
                  <a:gd name="T4" fmla="*/ 3 w 3"/>
                  <a:gd name="T5" fmla="*/ 0 h 2"/>
                  <a:gd name="T6" fmla="*/ 1 w 3"/>
                  <a:gd name="T7" fmla="*/ 0 h 2"/>
                  <a:gd name="T8" fmla="*/ 0 w 3"/>
                  <a:gd name="T9" fmla="*/ 0 h 2"/>
                  <a:gd name="T10" fmla="*/ 1 w 3"/>
                  <a:gd name="T11" fmla="*/ 1 h 2"/>
                  <a:gd name="T12" fmla="*/ 2 w 3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10" name="Freeform 45">
                <a:extLst>
                  <a:ext uri="{FF2B5EF4-FFF2-40B4-BE49-F238E27FC236}">
                    <a16:creationId xmlns:a16="http://schemas.microsoft.com/office/drawing/2014/main" id="{0EED7201-4CAB-4C10-BF72-E010B7E85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4" y="1782"/>
                <a:ext cx="34" cy="9"/>
              </a:xfrm>
              <a:custGeom>
                <a:avLst/>
                <a:gdLst>
                  <a:gd name="T0" fmla="*/ 0 w 14"/>
                  <a:gd name="T1" fmla="*/ 3 h 4"/>
                  <a:gd name="T2" fmla="*/ 2 w 14"/>
                  <a:gd name="T3" fmla="*/ 4 h 4"/>
                  <a:gd name="T4" fmla="*/ 5 w 14"/>
                  <a:gd name="T5" fmla="*/ 3 h 4"/>
                  <a:gd name="T6" fmla="*/ 5 w 14"/>
                  <a:gd name="T7" fmla="*/ 3 h 4"/>
                  <a:gd name="T8" fmla="*/ 5 w 14"/>
                  <a:gd name="T9" fmla="*/ 3 h 4"/>
                  <a:gd name="T10" fmla="*/ 9 w 14"/>
                  <a:gd name="T11" fmla="*/ 4 h 4"/>
                  <a:gd name="T12" fmla="*/ 13 w 14"/>
                  <a:gd name="T13" fmla="*/ 4 h 4"/>
                  <a:gd name="T14" fmla="*/ 13 w 14"/>
                  <a:gd name="T15" fmla="*/ 4 h 4"/>
                  <a:gd name="T16" fmla="*/ 13 w 14"/>
                  <a:gd name="T17" fmla="*/ 3 h 4"/>
                  <a:gd name="T18" fmla="*/ 12 w 14"/>
                  <a:gd name="T19" fmla="*/ 1 h 4"/>
                  <a:gd name="T20" fmla="*/ 11 w 14"/>
                  <a:gd name="T21" fmla="*/ 1 h 4"/>
                  <a:gd name="T22" fmla="*/ 11 w 14"/>
                  <a:gd name="T23" fmla="*/ 1 h 4"/>
                  <a:gd name="T24" fmla="*/ 8 w 14"/>
                  <a:gd name="T25" fmla="*/ 0 h 4"/>
                  <a:gd name="T26" fmla="*/ 7 w 14"/>
                  <a:gd name="T27" fmla="*/ 0 h 4"/>
                  <a:gd name="T28" fmla="*/ 6 w 14"/>
                  <a:gd name="T29" fmla="*/ 0 h 4"/>
                  <a:gd name="T30" fmla="*/ 6 w 14"/>
                  <a:gd name="T31" fmla="*/ 1 h 4"/>
                  <a:gd name="T32" fmla="*/ 4 w 14"/>
                  <a:gd name="T33" fmla="*/ 2 h 4"/>
                  <a:gd name="T34" fmla="*/ 3 w 14"/>
                  <a:gd name="T35" fmla="*/ 3 h 4"/>
                  <a:gd name="T36" fmla="*/ 1 w 14"/>
                  <a:gd name="T37" fmla="*/ 3 h 4"/>
                  <a:gd name="T38" fmla="*/ 0 w 14"/>
                  <a:gd name="T3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" h="4">
                    <a:moveTo>
                      <a:pt x="0" y="3"/>
                    </a:moveTo>
                    <a:cubicBezTo>
                      <a:pt x="0" y="4"/>
                      <a:pt x="1" y="4"/>
                      <a:pt x="2" y="4"/>
                    </a:cubicBezTo>
                    <a:cubicBezTo>
                      <a:pt x="3" y="3"/>
                      <a:pt x="4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3"/>
                      <a:pt x="7" y="4"/>
                      <a:pt x="9" y="4"/>
                    </a:cubicBezTo>
                    <a:cubicBezTo>
                      <a:pt x="10" y="4"/>
                      <a:pt x="12" y="4"/>
                      <a:pt x="13" y="4"/>
                    </a:cubicBezTo>
                    <a:cubicBezTo>
                      <a:pt x="13" y="4"/>
                      <a:pt x="14" y="4"/>
                      <a:pt x="13" y="4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2" y="2"/>
                      <a:pt x="12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0" y="1"/>
                      <a:pt x="9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6" y="0"/>
                      <a:pt x="6" y="1"/>
                      <a:pt x="6" y="1"/>
                    </a:cubicBezTo>
                    <a:cubicBezTo>
                      <a:pt x="5" y="1"/>
                      <a:pt x="5" y="1"/>
                      <a:pt x="4" y="2"/>
                    </a:cubicBezTo>
                    <a:cubicBezTo>
                      <a:pt x="4" y="2"/>
                      <a:pt x="3" y="3"/>
                      <a:pt x="3" y="3"/>
                    </a:cubicBezTo>
                    <a:cubicBezTo>
                      <a:pt x="2" y="3"/>
                      <a:pt x="2" y="3"/>
                      <a:pt x="1" y="3"/>
                    </a:cubicBezTo>
                    <a:cubicBezTo>
                      <a:pt x="1" y="3"/>
                      <a:pt x="0" y="3"/>
                      <a:pt x="0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11" name="Freeform 46">
                <a:extLst>
                  <a:ext uri="{FF2B5EF4-FFF2-40B4-BE49-F238E27FC236}">
                    <a16:creationId xmlns:a16="http://schemas.microsoft.com/office/drawing/2014/main" id="{5A398AF2-65A7-4FF7-AE9E-00F5914EA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6" y="1753"/>
                <a:ext cx="5" cy="8"/>
              </a:xfrm>
              <a:custGeom>
                <a:avLst/>
                <a:gdLst>
                  <a:gd name="T0" fmla="*/ 0 w 2"/>
                  <a:gd name="T1" fmla="*/ 3 h 3"/>
                  <a:gd name="T2" fmla="*/ 1 w 2"/>
                  <a:gd name="T3" fmla="*/ 3 h 3"/>
                  <a:gd name="T4" fmla="*/ 2 w 2"/>
                  <a:gd name="T5" fmla="*/ 3 h 3"/>
                  <a:gd name="T6" fmla="*/ 2 w 2"/>
                  <a:gd name="T7" fmla="*/ 2 h 3"/>
                  <a:gd name="T8" fmla="*/ 2 w 2"/>
                  <a:gd name="T9" fmla="*/ 1 h 3"/>
                  <a:gd name="T10" fmla="*/ 1 w 2"/>
                  <a:gd name="T11" fmla="*/ 1 h 3"/>
                  <a:gd name="T12" fmla="*/ 0 w 2"/>
                  <a:gd name="T13" fmla="*/ 2 h 3"/>
                  <a:gd name="T14" fmla="*/ 0 w 2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cubicBezTo>
                      <a:pt x="0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2" y="3"/>
                    </a:cubicBezTo>
                    <a:cubicBezTo>
                      <a:pt x="2" y="3"/>
                      <a:pt x="2" y="2"/>
                      <a:pt x="2" y="2"/>
                    </a:cubicBezTo>
                    <a:cubicBezTo>
                      <a:pt x="2" y="2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12" name="Freeform 47">
                <a:extLst>
                  <a:ext uri="{FF2B5EF4-FFF2-40B4-BE49-F238E27FC236}">
                    <a16:creationId xmlns:a16="http://schemas.microsoft.com/office/drawing/2014/main" id="{34BEA8C0-21EC-4E38-858C-5EFA6D22BD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678"/>
                <a:ext cx="26" cy="7"/>
              </a:xfrm>
              <a:custGeom>
                <a:avLst/>
                <a:gdLst>
                  <a:gd name="T0" fmla="*/ 1 w 11"/>
                  <a:gd name="T1" fmla="*/ 2 h 3"/>
                  <a:gd name="T2" fmla="*/ 2 w 11"/>
                  <a:gd name="T3" fmla="*/ 2 h 3"/>
                  <a:gd name="T4" fmla="*/ 3 w 11"/>
                  <a:gd name="T5" fmla="*/ 2 h 3"/>
                  <a:gd name="T6" fmla="*/ 3 w 11"/>
                  <a:gd name="T7" fmla="*/ 2 h 3"/>
                  <a:gd name="T8" fmla="*/ 3 w 11"/>
                  <a:gd name="T9" fmla="*/ 3 h 3"/>
                  <a:gd name="T10" fmla="*/ 5 w 11"/>
                  <a:gd name="T11" fmla="*/ 2 h 3"/>
                  <a:gd name="T12" fmla="*/ 5 w 11"/>
                  <a:gd name="T13" fmla="*/ 2 h 3"/>
                  <a:gd name="T14" fmla="*/ 5 w 11"/>
                  <a:gd name="T15" fmla="*/ 2 h 3"/>
                  <a:gd name="T16" fmla="*/ 6 w 11"/>
                  <a:gd name="T17" fmla="*/ 2 h 3"/>
                  <a:gd name="T18" fmla="*/ 7 w 11"/>
                  <a:gd name="T19" fmla="*/ 2 h 3"/>
                  <a:gd name="T20" fmla="*/ 7 w 11"/>
                  <a:gd name="T21" fmla="*/ 1 h 3"/>
                  <a:gd name="T22" fmla="*/ 8 w 11"/>
                  <a:gd name="T23" fmla="*/ 1 h 3"/>
                  <a:gd name="T24" fmla="*/ 9 w 11"/>
                  <a:gd name="T25" fmla="*/ 1 h 3"/>
                  <a:gd name="T26" fmla="*/ 10 w 11"/>
                  <a:gd name="T27" fmla="*/ 1 h 3"/>
                  <a:gd name="T28" fmla="*/ 11 w 11"/>
                  <a:gd name="T29" fmla="*/ 1 h 3"/>
                  <a:gd name="T30" fmla="*/ 8 w 11"/>
                  <a:gd name="T31" fmla="*/ 0 h 3"/>
                  <a:gd name="T32" fmla="*/ 5 w 11"/>
                  <a:gd name="T33" fmla="*/ 0 h 3"/>
                  <a:gd name="T34" fmla="*/ 1 w 11"/>
                  <a:gd name="T35" fmla="*/ 1 h 3"/>
                  <a:gd name="T36" fmla="*/ 0 w 11"/>
                  <a:gd name="T37" fmla="*/ 2 h 3"/>
                  <a:gd name="T38" fmla="*/ 0 w 11"/>
                  <a:gd name="T39" fmla="*/ 2 h 3"/>
                  <a:gd name="T40" fmla="*/ 1 w 11"/>
                  <a:gd name="T4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" h="3">
                    <a:moveTo>
                      <a:pt x="1" y="2"/>
                    </a:moveTo>
                    <a:cubicBezTo>
                      <a:pt x="1" y="2"/>
                      <a:pt x="2" y="2"/>
                      <a:pt x="2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3"/>
                      <a:pt x="3" y="3"/>
                    </a:cubicBezTo>
                    <a:cubicBezTo>
                      <a:pt x="4" y="3"/>
                      <a:pt x="4" y="3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6" y="2"/>
                      <a:pt x="6" y="2"/>
                    </a:cubicBezTo>
                    <a:cubicBezTo>
                      <a:pt x="6" y="2"/>
                      <a:pt x="7" y="2"/>
                      <a:pt x="7" y="2"/>
                    </a:cubicBezTo>
                    <a:cubicBezTo>
                      <a:pt x="7" y="2"/>
                      <a:pt x="8" y="1"/>
                      <a:pt x="7" y="1"/>
                    </a:cubicBezTo>
                    <a:cubicBezTo>
                      <a:pt x="7" y="1"/>
                      <a:pt x="8" y="1"/>
                      <a:pt x="8" y="1"/>
                    </a:cubicBezTo>
                    <a:cubicBezTo>
                      <a:pt x="8" y="1"/>
                      <a:pt x="9" y="1"/>
                      <a:pt x="9" y="1"/>
                    </a:cubicBezTo>
                    <a:cubicBezTo>
                      <a:pt x="9" y="1"/>
                      <a:pt x="10" y="1"/>
                      <a:pt x="10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0" y="1"/>
                      <a:pt x="9" y="0"/>
                      <a:pt x="8" y="0"/>
                    </a:cubicBezTo>
                    <a:cubicBezTo>
                      <a:pt x="7" y="0"/>
                      <a:pt x="5" y="0"/>
                      <a:pt x="5" y="0"/>
                    </a:cubicBezTo>
                    <a:cubicBezTo>
                      <a:pt x="4" y="1"/>
                      <a:pt x="2" y="1"/>
                      <a:pt x="1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13" name="Freeform 48">
                <a:extLst>
                  <a:ext uri="{FF2B5EF4-FFF2-40B4-BE49-F238E27FC236}">
                    <a16:creationId xmlns:a16="http://schemas.microsoft.com/office/drawing/2014/main" id="{4887717D-E224-4713-B31F-4B16977C4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3" y="1682"/>
                <a:ext cx="24" cy="7"/>
              </a:xfrm>
              <a:custGeom>
                <a:avLst/>
                <a:gdLst>
                  <a:gd name="T0" fmla="*/ 2 w 10"/>
                  <a:gd name="T1" fmla="*/ 3 h 3"/>
                  <a:gd name="T2" fmla="*/ 4 w 10"/>
                  <a:gd name="T3" fmla="*/ 3 h 3"/>
                  <a:gd name="T4" fmla="*/ 5 w 10"/>
                  <a:gd name="T5" fmla="*/ 3 h 3"/>
                  <a:gd name="T6" fmla="*/ 6 w 10"/>
                  <a:gd name="T7" fmla="*/ 3 h 3"/>
                  <a:gd name="T8" fmla="*/ 7 w 10"/>
                  <a:gd name="T9" fmla="*/ 2 h 3"/>
                  <a:gd name="T10" fmla="*/ 7 w 10"/>
                  <a:gd name="T11" fmla="*/ 2 h 3"/>
                  <a:gd name="T12" fmla="*/ 7 w 10"/>
                  <a:gd name="T13" fmla="*/ 2 h 3"/>
                  <a:gd name="T14" fmla="*/ 8 w 10"/>
                  <a:gd name="T15" fmla="*/ 1 h 3"/>
                  <a:gd name="T16" fmla="*/ 9 w 10"/>
                  <a:gd name="T17" fmla="*/ 1 h 3"/>
                  <a:gd name="T18" fmla="*/ 10 w 10"/>
                  <a:gd name="T19" fmla="*/ 1 h 3"/>
                  <a:gd name="T20" fmla="*/ 10 w 10"/>
                  <a:gd name="T21" fmla="*/ 1 h 3"/>
                  <a:gd name="T22" fmla="*/ 5 w 10"/>
                  <a:gd name="T23" fmla="*/ 0 h 3"/>
                  <a:gd name="T24" fmla="*/ 5 w 10"/>
                  <a:gd name="T25" fmla="*/ 0 h 3"/>
                  <a:gd name="T26" fmla="*/ 4 w 10"/>
                  <a:gd name="T27" fmla="*/ 0 h 3"/>
                  <a:gd name="T28" fmla="*/ 3 w 10"/>
                  <a:gd name="T29" fmla="*/ 1 h 3"/>
                  <a:gd name="T30" fmla="*/ 2 w 10"/>
                  <a:gd name="T31" fmla="*/ 1 h 3"/>
                  <a:gd name="T32" fmla="*/ 1 w 10"/>
                  <a:gd name="T33" fmla="*/ 1 h 3"/>
                  <a:gd name="T34" fmla="*/ 0 w 10"/>
                  <a:gd name="T35" fmla="*/ 1 h 3"/>
                  <a:gd name="T36" fmla="*/ 0 w 10"/>
                  <a:gd name="T37" fmla="*/ 2 h 3"/>
                  <a:gd name="T38" fmla="*/ 2 w 10"/>
                  <a:gd name="T39" fmla="*/ 2 h 3"/>
                  <a:gd name="T40" fmla="*/ 2 w 10"/>
                  <a:gd name="T4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" h="3">
                    <a:moveTo>
                      <a:pt x="2" y="3"/>
                    </a:moveTo>
                    <a:cubicBezTo>
                      <a:pt x="3" y="3"/>
                      <a:pt x="4" y="3"/>
                      <a:pt x="4" y="3"/>
                    </a:cubicBezTo>
                    <a:cubicBezTo>
                      <a:pt x="4" y="3"/>
                      <a:pt x="5" y="3"/>
                      <a:pt x="5" y="3"/>
                    </a:cubicBezTo>
                    <a:cubicBezTo>
                      <a:pt x="5" y="3"/>
                      <a:pt x="6" y="3"/>
                      <a:pt x="6" y="3"/>
                    </a:cubicBezTo>
                    <a:cubicBezTo>
                      <a:pt x="6" y="3"/>
                      <a:pt x="7" y="3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8" y="1"/>
                      <a:pt x="8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8" y="1"/>
                      <a:pt x="6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1"/>
                      <a:pt x="3" y="1"/>
                    </a:cubicBezTo>
                    <a:cubicBezTo>
                      <a:pt x="3" y="1"/>
                      <a:pt x="3" y="1"/>
                      <a:pt x="2" y="1"/>
                    </a:cubicBezTo>
                    <a:cubicBezTo>
                      <a:pt x="2" y="2"/>
                      <a:pt x="2" y="1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2" y="3"/>
                      <a:pt x="2" y="3"/>
                      <a:pt x="2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14" name="Freeform 49">
                <a:extLst>
                  <a:ext uri="{FF2B5EF4-FFF2-40B4-BE49-F238E27FC236}">
                    <a16:creationId xmlns:a16="http://schemas.microsoft.com/office/drawing/2014/main" id="{57926C33-3B4C-4324-8508-3F7EF7F2B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8" y="1675"/>
                <a:ext cx="21" cy="10"/>
              </a:xfrm>
              <a:custGeom>
                <a:avLst/>
                <a:gdLst>
                  <a:gd name="T0" fmla="*/ 4 w 9"/>
                  <a:gd name="T1" fmla="*/ 4 h 4"/>
                  <a:gd name="T2" fmla="*/ 4 w 9"/>
                  <a:gd name="T3" fmla="*/ 4 h 4"/>
                  <a:gd name="T4" fmla="*/ 6 w 9"/>
                  <a:gd name="T5" fmla="*/ 4 h 4"/>
                  <a:gd name="T6" fmla="*/ 6 w 9"/>
                  <a:gd name="T7" fmla="*/ 3 h 4"/>
                  <a:gd name="T8" fmla="*/ 7 w 9"/>
                  <a:gd name="T9" fmla="*/ 3 h 4"/>
                  <a:gd name="T10" fmla="*/ 9 w 9"/>
                  <a:gd name="T11" fmla="*/ 2 h 4"/>
                  <a:gd name="T12" fmla="*/ 9 w 9"/>
                  <a:gd name="T13" fmla="*/ 2 h 4"/>
                  <a:gd name="T14" fmla="*/ 8 w 9"/>
                  <a:gd name="T15" fmla="*/ 1 h 4"/>
                  <a:gd name="T16" fmla="*/ 7 w 9"/>
                  <a:gd name="T17" fmla="*/ 1 h 4"/>
                  <a:gd name="T18" fmla="*/ 7 w 9"/>
                  <a:gd name="T19" fmla="*/ 1 h 4"/>
                  <a:gd name="T20" fmla="*/ 6 w 9"/>
                  <a:gd name="T21" fmla="*/ 1 h 4"/>
                  <a:gd name="T22" fmla="*/ 6 w 9"/>
                  <a:gd name="T23" fmla="*/ 1 h 4"/>
                  <a:gd name="T24" fmla="*/ 5 w 9"/>
                  <a:gd name="T25" fmla="*/ 1 h 4"/>
                  <a:gd name="T26" fmla="*/ 2 w 9"/>
                  <a:gd name="T27" fmla="*/ 1 h 4"/>
                  <a:gd name="T28" fmla="*/ 0 w 9"/>
                  <a:gd name="T29" fmla="*/ 2 h 4"/>
                  <a:gd name="T30" fmla="*/ 2 w 9"/>
                  <a:gd name="T31" fmla="*/ 3 h 4"/>
                  <a:gd name="T32" fmla="*/ 4 w 9"/>
                  <a:gd name="T3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" h="4">
                    <a:moveTo>
                      <a:pt x="4" y="4"/>
                    </a:move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5" y="4"/>
                      <a:pt x="6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8" y="3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2"/>
                      <a:pt x="8" y="2"/>
                      <a:pt x="8" y="1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5" y="0"/>
                      <a:pt x="5" y="1"/>
                    </a:cubicBezTo>
                    <a:cubicBezTo>
                      <a:pt x="4" y="1"/>
                      <a:pt x="3" y="1"/>
                      <a:pt x="2" y="1"/>
                    </a:cubicBezTo>
                    <a:cubicBezTo>
                      <a:pt x="1" y="1"/>
                      <a:pt x="1" y="2"/>
                      <a:pt x="0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3"/>
                      <a:pt x="4" y="4"/>
                      <a:pt x="4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15" name="Freeform 50">
                <a:extLst>
                  <a:ext uri="{FF2B5EF4-FFF2-40B4-BE49-F238E27FC236}">
                    <a16:creationId xmlns:a16="http://schemas.microsoft.com/office/drawing/2014/main" id="{B6072444-4A36-45FB-9FEF-66D3E40DB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5" y="1687"/>
                <a:ext cx="4" cy="2"/>
              </a:xfrm>
              <a:custGeom>
                <a:avLst/>
                <a:gdLst>
                  <a:gd name="T0" fmla="*/ 0 w 2"/>
                  <a:gd name="T1" fmla="*/ 1 h 1"/>
                  <a:gd name="T2" fmla="*/ 1 w 2"/>
                  <a:gd name="T3" fmla="*/ 1 h 1"/>
                  <a:gd name="T4" fmla="*/ 2 w 2"/>
                  <a:gd name="T5" fmla="*/ 1 h 1"/>
                  <a:gd name="T6" fmla="*/ 2 w 2"/>
                  <a:gd name="T7" fmla="*/ 0 h 1"/>
                  <a:gd name="T8" fmla="*/ 0 w 2"/>
                  <a:gd name="T9" fmla="*/ 0 h 1"/>
                  <a:gd name="T10" fmla="*/ 0 w 2"/>
                  <a:gd name="T11" fmla="*/ 0 h 1"/>
                  <a:gd name="T12" fmla="*/ 0 w 2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16" name="Freeform 51">
                <a:extLst>
                  <a:ext uri="{FF2B5EF4-FFF2-40B4-BE49-F238E27FC236}">
                    <a16:creationId xmlns:a16="http://schemas.microsoft.com/office/drawing/2014/main" id="{F70CDC59-0513-4C2A-A81C-D848B625B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9" y="1689"/>
                <a:ext cx="10" cy="3"/>
              </a:xfrm>
              <a:custGeom>
                <a:avLst/>
                <a:gdLst>
                  <a:gd name="T0" fmla="*/ 4 w 4"/>
                  <a:gd name="T1" fmla="*/ 1 h 1"/>
                  <a:gd name="T2" fmla="*/ 4 w 4"/>
                  <a:gd name="T3" fmla="*/ 1 h 1"/>
                  <a:gd name="T4" fmla="*/ 3 w 4"/>
                  <a:gd name="T5" fmla="*/ 0 h 1"/>
                  <a:gd name="T6" fmla="*/ 3 w 4"/>
                  <a:gd name="T7" fmla="*/ 0 h 1"/>
                  <a:gd name="T8" fmla="*/ 2 w 4"/>
                  <a:gd name="T9" fmla="*/ 0 h 1"/>
                  <a:gd name="T10" fmla="*/ 2 w 4"/>
                  <a:gd name="T11" fmla="*/ 0 h 1"/>
                  <a:gd name="T12" fmla="*/ 0 w 4"/>
                  <a:gd name="T13" fmla="*/ 0 h 1"/>
                  <a:gd name="T14" fmla="*/ 0 w 4"/>
                  <a:gd name="T15" fmla="*/ 1 h 1"/>
                  <a:gd name="T16" fmla="*/ 2 w 4"/>
                  <a:gd name="T17" fmla="*/ 1 h 1"/>
                  <a:gd name="T18" fmla="*/ 4 w 4"/>
                  <a:gd name="T1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3" y="1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1"/>
                    </a:cubicBezTo>
                    <a:cubicBezTo>
                      <a:pt x="3" y="1"/>
                      <a:pt x="4" y="1"/>
                      <a:pt x="4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17" name="Freeform 52">
                <a:extLst>
                  <a:ext uri="{FF2B5EF4-FFF2-40B4-BE49-F238E27FC236}">
                    <a16:creationId xmlns:a16="http://schemas.microsoft.com/office/drawing/2014/main" id="{EE87BE26-7977-4AFC-A52D-84F8B901E5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4" y="1685"/>
                <a:ext cx="12" cy="4"/>
              </a:xfrm>
              <a:custGeom>
                <a:avLst/>
                <a:gdLst>
                  <a:gd name="T0" fmla="*/ 1 w 5"/>
                  <a:gd name="T1" fmla="*/ 1 h 2"/>
                  <a:gd name="T2" fmla="*/ 2 w 5"/>
                  <a:gd name="T3" fmla="*/ 2 h 2"/>
                  <a:gd name="T4" fmla="*/ 3 w 5"/>
                  <a:gd name="T5" fmla="*/ 2 h 2"/>
                  <a:gd name="T6" fmla="*/ 4 w 5"/>
                  <a:gd name="T7" fmla="*/ 1 h 2"/>
                  <a:gd name="T8" fmla="*/ 5 w 5"/>
                  <a:gd name="T9" fmla="*/ 1 h 2"/>
                  <a:gd name="T10" fmla="*/ 5 w 5"/>
                  <a:gd name="T11" fmla="*/ 1 h 2"/>
                  <a:gd name="T12" fmla="*/ 4 w 5"/>
                  <a:gd name="T13" fmla="*/ 0 h 2"/>
                  <a:gd name="T14" fmla="*/ 2 w 5"/>
                  <a:gd name="T15" fmla="*/ 0 h 2"/>
                  <a:gd name="T16" fmla="*/ 1 w 5"/>
                  <a:gd name="T17" fmla="*/ 0 h 2"/>
                  <a:gd name="T18" fmla="*/ 1 w 5"/>
                  <a:gd name="T19" fmla="*/ 1 h 2"/>
                  <a:gd name="T20" fmla="*/ 0 w 5"/>
                  <a:gd name="T21" fmla="*/ 1 h 2"/>
                  <a:gd name="T22" fmla="*/ 1 w 5"/>
                  <a:gd name="T23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2">
                    <a:moveTo>
                      <a:pt x="1" y="1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4" y="2"/>
                      <a:pt x="4" y="1"/>
                      <a:pt x="4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18" name="Freeform 53">
                <a:extLst>
                  <a:ext uri="{FF2B5EF4-FFF2-40B4-BE49-F238E27FC236}">
                    <a16:creationId xmlns:a16="http://schemas.microsoft.com/office/drawing/2014/main" id="{DB6607A2-E5DA-42CE-9C72-B74F2A575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1670"/>
                <a:ext cx="22" cy="10"/>
              </a:xfrm>
              <a:custGeom>
                <a:avLst/>
                <a:gdLst>
                  <a:gd name="T0" fmla="*/ 3 w 9"/>
                  <a:gd name="T1" fmla="*/ 2 h 4"/>
                  <a:gd name="T2" fmla="*/ 2 w 9"/>
                  <a:gd name="T3" fmla="*/ 2 h 4"/>
                  <a:gd name="T4" fmla="*/ 1 w 9"/>
                  <a:gd name="T5" fmla="*/ 3 h 4"/>
                  <a:gd name="T6" fmla="*/ 0 w 9"/>
                  <a:gd name="T7" fmla="*/ 3 h 4"/>
                  <a:gd name="T8" fmla="*/ 1 w 9"/>
                  <a:gd name="T9" fmla="*/ 4 h 4"/>
                  <a:gd name="T10" fmla="*/ 4 w 9"/>
                  <a:gd name="T11" fmla="*/ 4 h 4"/>
                  <a:gd name="T12" fmla="*/ 5 w 9"/>
                  <a:gd name="T13" fmla="*/ 4 h 4"/>
                  <a:gd name="T14" fmla="*/ 8 w 9"/>
                  <a:gd name="T15" fmla="*/ 3 h 4"/>
                  <a:gd name="T16" fmla="*/ 8 w 9"/>
                  <a:gd name="T17" fmla="*/ 3 h 4"/>
                  <a:gd name="T18" fmla="*/ 9 w 9"/>
                  <a:gd name="T19" fmla="*/ 2 h 4"/>
                  <a:gd name="T20" fmla="*/ 8 w 9"/>
                  <a:gd name="T21" fmla="*/ 2 h 4"/>
                  <a:gd name="T22" fmla="*/ 8 w 9"/>
                  <a:gd name="T23" fmla="*/ 1 h 4"/>
                  <a:gd name="T24" fmla="*/ 8 w 9"/>
                  <a:gd name="T25" fmla="*/ 1 h 4"/>
                  <a:gd name="T26" fmla="*/ 7 w 9"/>
                  <a:gd name="T27" fmla="*/ 0 h 4"/>
                  <a:gd name="T28" fmla="*/ 5 w 9"/>
                  <a:gd name="T29" fmla="*/ 1 h 4"/>
                  <a:gd name="T30" fmla="*/ 4 w 9"/>
                  <a:gd name="T31" fmla="*/ 1 h 4"/>
                  <a:gd name="T32" fmla="*/ 4 w 9"/>
                  <a:gd name="T33" fmla="*/ 1 h 4"/>
                  <a:gd name="T34" fmla="*/ 3 w 9"/>
                  <a:gd name="T3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" h="4">
                    <a:moveTo>
                      <a:pt x="3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1" y="2"/>
                      <a:pt x="1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1" y="4"/>
                      <a:pt x="3" y="4"/>
                      <a:pt x="4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7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9" y="2"/>
                      <a:pt x="9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7" y="1"/>
                      <a:pt x="7" y="0"/>
                      <a:pt x="7" y="0"/>
                    </a:cubicBezTo>
                    <a:cubicBezTo>
                      <a:pt x="6" y="0"/>
                      <a:pt x="6" y="0"/>
                      <a:pt x="5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4" y="2"/>
                      <a:pt x="3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19" name="Freeform 54">
                <a:extLst>
                  <a:ext uri="{FF2B5EF4-FFF2-40B4-BE49-F238E27FC236}">
                    <a16:creationId xmlns:a16="http://schemas.microsoft.com/office/drawing/2014/main" id="{C3913E01-60DA-4679-BC6E-2A496E6A0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8" y="1678"/>
                <a:ext cx="21" cy="7"/>
              </a:xfrm>
              <a:custGeom>
                <a:avLst/>
                <a:gdLst>
                  <a:gd name="T0" fmla="*/ 1 w 9"/>
                  <a:gd name="T1" fmla="*/ 3 h 3"/>
                  <a:gd name="T2" fmla="*/ 2 w 9"/>
                  <a:gd name="T3" fmla="*/ 3 h 3"/>
                  <a:gd name="T4" fmla="*/ 2 w 9"/>
                  <a:gd name="T5" fmla="*/ 3 h 3"/>
                  <a:gd name="T6" fmla="*/ 4 w 9"/>
                  <a:gd name="T7" fmla="*/ 3 h 3"/>
                  <a:gd name="T8" fmla="*/ 6 w 9"/>
                  <a:gd name="T9" fmla="*/ 3 h 3"/>
                  <a:gd name="T10" fmla="*/ 7 w 9"/>
                  <a:gd name="T11" fmla="*/ 2 h 3"/>
                  <a:gd name="T12" fmla="*/ 9 w 9"/>
                  <a:gd name="T13" fmla="*/ 1 h 3"/>
                  <a:gd name="T14" fmla="*/ 9 w 9"/>
                  <a:gd name="T15" fmla="*/ 1 h 3"/>
                  <a:gd name="T16" fmla="*/ 8 w 9"/>
                  <a:gd name="T17" fmla="*/ 0 h 3"/>
                  <a:gd name="T18" fmla="*/ 6 w 9"/>
                  <a:gd name="T19" fmla="*/ 0 h 3"/>
                  <a:gd name="T20" fmla="*/ 4 w 9"/>
                  <a:gd name="T21" fmla="*/ 0 h 3"/>
                  <a:gd name="T22" fmla="*/ 2 w 9"/>
                  <a:gd name="T23" fmla="*/ 0 h 3"/>
                  <a:gd name="T24" fmla="*/ 1 w 9"/>
                  <a:gd name="T25" fmla="*/ 1 h 3"/>
                  <a:gd name="T26" fmla="*/ 0 w 9"/>
                  <a:gd name="T27" fmla="*/ 2 h 3"/>
                  <a:gd name="T28" fmla="*/ 1 w 9"/>
                  <a:gd name="T2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3">
                    <a:moveTo>
                      <a:pt x="1" y="3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3" y="3"/>
                      <a:pt x="4" y="3"/>
                    </a:cubicBezTo>
                    <a:cubicBezTo>
                      <a:pt x="5" y="3"/>
                      <a:pt x="5" y="3"/>
                      <a:pt x="6" y="3"/>
                    </a:cubicBezTo>
                    <a:cubicBezTo>
                      <a:pt x="6" y="3"/>
                      <a:pt x="7" y="2"/>
                      <a:pt x="7" y="2"/>
                    </a:cubicBezTo>
                    <a:cubicBezTo>
                      <a:pt x="8" y="2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6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1"/>
                      <a:pt x="1" y="1"/>
                    </a:cubicBezTo>
                    <a:cubicBezTo>
                      <a:pt x="1" y="1"/>
                      <a:pt x="0" y="1"/>
                      <a:pt x="0" y="2"/>
                    </a:cubicBezTo>
                    <a:cubicBezTo>
                      <a:pt x="0" y="2"/>
                      <a:pt x="1" y="2"/>
                      <a:pt x="1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20" name="Freeform 55">
                <a:extLst>
                  <a:ext uri="{FF2B5EF4-FFF2-40B4-BE49-F238E27FC236}">
                    <a16:creationId xmlns:a16="http://schemas.microsoft.com/office/drawing/2014/main" id="{6CFFFE6F-0D6B-4DCB-BE51-B709DEC6D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9" y="1663"/>
                <a:ext cx="12" cy="3"/>
              </a:xfrm>
              <a:custGeom>
                <a:avLst/>
                <a:gdLst>
                  <a:gd name="T0" fmla="*/ 1 w 5"/>
                  <a:gd name="T1" fmla="*/ 1 h 1"/>
                  <a:gd name="T2" fmla="*/ 4 w 5"/>
                  <a:gd name="T3" fmla="*/ 1 h 1"/>
                  <a:gd name="T4" fmla="*/ 5 w 5"/>
                  <a:gd name="T5" fmla="*/ 0 h 1"/>
                  <a:gd name="T6" fmla="*/ 3 w 5"/>
                  <a:gd name="T7" fmla="*/ 0 h 1"/>
                  <a:gd name="T8" fmla="*/ 1 w 5"/>
                  <a:gd name="T9" fmla="*/ 0 h 1"/>
                  <a:gd name="T10" fmla="*/ 1 w 5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1">
                    <a:moveTo>
                      <a:pt x="1" y="1"/>
                    </a:moveTo>
                    <a:cubicBezTo>
                      <a:pt x="2" y="1"/>
                      <a:pt x="3" y="1"/>
                      <a:pt x="4" y="1"/>
                    </a:cubicBezTo>
                    <a:cubicBezTo>
                      <a:pt x="5" y="1"/>
                      <a:pt x="5" y="1"/>
                      <a:pt x="5" y="0"/>
                    </a:cubicBezTo>
                    <a:cubicBezTo>
                      <a:pt x="5" y="0"/>
                      <a:pt x="5" y="0"/>
                      <a:pt x="3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21" name="Freeform 56">
                <a:extLst>
                  <a:ext uri="{FF2B5EF4-FFF2-40B4-BE49-F238E27FC236}">
                    <a16:creationId xmlns:a16="http://schemas.microsoft.com/office/drawing/2014/main" id="{EDC3101D-A61D-4869-A078-254093E127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6" y="1661"/>
                <a:ext cx="15" cy="5"/>
              </a:xfrm>
              <a:custGeom>
                <a:avLst/>
                <a:gdLst>
                  <a:gd name="T0" fmla="*/ 1 w 6"/>
                  <a:gd name="T1" fmla="*/ 1 h 2"/>
                  <a:gd name="T2" fmla="*/ 0 w 6"/>
                  <a:gd name="T3" fmla="*/ 1 h 2"/>
                  <a:gd name="T4" fmla="*/ 2 w 6"/>
                  <a:gd name="T5" fmla="*/ 1 h 2"/>
                  <a:gd name="T6" fmla="*/ 5 w 6"/>
                  <a:gd name="T7" fmla="*/ 1 h 2"/>
                  <a:gd name="T8" fmla="*/ 5 w 6"/>
                  <a:gd name="T9" fmla="*/ 0 h 2"/>
                  <a:gd name="T10" fmla="*/ 4 w 6"/>
                  <a:gd name="T11" fmla="*/ 0 h 2"/>
                  <a:gd name="T12" fmla="*/ 2 w 6"/>
                  <a:gd name="T13" fmla="*/ 0 h 2"/>
                  <a:gd name="T14" fmla="*/ 1 w 6"/>
                  <a:gd name="T15" fmla="*/ 0 h 2"/>
                  <a:gd name="T16" fmla="*/ 0 w 6"/>
                  <a:gd name="T17" fmla="*/ 1 h 2"/>
                  <a:gd name="T18" fmla="*/ 1 w 6"/>
                  <a:gd name="T19" fmla="*/ 1 h 2"/>
                  <a:gd name="T20" fmla="*/ 1 w 6"/>
                  <a:gd name="T2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2">
                    <a:moveTo>
                      <a:pt x="1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2" y="1"/>
                      <a:pt x="2" y="1"/>
                    </a:cubicBezTo>
                    <a:cubicBezTo>
                      <a:pt x="3" y="1"/>
                      <a:pt x="4" y="1"/>
                      <a:pt x="5" y="1"/>
                    </a:cubicBezTo>
                    <a:cubicBezTo>
                      <a:pt x="5" y="1"/>
                      <a:pt x="6" y="1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22" name="Freeform 57">
                <a:extLst>
                  <a:ext uri="{FF2B5EF4-FFF2-40B4-BE49-F238E27FC236}">
                    <a16:creationId xmlns:a16="http://schemas.microsoft.com/office/drawing/2014/main" id="{94CAFA95-334A-48DA-8CA2-8D22F65A34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3" y="1689"/>
                <a:ext cx="10" cy="3"/>
              </a:xfrm>
              <a:custGeom>
                <a:avLst/>
                <a:gdLst>
                  <a:gd name="T0" fmla="*/ 2 w 4"/>
                  <a:gd name="T1" fmla="*/ 1 h 1"/>
                  <a:gd name="T2" fmla="*/ 3 w 4"/>
                  <a:gd name="T3" fmla="*/ 1 h 1"/>
                  <a:gd name="T4" fmla="*/ 4 w 4"/>
                  <a:gd name="T5" fmla="*/ 0 h 1"/>
                  <a:gd name="T6" fmla="*/ 3 w 4"/>
                  <a:gd name="T7" fmla="*/ 0 h 1"/>
                  <a:gd name="T8" fmla="*/ 3 w 4"/>
                  <a:gd name="T9" fmla="*/ 0 h 1"/>
                  <a:gd name="T10" fmla="*/ 2 w 4"/>
                  <a:gd name="T11" fmla="*/ 0 h 1"/>
                  <a:gd name="T12" fmla="*/ 1 w 4"/>
                  <a:gd name="T13" fmla="*/ 0 h 1"/>
                  <a:gd name="T14" fmla="*/ 2 w 4"/>
                  <a:gd name="T1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1">
                    <a:moveTo>
                      <a:pt x="2" y="1"/>
                    </a:moveTo>
                    <a:cubicBezTo>
                      <a:pt x="2" y="1"/>
                      <a:pt x="3" y="1"/>
                      <a:pt x="3" y="1"/>
                    </a:cubicBezTo>
                    <a:cubicBezTo>
                      <a:pt x="4" y="1"/>
                      <a:pt x="4" y="1"/>
                      <a:pt x="4" y="0"/>
                    </a:cubicBezTo>
                    <a:cubicBezTo>
                      <a:pt x="4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1" y="1"/>
                      <a:pt x="2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23" name="Freeform 58">
                <a:extLst>
                  <a:ext uri="{FF2B5EF4-FFF2-40B4-BE49-F238E27FC236}">
                    <a16:creationId xmlns:a16="http://schemas.microsoft.com/office/drawing/2014/main" id="{8A86A9EB-7914-40DB-834B-3CADC977C1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9" y="1678"/>
                <a:ext cx="9" cy="2"/>
              </a:xfrm>
              <a:custGeom>
                <a:avLst/>
                <a:gdLst>
                  <a:gd name="T0" fmla="*/ 2 w 4"/>
                  <a:gd name="T1" fmla="*/ 0 h 1"/>
                  <a:gd name="T2" fmla="*/ 1 w 4"/>
                  <a:gd name="T3" fmla="*/ 0 h 1"/>
                  <a:gd name="T4" fmla="*/ 0 w 4"/>
                  <a:gd name="T5" fmla="*/ 0 h 1"/>
                  <a:gd name="T6" fmla="*/ 2 w 4"/>
                  <a:gd name="T7" fmla="*/ 1 h 1"/>
                  <a:gd name="T8" fmla="*/ 3 w 4"/>
                  <a:gd name="T9" fmla="*/ 0 h 1"/>
                  <a:gd name="T10" fmla="*/ 3 w 4"/>
                  <a:gd name="T11" fmla="*/ 0 h 1"/>
                  <a:gd name="T12" fmla="*/ 2 w 4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">
                    <a:moveTo>
                      <a:pt x="2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2" y="1"/>
                    </a:cubicBezTo>
                    <a:cubicBezTo>
                      <a:pt x="2" y="1"/>
                      <a:pt x="3" y="1"/>
                      <a:pt x="3" y="0"/>
                    </a:cubicBezTo>
                    <a:cubicBezTo>
                      <a:pt x="3" y="0"/>
                      <a:pt x="4" y="0"/>
                      <a:pt x="3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24" name="Freeform 59">
                <a:extLst>
                  <a:ext uri="{FF2B5EF4-FFF2-40B4-BE49-F238E27FC236}">
                    <a16:creationId xmlns:a16="http://schemas.microsoft.com/office/drawing/2014/main" id="{D52A8F80-BAFA-45A6-9A55-1767BF1FB3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5" y="1673"/>
                <a:ext cx="10" cy="5"/>
              </a:xfrm>
              <a:custGeom>
                <a:avLst/>
                <a:gdLst>
                  <a:gd name="T0" fmla="*/ 1 w 4"/>
                  <a:gd name="T1" fmla="*/ 1 h 2"/>
                  <a:gd name="T2" fmla="*/ 2 w 4"/>
                  <a:gd name="T3" fmla="*/ 2 h 2"/>
                  <a:gd name="T4" fmla="*/ 3 w 4"/>
                  <a:gd name="T5" fmla="*/ 1 h 2"/>
                  <a:gd name="T6" fmla="*/ 4 w 4"/>
                  <a:gd name="T7" fmla="*/ 0 h 2"/>
                  <a:gd name="T8" fmla="*/ 3 w 4"/>
                  <a:gd name="T9" fmla="*/ 0 h 2"/>
                  <a:gd name="T10" fmla="*/ 3 w 4"/>
                  <a:gd name="T11" fmla="*/ 0 h 2"/>
                  <a:gd name="T12" fmla="*/ 1 w 4"/>
                  <a:gd name="T13" fmla="*/ 0 h 2"/>
                  <a:gd name="T14" fmla="*/ 1 w 4"/>
                  <a:gd name="T15" fmla="*/ 1 h 2"/>
                  <a:gd name="T16" fmla="*/ 1 w 4"/>
                  <a:gd name="T1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2">
                    <a:moveTo>
                      <a:pt x="1" y="1"/>
                    </a:moveTo>
                    <a:cubicBezTo>
                      <a:pt x="1" y="1"/>
                      <a:pt x="1" y="2"/>
                      <a:pt x="2" y="2"/>
                    </a:cubicBezTo>
                    <a:cubicBezTo>
                      <a:pt x="2" y="2"/>
                      <a:pt x="3" y="1"/>
                      <a:pt x="3" y="1"/>
                    </a:cubicBezTo>
                    <a:cubicBezTo>
                      <a:pt x="4" y="1"/>
                      <a:pt x="4" y="1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25" name="Freeform 60">
                <a:extLst>
                  <a:ext uri="{FF2B5EF4-FFF2-40B4-BE49-F238E27FC236}">
                    <a16:creationId xmlns:a16="http://schemas.microsoft.com/office/drawing/2014/main" id="{4F744428-3BE4-4BBE-BB73-ED23402C6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1685"/>
                <a:ext cx="10" cy="4"/>
              </a:xfrm>
              <a:custGeom>
                <a:avLst/>
                <a:gdLst>
                  <a:gd name="T0" fmla="*/ 3 w 4"/>
                  <a:gd name="T1" fmla="*/ 0 h 2"/>
                  <a:gd name="T2" fmla="*/ 1 w 4"/>
                  <a:gd name="T3" fmla="*/ 0 h 2"/>
                  <a:gd name="T4" fmla="*/ 1 w 4"/>
                  <a:gd name="T5" fmla="*/ 0 h 2"/>
                  <a:gd name="T6" fmla="*/ 1 w 4"/>
                  <a:gd name="T7" fmla="*/ 0 h 2"/>
                  <a:gd name="T8" fmla="*/ 0 w 4"/>
                  <a:gd name="T9" fmla="*/ 1 h 2"/>
                  <a:gd name="T10" fmla="*/ 0 w 4"/>
                  <a:gd name="T11" fmla="*/ 2 h 2"/>
                  <a:gd name="T12" fmla="*/ 1 w 4"/>
                  <a:gd name="T13" fmla="*/ 2 h 2"/>
                  <a:gd name="T14" fmla="*/ 3 w 4"/>
                  <a:gd name="T15" fmla="*/ 2 h 2"/>
                  <a:gd name="T16" fmla="*/ 4 w 4"/>
                  <a:gd name="T17" fmla="*/ 2 h 2"/>
                  <a:gd name="T18" fmla="*/ 4 w 4"/>
                  <a:gd name="T19" fmla="*/ 1 h 2"/>
                  <a:gd name="T20" fmla="*/ 3 w 4"/>
                  <a:gd name="T21" fmla="*/ 0 h 2"/>
                  <a:gd name="T22" fmla="*/ 3 w 4"/>
                  <a:gd name="T2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" h="2">
                    <a:moveTo>
                      <a:pt x="3" y="0"/>
                    </a:moveTo>
                    <a:cubicBezTo>
                      <a:pt x="2" y="1"/>
                      <a:pt x="2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2"/>
                      <a:pt x="2" y="2"/>
                      <a:pt x="3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1"/>
                      <a:pt x="4" y="1"/>
                    </a:cubicBezTo>
                    <a:cubicBezTo>
                      <a:pt x="4" y="1"/>
                      <a:pt x="4" y="1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26" name="Freeform 61">
                <a:extLst>
                  <a:ext uri="{FF2B5EF4-FFF2-40B4-BE49-F238E27FC236}">
                    <a16:creationId xmlns:a16="http://schemas.microsoft.com/office/drawing/2014/main" id="{75A17322-B6EB-4759-B823-D6D5A1432A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2" y="1682"/>
                <a:ext cx="16" cy="7"/>
              </a:xfrm>
              <a:custGeom>
                <a:avLst/>
                <a:gdLst>
                  <a:gd name="T0" fmla="*/ 5 w 7"/>
                  <a:gd name="T1" fmla="*/ 2 h 3"/>
                  <a:gd name="T2" fmla="*/ 6 w 7"/>
                  <a:gd name="T3" fmla="*/ 1 h 3"/>
                  <a:gd name="T4" fmla="*/ 5 w 7"/>
                  <a:gd name="T5" fmla="*/ 1 h 3"/>
                  <a:gd name="T6" fmla="*/ 2 w 7"/>
                  <a:gd name="T7" fmla="*/ 0 h 3"/>
                  <a:gd name="T8" fmla="*/ 1 w 7"/>
                  <a:gd name="T9" fmla="*/ 1 h 3"/>
                  <a:gd name="T10" fmla="*/ 0 w 7"/>
                  <a:gd name="T11" fmla="*/ 1 h 3"/>
                  <a:gd name="T12" fmla="*/ 0 w 7"/>
                  <a:gd name="T13" fmla="*/ 1 h 3"/>
                  <a:gd name="T14" fmla="*/ 0 w 7"/>
                  <a:gd name="T15" fmla="*/ 2 h 3"/>
                  <a:gd name="T16" fmla="*/ 1 w 7"/>
                  <a:gd name="T17" fmla="*/ 2 h 3"/>
                  <a:gd name="T18" fmla="*/ 1 w 7"/>
                  <a:gd name="T19" fmla="*/ 3 h 3"/>
                  <a:gd name="T20" fmla="*/ 2 w 7"/>
                  <a:gd name="T21" fmla="*/ 3 h 3"/>
                  <a:gd name="T22" fmla="*/ 3 w 7"/>
                  <a:gd name="T23" fmla="*/ 3 h 3"/>
                  <a:gd name="T24" fmla="*/ 3 w 7"/>
                  <a:gd name="T25" fmla="*/ 3 h 3"/>
                  <a:gd name="T26" fmla="*/ 3 w 7"/>
                  <a:gd name="T27" fmla="*/ 3 h 3"/>
                  <a:gd name="T28" fmla="*/ 4 w 7"/>
                  <a:gd name="T29" fmla="*/ 2 h 3"/>
                  <a:gd name="T30" fmla="*/ 3 w 7"/>
                  <a:gd name="T31" fmla="*/ 2 h 3"/>
                  <a:gd name="T32" fmla="*/ 4 w 7"/>
                  <a:gd name="T33" fmla="*/ 2 h 3"/>
                  <a:gd name="T34" fmla="*/ 5 w 7"/>
                  <a:gd name="T3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" h="3">
                    <a:moveTo>
                      <a:pt x="5" y="2"/>
                    </a:moveTo>
                    <a:cubicBezTo>
                      <a:pt x="6" y="2"/>
                      <a:pt x="7" y="1"/>
                      <a:pt x="6" y="1"/>
                    </a:cubicBezTo>
                    <a:cubicBezTo>
                      <a:pt x="6" y="1"/>
                      <a:pt x="5" y="1"/>
                      <a:pt x="5" y="1"/>
                    </a:cubicBezTo>
                    <a:cubicBezTo>
                      <a:pt x="4" y="1"/>
                      <a:pt x="3" y="0"/>
                      <a:pt x="2" y="0"/>
                    </a:cubicBezTo>
                    <a:cubicBezTo>
                      <a:pt x="2" y="0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2" y="3"/>
                    </a:cubicBezTo>
                    <a:cubicBezTo>
                      <a:pt x="2" y="3"/>
                      <a:pt x="2" y="3"/>
                      <a:pt x="3" y="3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2" y="3"/>
                      <a:pt x="3" y="3"/>
                      <a:pt x="3" y="3"/>
                    </a:cubicBezTo>
                    <a:cubicBezTo>
                      <a:pt x="4" y="3"/>
                      <a:pt x="4" y="3"/>
                      <a:pt x="4" y="2"/>
                    </a:cubicBezTo>
                    <a:cubicBezTo>
                      <a:pt x="4" y="2"/>
                      <a:pt x="4" y="2"/>
                      <a:pt x="3" y="2"/>
                    </a:cubicBezTo>
                    <a:cubicBezTo>
                      <a:pt x="3" y="2"/>
                      <a:pt x="3" y="2"/>
                      <a:pt x="4" y="2"/>
                    </a:cubicBezTo>
                    <a:cubicBezTo>
                      <a:pt x="4" y="2"/>
                      <a:pt x="5" y="2"/>
                      <a:pt x="5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27" name="Freeform 62">
                <a:extLst>
                  <a:ext uri="{FF2B5EF4-FFF2-40B4-BE49-F238E27FC236}">
                    <a16:creationId xmlns:a16="http://schemas.microsoft.com/office/drawing/2014/main" id="{2154B3F7-4B7B-46C4-A043-FD0DB3ADD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1" y="1668"/>
                <a:ext cx="7" cy="2"/>
              </a:xfrm>
              <a:custGeom>
                <a:avLst/>
                <a:gdLst>
                  <a:gd name="T0" fmla="*/ 3 w 3"/>
                  <a:gd name="T1" fmla="*/ 1 h 1"/>
                  <a:gd name="T2" fmla="*/ 3 w 3"/>
                  <a:gd name="T3" fmla="*/ 0 h 1"/>
                  <a:gd name="T4" fmla="*/ 1 w 3"/>
                  <a:gd name="T5" fmla="*/ 0 h 1"/>
                  <a:gd name="T6" fmla="*/ 0 w 3"/>
                  <a:gd name="T7" fmla="*/ 1 h 1"/>
                  <a:gd name="T8" fmla="*/ 1 w 3"/>
                  <a:gd name="T9" fmla="*/ 1 h 1"/>
                  <a:gd name="T10" fmla="*/ 2 w 3"/>
                  <a:gd name="T11" fmla="*/ 1 h 1"/>
                  <a:gd name="T12" fmla="*/ 3 w 3"/>
                  <a:gd name="T13" fmla="*/ 1 h 1"/>
                  <a:gd name="T14" fmla="*/ 3 w 3"/>
                  <a:gd name="T1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cubicBezTo>
                      <a:pt x="3" y="1"/>
                      <a:pt x="3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28" name="Freeform 63">
                <a:extLst>
                  <a:ext uri="{FF2B5EF4-FFF2-40B4-BE49-F238E27FC236}">
                    <a16:creationId xmlns:a16="http://schemas.microsoft.com/office/drawing/2014/main" id="{199B3416-924C-40BD-A19E-37FDC60C5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9" y="1666"/>
                <a:ext cx="12" cy="2"/>
              </a:xfrm>
              <a:custGeom>
                <a:avLst/>
                <a:gdLst>
                  <a:gd name="T0" fmla="*/ 1 w 5"/>
                  <a:gd name="T1" fmla="*/ 1 h 1"/>
                  <a:gd name="T2" fmla="*/ 2 w 5"/>
                  <a:gd name="T3" fmla="*/ 1 h 1"/>
                  <a:gd name="T4" fmla="*/ 3 w 5"/>
                  <a:gd name="T5" fmla="*/ 1 h 1"/>
                  <a:gd name="T6" fmla="*/ 5 w 5"/>
                  <a:gd name="T7" fmla="*/ 1 h 1"/>
                  <a:gd name="T8" fmla="*/ 4 w 5"/>
                  <a:gd name="T9" fmla="*/ 1 h 1"/>
                  <a:gd name="T10" fmla="*/ 3 w 5"/>
                  <a:gd name="T11" fmla="*/ 1 h 1"/>
                  <a:gd name="T12" fmla="*/ 2 w 5"/>
                  <a:gd name="T13" fmla="*/ 0 h 1"/>
                  <a:gd name="T14" fmla="*/ 1 w 5"/>
                  <a:gd name="T15" fmla="*/ 1 h 1"/>
                  <a:gd name="T16" fmla="*/ 0 w 5"/>
                  <a:gd name="T17" fmla="*/ 1 h 1"/>
                  <a:gd name="T18" fmla="*/ 1 w 5"/>
                  <a:gd name="T1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1">
                    <a:moveTo>
                      <a:pt x="1" y="1"/>
                    </a:moveTo>
                    <a:cubicBezTo>
                      <a:pt x="1" y="1"/>
                      <a:pt x="1" y="1"/>
                      <a:pt x="2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4" y="1"/>
                      <a:pt x="4" y="1"/>
                      <a:pt x="5" y="1"/>
                    </a:cubicBezTo>
                    <a:cubicBezTo>
                      <a:pt x="5" y="1"/>
                      <a:pt x="5" y="1"/>
                      <a:pt x="4" y="1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3" y="1"/>
                      <a:pt x="2" y="0"/>
                      <a:pt x="2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29" name="Freeform 64">
                <a:extLst>
                  <a:ext uri="{FF2B5EF4-FFF2-40B4-BE49-F238E27FC236}">
                    <a16:creationId xmlns:a16="http://schemas.microsoft.com/office/drawing/2014/main" id="{6C556EF4-34FF-40EA-9939-E529EEB96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6" y="1673"/>
                <a:ext cx="7" cy="2"/>
              </a:xfrm>
              <a:custGeom>
                <a:avLst/>
                <a:gdLst>
                  <a:gd name="T0" fmla="*/ 1 w 3"/>
                  <a:gd name="T1" fmla="*/ 1 h 1"/>
                  <a:gd name="T2" fmla="*/ 1 w 3"/>
                  <a:gd name="T3" fmla="*/ 1 h 1"/>
                  <a:gd name="T4" fmla="*/ 2 w 3"/>
                  <a:gd name="T5" fmla="*/ 1 h 1"/>
                  <a:gd name="T6" fmla="*/ 3 w 3"/>
                  <a:gd name="T7" fmla="*/ 1 h 1"/>
                  <a:gd name="T8" fmla="*/ 3 w 3"/>
                  <a:gd name="T9" fmla="*/ 1 h 1"/>
                  <a:gd name="T10" fmla="*/ 2 w 3"/>
                  <a:gd name="T11" fmla="*/ 0 h 1"/>
                  <a:gd name="T12" fmla="*/ 1 w 3"/>
                  <a:gd name="T13" fmla="*/ 0 h 1"/>
                  <a:gd name="T14" fmla="*/ 0 w 3"/>
                  <a:gd name="T15" fmla="*/ 1 h 1"/>
                  <a:gd name="T16" fmla="*/ 1 w 3"/>
                  <a:gd name="T1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1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30" name="Freeform 65">
                <a:extLst>
                  <a:ext uri="{FF2B5EF4-FFF2-40B4-BE49-F238E27FC236}">
                    <a16:creationId xmlns:a16="http://schemas.microsoft.com/office/drawing/2014/main" id="{39975B25-AAC7-4706-B692-B012A5684D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9" y="1670"/>
                <a:ext cx="12" cy="3"/>
              </a:xfrm>
              <a:custGeom>
                <a:avLst/>
                <a:gdLst>
                  <a:gd name="T0" fmla="*/ 3 w 5"/>
                  <a:gd name="T1" fmla="*/ 0 h 1"/>
                  <a:gd name="T2" fmla="*/ 1 w 5"/>
                  <a:gd name="T3" fmla="*/ 1 h 1"/>
                  <a:gd name="T4" fmla="*/ 2 w 5"/>
                  <a:gd name="T5" fmla="*/ 1 h 1"/>
                  <a:gd name="T6" fmla="*/ 2 w 5"/>
                  <a:gd name="T7" fmla="*/ 1 h 1"/>
                  <a:gd name="T8" fmla="*/ 3 w 5"/>
                  <a:gd name="T9" fmla="*/ 1 h 1"/>
                  <a:gd name="T10" fmla="*/ 4 w 5"/>
                  <a:gd name="T11" fmla="*/ 1 h 1"/>
                  <a:gd name="T12" fmla="*/ 3 w 5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1">
                    <a:moveTo>
                      <a:pt x="3" y="0"/>
                    </a:moveTo>
                    <a:cubicBezTo>
                      <a:pt x="2" y="0"/>
                      <a:pt x="3" y="0"/>
                      <a:pt x="1" y="1"/>
                    </a:cubicBezTo>
                    <a:cubicBezTo>
                      <a:pt x="0" y="1"/>
                      <a:pt x="1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31" name="Freeform 66">
                <a:extLst>
                  <a:ext uri="{FF2B5EF4-FFF2-40B4-BE49-F238E27FC236}">
                    <a16:creationId xmlns:a16="http://schemas.microsoft.com/office/drawing/2014/main" id="{0DCD924E-309A-4A68-BB0D-29E1448CC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4" y="1675"/>
                <a:ext cx="15" cy="3"/>
              </a:xfrm>
              <a:custGeom>
                <a:avLst/>
                <a:gdLst>
                  <a:gd name="T0" fmla="*/ 2 w 6"/>
                  <a:gd name="T1" fmla="*/ 0 h 1"/>
                  <a:gd name="T2" fmla="*/ 3 w 6"/>
                  <a:gd name="T3" fmla="*/ 1 h 1"/>
                  <a:gd name="T4" fmla="*/ 4 w 6"/>
                  <a:gd name="T5" fmla="*/ 1 h 1"/>
                  <a:gd name="T6" fmla="*/ 5 w 6"/>
                  <a:gd name="T7" fmla="*/ 1 h 1"/>
                  <a:gd name="T8" fmla="*/ 5 w 6"/>
                  <a:gd name="T9" fmla="*/ 0 h 1"/>
                  <a:gd name="T10" fmla="*/ 5 w 6"/>
                  <a:gd name="T11" fmla="*/ 0 h 1"/>
                  <a:gd name="T12" fmla="*/ 3 w 6"/>
                  <a:gd name="T13" fmla="*/ 0 h 1"/>
                  <a:gd name="T14" fmla="*/ 3 w 6"/>
                  <a:gd name="T15" fmla="*/ 0 h 1"/>
                  <a:gd name="T16" fmla="*/ 0 w 6"/>
                  <a:gd name="T17" fmla="*/ 0 h 1"/>
                  <a:gd name="T18" fmla="*/ 0 w 6"/>
                  <a:gd name="T19" fmla="*/ 0 h 1"/>
                  <a:gd name="T20" fmla="*/ 0 w 6"/>
                  <a:gd name="T21" fmla="*/ 0 h 1"/>
                  <a:gd name="T22" fmla="*/ 2 w 6"/>
                  <a:gd name="T2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1">
                    <a:moveTo>
                      <a:pt x="2" y="0"/>
                    </a:moveTo>
                    <a:cubicBezTo>
                      <a:pt x="2" y="0"/>
                      <a:pt x="3" y="1"/>
                      <a:pt x="3" y="1"/>
                    </a:cubicBezTo>
                    <a:cubicBezTo>
                      <a:pt x="3" y="1"/>
                      <a:pt x="4" y="1"/>
                      <a:pt x="4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32" name="Freeform 67">
                <a:extLst>
                  <a:ext uri="{FF2B5EF4-FFF2-40B4-BE49-F238E27FC236}">
                    <a16:creationId xmlns:a16="http://schemas.microsoft.com/office/drawing/2014/main" id="{1C84A462-76A4-4A88-B4A5-9CC953B75B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7" y="1680"/>
                <a:ext cx="12" cy="2"/>
              </a:xfrm>
              <a:custGeom>
                <a:avLst/>
                <a:gdLst>
                  <a:gd name="T0" fmla="*/ 4 w 5"/>
                  <a:gd name="T1" fmla="*/ 1 h 1"/>
                  <a:gd name="T2" fmla="*/ 5 w 5"/>
                  <a:gd name="T3" fmla="*/ 1 h 1"/>
                  <a:gd name="T4" fmla="*/ 5 w 5"/>
                  <a:gd name="T5" fmla="*/ 0 h 1"/>
                  <a:gd name="T6" fmla="*/ 3 w 5"/>
                  <a:gd name="T7" fmla="*/ 0 h 1"/>
                  <a:gd name="T8" fmla="*/ 2 w 5"/>
                  <a:gd name="T9" fmla="*/ 0 h 1"/>
                  <a:gd name="T10" fmla="*/ 1 w 5"/>
                  <a:gd name="T11" fmla="*/ 0 h 1"/>
                  <a:gd name="T12" fmla="*/ 1 w 5"/>
                  <a:gd name="T13" fmla="*/ 0 h 1"/>
                  <a:gd name="T14" fmla="*/ 0 w 5"/>
                  <a:gd name="T15" fmla="*/ 1 h 1"/>
                  <a:gd name="T16" fmla="*/ 1 w 5"/>
                  <a:gd name="T17" fmla="*/ 1 h 1"/>
                  <a:gd name="T18" fmla="*/ 4 w 5"/>
                  <a:gd name="T1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1">
                    <a:moveTo>
                      <a:pt x="4" y="1"/>
                    </a:moveTo>
                    <a:cubicBezTo>
                      <a:pt x="4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2" y="1"/>
                      <a:pt x="3" y="1"/>
                      <a:pt x="4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33" name="Freeform 68">
                <a:extLst>
                  <a:ext uri="{FF2B5EF4-FFF2-40B4-BE49-F238E27FC236}">
                    <a16:creationId xmlns:a16="http://schemas.microsoft.com/office/drawing/2014/main" id="{ACA8C5EA-ABFA-4C91-8CB1-5A6DF61ACE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56" y="2219"/>
                <a:ext cx="523" cy="683"/>
              </a:xfrm>
              <a:custGeom>
                <a:avLst/>
                <a:gdLst>
                  <a:gd name="T0" fmla="*/ 189 w 221"/>
                  <a:gd name="T1" fmla="*/ 93 h 288"/>
                  <a:gd name="T2" fmla="*/ 168 w 221"/>
                  <a:gd name="T3" fmla="*/ 62 h 288"/>
                  <a:gd name="T4" fmla="*/ 160 w 221"/>
                  <a:gd name="T5" fmla="*/ 31 h 288"/>
                  <a:gd name="T6" fmla="*/ 137 w 221"/>
                  <a:gd name="T7" fmla="*/ 24 h 288"/>
                  <a:gd name="T8" fmla="*/ 95 w 221"/>
                  <a:gd name="T9" fmla="*/ 19 h 288"/>
                  <a:gd name="T10" fmla="*/ 68 w 221"/>
                  <a:gd name="T11" fmla="*/ 2 h 288"/>
                  <a:gd name="T12" fmla="*/ 14 w 221"/>
                  <a:gd name="T13" fmla="*/ 40 h 288"/>
                  <a:gd name="T14" fmla="*/ 4 w 221"/>
                  <a:gd name="T15" fmla="*/ 102 h 288"/>
                  <a:gd name="T16" fmla="*/ 39 w 221"/>
                  <a:gd name="T17" fmla="*/ 129 h 288"/>
                  <a:gd name="T18" fmla="*/ 66 w 221"/>
                  <a:gd name="T19" fmla="*/ 124 h 288"/>
                  <a:gd name="T20" fmla="*/ 97 w 221"/>
                  <a:gd name="T21" fmla="*/ 175 h 288"/>
                  <a:gd name="T22" fmla="*/ 116 w 221"/>
                  <a:gd name="T23" fmla="*/ 285 h 288"/>
                  <a:gd name="T24" fmla="*/ 156 w 221"/>
                  <a:gd name="T25" fmla="*/ 250 h 288"/>
                  <a:gd name="T26" fmla="*/ 172 w 221"/>
                  <a:gd name="T27" fmla="*/ 223 h 288"/>
                  <a:gd name="T28" fmla="*/ 183 w 221"/>
                  <a:gd name="T29" fmla="*/ 177 h 288"/>
                  <a:gd name="T30" fmla="*/ 21 w 221"/>
                  <a:gd name="T31" fmla="*/ 102 h 288"/>
                  <a:gd name="T32" fmla="*/ 13 w 221"/>
                  <a:gd name="T33" fmla="*/ 85 h 288"/>
                  <a:gd name="T34" fmla="*/ 19 w 221"/>
                  <a:gd name="T35" fmla="*/ 111 h 288"/>
                  <a:gd name="T36" fmla="*/ 36 w 221"/>
                  <a:gd name="T37" fmla="*/ 31 h 288"/>
                  <a:gd name="T38" fmla="*/ 30 w 221"/>
                  <a:gd name="T39" fmla="*/ 106 h 288"/>
                  <a:gd name="T40" fmla="*/ 31 w 221"/>
                  <a:gd name="T41" fmla="*/ 111 h 288"/>
                  <a:gd name="T42" fmla="*/ 39 w 221"/>
                  <a:gd name="T43" fmla="*/ 108 h 288"/>
                  <a:gd name="T44" fmla="*/ 40 w 221"/>
                  <a:gd name="T45" fmla="*/ 104 h 288"/>
                  <a:gd name="T46" fmla="*/ 51 w 221"/>
                  <a:gd name="T47" fmla="*/ 22 h 288"/>
                  <a:gd name="T48" fmla="*/ 46 w 221"/>
                  <a:gd name="T49" fmla="*/ 96 h 288"/>
                  <a:gd name="T50" fmla="*/ 55 w 221"/>
                  <a:gd name="T51" fmla="*/ 106 h 288"/>
                  <a:gd name="T52" fmla="*/ 62 w 221"/>
                  <a:gd name="T53" fmla="*/ 100 h 288"/>
                  <a:gd name="T54" fmla="*/ 65 w 221"/>
                  <a:gd name="T55" fmla="*/ 115 h 288"/>
                  <a:gd name="T56" fmla="*/ 73 w 221"/>
                  <a:gd name="T57" fmla="*/ 96 h 288"/>
                  <a:gd name="T58" fmla="*/ 82 w 221"/>
                  <a:gd name="T59" fmla="*/ 18 h 288"/>
                  <a:gd name="T60" fmla="*/ 88 w 221"/>
                  <a:gd name="T61" fmla="*/ 39 h 288"/>
                  <a:gd name="T62" fmla="*/ 184 w 221"/>
                  <a:gd name="T63" fmla="*/ 191 h 288"/>
                  <a:gd name="T64" fmla="*/ 173 w 221"/>
                  <a:gd name="T65" fmla="*/ 132 h 288"/>
                  <a:gd name="T66" fmla="*/ 168 w 221"/>
                  <a:gd name="T67" fmla="*/ 194 h 288"/>
                  <a:gd name="T68" fmla="*/ 163 w 221"/>
                  <a:gd name="T69" fmla="*/ 117 h 288"/>
                  <a:gd name="T70" fmla="*/ 154 w 221"/>
                  <a:gd name="T71" fmla="*/ 153 h 288"/>
                  <a:gd name="T72" fmla="*/ 150 w 221"/>
                  <a:gd name="T73" fmla="*/ 167 h 288"/>
                  <a:gd name="T74" fmla="*/ 150 w 221"/>
                  <a:gd name="T75" fmla="*/ 197 h 288"/>
                  <a:gd name="T76" fmla="*/ 146 w 221"/>
                  <a:gd name="T77" fmla="*/ 233 h 288"/>
                  <a:gd name="T78" fmla="*/ 140 w 221"/>
                  <a:gd name="T79" fmla="*/ 195 h 288"/>
                  <a:gd name="T80" fmla="*/ 138 w 221"/>
                  <a:gd name="T81" fmla="*/ 120 h 288"/>
                  <a:gd name="T82" fmla="*/ 126 w 221"/>
                  <a:gd name="T83" fmla="*/ 184 h 288"/>
                  <a:gd name="T84" fmla="*/ 129 w 221"/>
                  <a:gd name="T85" fmla="*/ 131 h 288"/>
                  <a:gd name="T86" fmla="*/ 124 w 221"/>
                  <a:gd name="T87" fmla="*/ 131 h 288"/>
                  <a:gd name="T88" fmla="*/ 116 w 221"/>
                  <a:gd name="T89" fmla="*/ 133 h 288"/>
                  <a:gd name="T90" fmla="*/ 107 w 221"/>
                  <a:gd name="T91" fmla="*/ 77 h 288"/>
                  <a:gd name="T92" fmla="*/ 103 w 221"/>
                  <a:gd name="T93" fmla="*/ 110 h 288"/>
                  <a:gd name="T94" fmla="*/ 97 w 221"/>
                  <a:gd name="T95" fmla="*/ 172 h 288"/>
                  <a:gd name="T96" fmla="*/ 95 w 221"/>
                  <a:gd name="T97" fmla="*/ 57 h 288"/>
                  <a:gd name="T98" fmla="*/ 102 w 221"/>
                  <a:gd name="T99" fmla="*/ 156 h 288"/>
                  <a:gd name="T100" fmla="*/ 102 w 221"/>
                  <a:gd name="T101" fmla="*/ 114 h 288"/>
                  <a:gd name="T102" fmla="*/ 111 w 221"/>
                  <a:gd name="T103" fmla="*/ 259 h 288"/>
                  <a:gd name="T104" fmla="*/ 117 w 221"/>
                  <a:gd name="T105" fmla="*/ 218 h 288"/>
                  <a:gd name="T106" fmla="*/ 129 w 221"/>
                  <a:gd name="T107" fmla="*/ 249 h 288"/>
                  <a:gd name="T108" fmla="*/ 139 w 221"/>
                  <a:gd name="T109" fmla="*/ 246 h 288"/>
                  <a:gd name="T110" fmla="*/ 151 w 221"/>
                  <a:gd name="T111" fmla="*/ 235 h 288"/>
                  <a:gd name="T112" fmla="*/ 159 w 221"/>
                  <a:gd name="T113" fmla="*/ 213 h 288"/>
                  <a:gd name="T114" fmla="*/ 161 w 221"/>
                  <a:gd name="T115" fmla="*/ 223 h 288"/>
                  <a:gd name="T116" fmla="*/ 162 w 221"/>
                  <a:gd name="T117" fmla="*/ 198 h 288"/>
                  <a:gd name="T118" fmla="*/ 165 w 221"/>
                  <a:gd name="T119" fmla="*/ 205 h 288"/>
                  <a:gd name="T120" fmla="*/ 170 w 221"/>
                  <a:gd name="T121" fmla="*/ 205 h 288"/>
                  <a:gd name="T122" fmla="*/ 179 w 221"/>
                  <a:gd name="T123" fmla="*/ 93 h 288"/>
                  <a:gd name="T124" fmla="*/ 190 w 221"/>
                  <a:gd name="T125" fmla="*/ 104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21" h="288">
                    <a:moveTo>
                      <a:pt x="219" y="103"/>
                    </a:moveTo>
                    <a:cubicBezTo>
                      <a:pt x="218" y="103"/>
                      <a:pt x="218" y="103"/>
                      <a:pt x="218" y="103"/>
                    </a:cubicBezTo>
                    <a:cubicBezTo>
                      <a:pt x="217" y="104"/>
                      <a:pt x="217" y="104"/>
                      <a:pt x="215" y="104"/>
                    </a:cubicBezTo>
                    <a:cubicBezTo>
                      <a:pt x="213" y="105"/>
                      <a:pt x="214" y="105"/>
                      <a:pt x="213" y="105"/>
                    </a:cubicBezTo>
                    <a:cubicBezTo>
                      <a:pt x="212" y="106"/>
                      <a:pt x="212" y="106"/>
                      <a:pt x="212" y="105"/>
                    </a:cubicBezTo>
                    <a:cubicBezTo>
                      <a:pt x="212" y="105"/>
                      <a:pt x="212" y="105"/>
                      <a:pt x="211" y="105"/>
                    </a:cubicBezTo>
                    <a:cubicBezTo>
                      <a:pt x="211" y="105"/>
                      <a:pt x="210" y="106"/>
                      <a:pt x="210" y="106"/>
                    </a:cubicBezTo>
                    <a:cubicBezTo>
                      <a:pt x="210" y="106"/>
                      <a:pt x="209" y="106"/>
                      <a:pt x="209" y="106"/>
                    </a:cubicBezTo>
                    <a:cubicBezTo>
                      <a:pt x="208" y="106"/>
                      <a:pt x="208" y="106"/>
                      <a:pt x="208" y="106"/>
                    </a:cubicBezTo>
                    <a:cubicBezTo>
                      <a:pt x="207" y="106"/>
                      <a:pt x="207" y="107"/>
                      <a:pt x="206" y="107"/>
                    </a:cubicBezTo>
                    <a:cubicBezTo>
                      <a:pt x="206" y="107"/>
                      <a:pt x="206" y="107"/>
                      <a:pt x="205" y="108"/>
                    </a:cubicBezTo>
                    <a:cubicBezTo>
                      <a:pt x="204" y="108"/>
                      <a:pt x="204" y="108"/>
                      <a:pt x="204" y="107"/>
                    </a:cubicBezTo>
                    <a:cubicBezTo>
                      <a:pt x="203" y="107"/>
                      <a:pt x="203" y="107"/>
                      <a:pt x="203" y="107"/>
                    </a:cubicBezTo>
                    <a:cubicBezTo>
                      <a:pt x="202" y="107"/>
                      <a:pt x="202" y="108"/>
                      <a:pt x="201" y="108"/>
                    </a:cubicBezTo>
                    <a:cubicBezTo>
                      <a:pt x="201" y="108"/>
                      <a:pt x="201" y="109"/>
                      <a:pt x="200" y="109"/>
                    </a:cubicBezTo>
                    <a:cubicBezTo>
                      <a:pt x="200" y="109"/>
                      <a:pt x="199" y="109"/>
                      <a:pt x="198" y="108"/>
                    </a:cubicBezTo>
                    <a:cubicBezTo>
                      <a:pt x="197" y="108"/>
                      <a:pt x="197" y="108"/>
                      <a:pt x="197" y="107"/>
                    </a:cubicBezTo>
                    <a:cubicBezTo>
                      <a:pt x="197" y="107"/>
                      <a:pt x="197" y="107"/>
                      <a:pt x="197" y="107"/>
                    </a:cubicBezTo>
                    <a:cubicBezTo>
                      <a:pt x="196" y="106"/>
                      <a:pt x="196" y="106"/>
                      <a:pt x="195" y="105"/>
                    </a:cubicBezTo>
                    <a:cubicBezTo>
                      <a:pt x="195" y="105"/>
                      <a:pt x="195" y="105"/>
                      <a:pt x="195" y="105"/>
                    </a:cubicBezTo>
                    <a:cubicBezTo>
                      <a:pt x="195" y="105"/>
                      <a:pt x="195" y="105"/>
                      <a:pt x="195" y="105"/>
                    </a:cubicBezTo>
                    <a:cubicBezTo>
                      <a:pt x="194" y="105"/>
                      <a:pt x="194" y="104"/>
                      <a:pt x="194" y="104"/>
                    </a:cubicBezTo>
                    <a:cubicBezTo>
                      <a:pt x="194" y="104"/>
                      <a:pt x="193" y="104"/>
                      <a:pt x="193" y="104"/>
                    </a:cubicBezTo>
                    <a:cubicBezTo>
                      <a:pt x="193" y="104"/>
                      <a:pt x="194" y="103"/>
                      <a:pt x="194" y="103"/>
                    </a:cubicBezTo>
                    <a:cubicBezTo>
                      <a:pt x="194" y="103"/>
                      <a:pt x="194" y="103"/>
                      <a:pt x="195" y="102"/>
                    </a:cubicBezTo>
                    <a:cubicBezTo>
                      <a:pt x="195" y="102"/>
                      <a:pt x="195" y="102"/>
                      <a:pt x="195" y="102"/>
                    </a:cubicBezTo>
                    <a:cubicBezTo>
                      <a:pt x="195" y="101"/>
                      <a:pt x="195" y="101"/>
                      <a:pt x="194" y="101"/>
                    </a:cubicBezTo>
                    <a:cubicBezTo>
                      <a:pt x="194" y="101"/>
                      <a:pt x="194" y="101"/>
                      <a:pt x="194" y="100"/>
                    </a:cubicBezTo>
                    <a:cubicBezTo>
                      <a:pt x="194" y="100"/>
                      <a:pt x="194" y="100"/>
                      <a:pt x="193" y="99"/>
                    </a:cubicBezTo>
                    <a:cubicBezTo>
                      <a:pt x="192" y="98"/>
                      <a:pt x="193" y="100"/>
                      <a:pt x="193" y="99"/>
                    </a:cubicBezTo>
                    <a:cubicBezTo>
                      <a:pt x="192" y="99"/>
                      <a:pt x="192" y="98"/>
                      <a:pt x="192" y="97"/>
                    </a:cubicBezTo>
                    <a:cubicBezTo>
                      <a:pt x="191" y="95"/>
                      <a:pt x="191" y="96"/>
                      <a:pt x="190" y="95"/>
                    </a:cubicBezTo>
                    <a:cubicBezTo>
                      <a:pt x="190" y="95"/>
                      <a:pt x="190" y="94"/>
                      <a:pt x="189" y="93"/>
                    </a:cubicBezTo>
                    <a:cubicBezTo>
                      <a:pt x="188" y="93"/>
                      <a:pt x="188" y="93"/>
                      <a:pt x="187" y="92"/>
                    </a:cubicBezTo>
                    <a:cubicBezTo>
                      <a:pt x="186" y="91"/>
                      <a:pt x="186" y="92"/>
                      <a:pt x="186" y="91"/>
                    </a:cubicBezTo>
                    <a:cubicBezTo>
                      <a:pt x="185" y="91"/>
                      <a:pt x="185" y="90"/>
                      <a:pt x="184" y="90"/>
                    </a:cubicBezTo>
                    <a:cubicBezTo>
                      <a:pt x="184" y="89"/>
                      <a:pt x="184" y="89"/>
                      <a:pt x="184" y="89"/>
                    </a:cubicBezTo>
                    <a:cubicBezTo>
                      <a:pt x="183" y="89"/>
                      <a:pt x="183" y="88"/>
                      <a:pt x="183" y="88"/>
                    </a:cubicBezTo>
                    <a:cubicBezTo>
                      <a:pt x="183" y="88"/>
                      <a:pt x="182" y="87"/>
                      <a:pt x="182" y="87"/>
                    </a:cubicBezTo>
                    <a:cubicBezTo>
                      <a:pt x="182" y="86"/>
                      <a:pt x="182" y="86"/>
                      <a:pt x="182" y="86"/>
                    </a:cubicBezTo>
                    <a:cubicBezTo>
                      <a:pt x="182" y="85"/>
                      <a:pt x="181" y="84"/>
                      <a:pt x="181" y="84"/>
                    </a:cubicBezTo>
                    <a:cubicBezTo>
                      <a:pt x="181" y="83"/>
                      <a:pt x="181" y="82"/>
                      <a:pt x="181" y="82"/>
                    </a:cubicBezTo>
                    <a:cubicBezTo>
                      <a:pt x="180" y="81"/>
                      <a:pt x="180" y="81"/>
                      <a:pt x="180" y="81"/>
                    </a:cubicBezTo>
                    <a:cubicBezTo>
                      <a:pt x="180" y="80"/>
                      <a:pt x="180" y="79"/>
                      <a:pt x="180" y="79"/>
                    </a:cubicBezTo>
                    <a:cubicBezTo>
                      <a:pt x="180" y="79"/>
                      <a:pt x="180" y="79"/>
                      <a:pt x="180" y="79"/>
                    </a:cubicBezTo>
                    <a:cubicBezTo>
                      <a:pt x="180" y="79"/>
                      <a:pt x="180" y="79"/>
                      <a:pt x="180" y="79"/>
                    </a:cubicBezTo>
                    <a:cubicBezTo>
                      <a:pt x="180" y="78"/>
                      <a:pt x="179" y="78"/>
                      <a:pt x="179" y="78"/>
                    </a:cubicBezTo>
                    <a:cubicBezTo>
                      <a:pt x="178" y="77"/>
                      <a:pt x="178" y="77"/>
                      <a:pt x="178" y="77"/>
                    </a:cubicBezTo>
                    <a:cubicBezTo>
                      <a:pt x="177" y="76"/>
                      <a:pt x="177" y="76"/>
                      <a:pt x="177" y="76"/>
                    </a:cubicBezTo>
                    <a:cubicBezTo>
                      <a:pt x="176" y="76"/>
                      <a:pt x="176" y="76"/>
                      <a:pt x="176" y="76"/>
                    </a:cubicBezTo>
                    <a:cubicBezTo>
                      <a:pt x="176" y="76"/>
                      <a:pt x="176" y="75"/>
                      <a:pt x="176" y="74"/>
                    </a:cubicBezTo>
                    <a:cubicBezTo>
                      <a:pt x="176" y="73"/>
                      <a:pt x="176" y="73"/>
                      <a:pt x="176" y="73"/>
                    </a:cubicBezTo>
                    <a:cubicBezTo>
                      <a:pt x="176" y="73"/>
                      <a:pt x="176" y="73"/>
                      <a:pt x="176" y="73"/>
                    </a:cubicBezTo>
                    <a:cubicBezTo>
                      <a:pt x="176" y="72"/>
                      <a:pt x="176" y="70"/>
                      <a:pt x="175" y="68"/>
                    </a:cubicBezTo>
                    <a:cubicBezTo>
                      <a:pt x="175" y="68"/>
                      <a:pt x="175" y="68"/>
                      <a:pt x="175" y="68"/>
                    </a:cubicBezTo>
                    <a:cubicBezTo>
                      <a:pt x="175" y="67"/>
                      <a:pt x="176" y="67"/>
                      <a:pt x="175" y="67"/>
                    </a:cubicBezTo>
                    <a:cubicBezTo>
                      <a:pt x="175" y="66"/>
                      <a:pt x="175" y="66"/>
                      <a:pt x="175" y="65"/>
                    </a:cubicBezTo>
                    <a:cubicBezTo>
                      <a:pt x="175" y="64"/>
                      <a:pt x="174" y="64"/>
                      <a:pt x="174" y="63"/>
                    </a:cubicBezTo>
                    <a:cubicBezTo>
                      <a:pt x="174" y="62"/>
                      <a:pt x="173" y="62"/>
                      <a:pt x="173" y="62"/>
                    </a:cubicBezTo>
                    <a:cubicBezTo>
                      <a:pt x="172" y="61"/>
                      <a:pt x="172" y="61"/>
                      <a:pt x="172" y="61"/>
                    </a:cubicBezTo>
                    <a:cubicBezTo>
                      <a:pt x="172" y="60"/>
                      <a:pt x="171" y="60"/>
                      <a:pt x="171" y="60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71" y="60"/>
                      <a:pt x="170" y="59"/>
                      <a:pt x="170" y="59"/>
                    </a:cubicBezTo>
                    <a:cubicBezTo>
                      <a:pt x="170" y="60"/>
                      <a:pt x="170" y="60"/>
                      <a:pt x="170" y="60"/>
                    </a:cubicBezTo>
                    <a:cubicBezTo>
                      <a:pt x="168" y="61"/>
                      <a:pt x="168" y="61"/>
                      <a:pt x="168" y="61"/>
                    </a:cubicBezTo>
                    <a:cubicBezTo>
                      <a:pt x="168" y="62"/>
                      <a:pt x="168" y="62"/>
                      <a:pt x="168" y="62"/>
                    </a:cubicBezTo>
                    <a:cubicBezTo>
                      <a:pt x="165" y="62"/>
                      <a:pt x="165" y="62"/>
                      <a:pt x="165" y="62"/>
                    </a:cubicBezTo>
                    <a:cubicBezTo>
                      <a:pt x="165" y="64"/>
                      <a:pt x="165" y="64"/>
                      <a:pt x="165" y="64"/>
                    </a:cubicBezTo>
                    <a:cubicBezTo>
                      <a:pt x="165" y="64"/>
                      <a:pt x="165" y="64"/>
                      <a:pt x="165" y="64"/>
                    </a:cubicBezTo>
                    <a:cubicBezTo>
                      <a:pt x="165" y="62"/>
                      <a:pt x="165" y="62"/>
                      <a:pt x="165" y="62"/>
                    </a:cubicBezTo>
                    <a:cubicBezTo>
                      <a:pt x="168" y="62"/>
                      <a:pt x="168" y="62"/>
                      <a:pt x="168" y="62"/>
                    </a:cubicBezTo>
                    <a:cubicBezTo>
                      <a:pt x="168" y="61"/>
                      <a:pt x="168" y="61"/>
                      <a:pt x="168" y="61"/>
                    </a:cubicBezTo>
                    <a:cubicBezTo>
                      <a:pt x="170" y="60"/>
                      <a:pt x="170" y="60"/>
                      <a:pt x="170" y="60"/>
                    </a:cubicBezTo>
                    <a:cubicBezTo>
                      <a:pt x="170" y="59"/>
                      <a:pt x="170" y="59"/>
                      <a:pt x="170" y="59"/>
                    </a:cubicBezTo>
                    <a:cubicBezTo>
                      <a:pt x="170" y="58"/>
                      <a:pt x="170" y="57"/>
                      <a:pt x="170" y="57"/>
                    </a:cubicBezTo>
                    <a:cubicBezTo>
                      <a:pt x="170" y="57"/>
                      <a:pt x="170" y="57"/>
                      <a:pt x="170" y="57"/>
                    </a:cubicBezTo>
                    <a:cubicBezTo>
                      <a:pt x="170" y="56"/>
                      <a:pt x="170" y="56"/>
                      <a:pt x="170" y="56"/>
                    </a:cubicBezTo>
                    <a:cubicBezTo>
                      <a:pt x="170" y="56"/>
                      <a:pt x="170" y="56"/>
                      <a:pt x="170" y="55"/>
                    </a:cubicBezTo>
                    <a:cubicBezTo>
                      <a:pt x="170" y="55"/>
                      <a:pt x="170" y="55"/>
                      <a:pt x="170" y="55"/>
                    </a:cubicBezTo>
                    <a:cubicBezTo>
                      <a:pt x="170" y="55"/>
                      <a:pt x="170" y="55"/>
                      <a:pt x="170" y="55"/>
                    </a:cubicBezTo>
                    <a:cubicBezTo>
                      <a:pt x="170" y="55"/>
                      <a:pt x="170" y="55"/>
                      <a:pt x="170" y="55"/>
                    </a:cubicBezTo>
                    <a:cubicBezTo>
                      <a:pt x="170" y="54"/>
                      <a:pt x="169" y="52"/>
                      <a:pt x="168" y="51"/>
                    </a:cubicBezTo>
                    <a:cubicBezTo>
                      <a:pt x="167" y="49"/>
                      <a:pt x="166" y="48"/>
                      <a:pt x="166" y="47"/>
                    </a:cubicBezTo>
                    <a:cubicBezTo>
                      <a:pt x="166" y="47"/>
                      <a:pt x="166" y="46"/>
                      <a:pt x="166" y="45"/>
                    </a:cubicBezTo>
                    <a:cubicBezTo>
                      <a:pt x="165" y="44"/>
                      <a:pt x="165" y="44"/>
                      <a:pt x="165" y="44"/>
                    </a:cubicBezTo>
                    <a:cubicBezTo>
                      <a:pt x="164" y="43"/>
                      <a:pt x="164" y="43"/>
                      <a:pt x="164" y="43"/>
                    </a:cubicBezTo>
                    <a:cubicBezTo>
                      <a:pt x="165" y="43"/>
                      <a:pt x="164" y="42"/>
                      <a:pt x="164" y="40"/>
                    </a:cubicBezTo>
                    <a:cubicBezTo>
                      <a:pt x="164" y="40"/>
                      <a:pt x="164" y="40"/>
                      <a:pt x="164" y="40"/>
                    </a:cubicBezTo>
                    <a:cubicBezTo>
                      <a:pt x="163" y="40"/>
                      <a:pt x="164" y="40"/>
                      <a:pt x="163" y="40"/>
                    </a:cubicBezTo>
                    <a:cubicBezTo>
                      <a:pt x="163" y="39"/>
                      <a:pt x="163" y="38"/>
                      <a:pt x="163" y="38"/>
                    </a:cubicBezTo>
                    <a:cubicBezTo>
                      <a:pt x="162" y="38"/>
                      <a:pt x="162" y="38"/>
                      <a:pt x="162" y="38"/>
                    </a:cubicBezTo>
                    <a:cubicBezTo>
                      <a:pt x="162" y="37"/>
                      <a:pt x="161" y="36"/>
                      <a:pt x="161" y="35"/>
                    </a:cubicBezTo>
                    <a:cubicBezTo>
                      <a:pt x="161" y="35"/>
                      <a:pt x="161" y="35"/>
                      <a:pt x="161" y="35"/>
                    </a:cubicBezTo>
                    <a:cubicBezTo>
                      <a:pt x="161" y="34"/>
                      <a:pt x="161" y="34"/>
                      <a:pt x="161" y="34"/>
                    </a:cubicBezTo>
                    <a:cubicBezTo>
                      <a:pt x="161" y="34"/>
                      <a:pt x="161" y="33"/>
                      <a:pt x="160" y="33"/>
                    </a:cubicBezTo>
                    <a:cubicBezTo>
                      <a:pt x="160" y="33"/>
                      <a:pt x="160" y="33"/>
                      <a:pt x="160" y="33"/>
                    </a:cubicBezTo>
                    <a:cubicBezTo>
                      <a:pt x="160" y="32"/>
                      <a:pt x="160" y="32"/>
                      <a:pt x="160" y="32"/>
                    </a:cubicBezTo>
                    <a:cubicBezTo>
                      <a:pt x="160" y="32"/>
                      <a:pt x="160" y="31"/>
                      <a:pt x="160" y="31"/>
                    </a:cubicBezTo>
                    <a:cubicBezTo>
                      <a:pt x="160" y="31"/>
                      <a:pt x="160" y="31"/>
                      <a:pt x="160" y="31"/>
                    </a:cubicBezTo>
                    <a:cubicBezTo>
                      <a:pt x="160" y="31"/>
                      <a:pt x="160" y="31"/>
                      <a:pt x="160" y="31"/>
                    </a:cubicBezTo>
                    <a:cubicBezTo>
                      <a:pt x="161" y="32"/>
                      <a:pt x="161" y="32"/>
                      <a:pt x="161" y="32"/>
                    </a:cubicBezTo>
                    <a:cubicBezTo>
                      <a:pt x="161" y="32"/>
                      <a:pt x="161" y="33"/>
                      <a:pt x="161" y="33"/>
                    </a:cubicBezTo>
                    <a:cubicBezTo>
                      <a:pt x="161" y="33"/>
                      <a:pt x="161" y="33"/>
                      <a:pt x="161" y="33"/>
                    </a:cubicBezTo>
                    <a:cubicBezTo>
                      <a:pt x="161" y="33"/>
                      <a:pt x="161" y="33"/>
                      <a:pt x="161" y="33"/>
                    </a:cubicBezTo>
                    <a:cubicBezTo>
                      <a:pt x="162" y="34"/>
                      <a:pt x="162" y="35"/>
                      <a:pt x="162" y="35"/>
                    </a:cubicBezTo>
                    <a:cubicBezTo>
                      <a:pt x="162" y="35"/>
                      <a:pt x="162" y="36"/>
                      <a:pt x="163" y="37"/>
                    </a:cubicBezTo>
                    <a:cubicBezTo>
                      <a:pt x="164" y="38"/>
                      <a:pt x="165" y="39"/>
                      <a:pt x="165" y="39"/>
                    </a:cubicBezTo>
                    <a:cubicBezTo>
                      <a:pt x="165" y="39"/>
                      <a:pt x="166" y="39"/>
                      <a:pt x="166" y="39"/>
                    </a:cubicBezTo>
                    <a:cubicBezTo>
                      <a:pt x="167" y="39"/>
                      <a:pt x="167" y="39"/>
                      <a:pt x="167" y="39"/>
                    </a:cubicBezTo>
                    <a:cubicBezTo>
                      <a:pt x="167" y="38"/>
                      <a:pt x="167" y="38"/>
                      <a:pt x="167" y="38"/>
                    </a:cubicBezTo>
                    <a:cubicBezTo>
                      <a:pt x="167" y="38"/>
                      <a:pt x="166" y="37"/>
                      <a:pt x="167" y="37"/>
                    </a:cubicBezTo>
                    <a:cubicBezTo>
                      <a:pt x="167" y="37"/>
                      <a:pt x="167" y="37"/>
                      <a:pt x="167" y="37"/>
                    </a:cubicBezTo>
                    <a:cubicBezTo>
                      <a:pt x="167" y="37"/>
                      <a:pt x="167" y="35"/>
                      <a:pt x="167" y="35"/>
                    </a:cubicBezTo>
                    <a:cubicBezTo>
                      <a:pt x="167" y="35"/>
                      <a:pt x="167" y="35"/>
                      <a:pt x="167" y="35"/>
                    </a:cubicBezTo>
                    <a:cubicBezTo>
                      <a:pt x="167" y="35"/>
                      <a:pt x="167" y="34"/>
                      <a:pt x="167" y="33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68" y="32"/>
                      <a:pt x="168" y="32"/>
                      <a:pt x="168" y="32"/>
                    </a:cubicBezTo>
                    <a:cubicBezTo>
                      <a:pt x="166" y="25"/>
                      <a:pt x="166" y="25"/>
                      <a:pt x="166" y="25"/>
                    </a:cubicBezTo>
                    <a:cubicBezTo>
                      <a:pt x="165" y="25"/>
                      <a:pt x="165" y="25"/>
                      <a:pt x="165" y="26"/>
                    </a:cubicBezTo>
                    <a:cubicBezTo>
                      <a:pt x="164" y="26"/>
                      <a:pt x="162" y="26"/>
                      <a:pt x="162" y="26"/>
                    </a:cubicBezTo>
                    <a:cubicBezTo>
                      <a:pt x="161" y="26"/>
                      <a:pt x="160" y="26"/>
                      <a:pt x="159" y="25"/>
                    </a:cubicBezTo>
                    <a:cubicBezTo>
                      <a:pt x="159" y="25"/>
                      <a:pt x="159" y="25"/>
                      <a:pt x="157" y="24"/>
                    </a:cubicBezTo>
                    <a:cubicBezTo>
                      <a:pt x="155" y="23"/>
                      <a:pt x="154" y="25"/>
                      <a:pt x="153" y="25"/>
                    </a:cubicBezTo>
                    <a:cubicBezTo>
                      <a:pt x="152" y="25"/>
                      <a:pt x="152" y="26"/>
                      <a:pt x="150" y="27"/>
                    </a:cubicBezTo>
                    <a:cubicBezTo>
                      <a:pt x="148" y="29"/>
                      <a:pt x="149" y="27"/>
                      <a:pt x="148" y="27"/>
                    </a:cubicBezTo>
                    <a:cubicBezTo>
                      <a:pt x="147" y="27"/>
                      <a:pt x="147" y="27"/>
                      <a:pt x="146" y="26"/>
                    </a:cubicBezTo>
                    <a:cubicBezTo>
                      <a:pt x="145" y="25"/>
                      <a:pt x="145" y="26"/>
                      <a:pt x="144" y="25"/>
                    </a:cubicBezTo>
                    <a:cubicBezTo>
                      <a:pt x="144" y="25"/>
                      <a:pt x="144" y="25"/>
                      <a:pt x="144" y="25"/>
                    </a:cubicBezTo>
                    <a:cubicBezTo>
                      <a:pt x="143" y="25"/>
                      <a:pt x="141" y="25"/>
                      <a:pt x="140" y="24"/>
                    </a:cubicBezTo>
                    <a:cubicBezTo>
                      <a:pt x="139" y="23"/>
                      <a:pt x="139" y="24"/>
                      <a:pt x="138" y="24"/>
                    </a:cubicBezTo>
                    <a:cubicBezTo>
                      <a:pt x="137" y="24"/>
                      <a:pt x="137" y="24"/>
                      <a:pt x="137" y="24"/>
                    </a:cubicBezTo>
                    <a:cubicBezTo>
                      <a:pt x="136" y="24"/>
                      <a:pt x="136" y="25"/>
                      <a:pt x="136" y="25"/>
                    </a:cubicBezTo>
                    <a:cubicBezTo>
                      <a:pt x="136" y="26"/>
                      <a:pt x="136" y="28"/>
                      <a:pt x="136" y="29"/>
                    </a:cubicBezTo>
                    <a:cubicBezTo>
                      <a:pt x="136" y="29"/>
                      <a:pt x="135" y="30"/>
                      <a:pt x="135" y="31"/>
                    </a:cubicBezTo>
                    <a:cubicBezTo>
                      <a:pt x="136" y="32"/>
                      <a:pt x="136" y="36"/>
                      <a:pt x="136" y="36"/>
                    </a:cubicBezTo>
                    <a:cubicBezTo>
                      <a:pt x="136" y="63"/>
                      <a:pt x="136" y="63"/>
                      <a:pt x="136" y="63"/>
                    </a:cubicBezTo>
                    <a:cubicBezTo>
                      <a:pt x="162" y="63"/>
                      <a:pt x="162" y="63"/>
                      <a:pt x="162" y="63"/>
                    </a:cubicBezTo>
                    <a:cubicBezTo>
                      <a:pt x="163" y="64"/>
                      <a:pt x="163" y="64"/>
                      <a:pt x="163" y="64"/>
                    </a:cubicBezTo>
                    <a:cubicBezTo>
                      <a:pt x="162" y="63"/>
                      <a:pt x="162" y="63"/>
                      <a:pt x="162" y="63"/>
                    </a:cubicBezTo>
                    <a:cubicBezTo>
                      <a:pt x="136" y="63"/>
                      <a:pt x="136" y="63"/>
                      <a:pt x="136" y="63"/>
                    </a:cubicBezTo>
                    <a:cubicBezTo>
                      <a:pt x="136" y="36"/>
                      <a:pt x="136" y="36"/>
                      <a:pt x="136" y="36"/>
                    </a:cubicBezTo>
                    <a:cubicBezTo>
                      <a:pt x="136" y="36"/>
                      <a:pt x="136" y="32"/>
                      <a:pt x="135" y="31"/>
                    </a:cubicBezTo>
                    <a:cubicBezTo>
                      <a:pt x="135" y="30"/>
                      <a:pt x="136" y="29"/>
                      <a:pt x="136" y="29"/>
                    </a:cubicBezTo>
                    <a:cubicBezTo>
                      <a:pt x="136" y="28"/>
                      <a:pt x="136" y="26"/>
                      <a:pt x="136" y="25"/>
                    </a:cubicBezTo>
                    <a:cubicBezTo>
                      <a:pt x="136" y="25"/>
                      <a:pt x="136" y="24"/>
                      <a:pt x="137" y="24"/>
                    </a:cubicBezTo>
                    <a:cubicBezTo>
                      <a:pt x="136" y="24"/>
                      <a:pt x="137" y="24"/>
                      <a:pt x="136" y="22"/>
                    </a:cubicBezTo>
                    <a:cubicBezTo>
                      <a:pt x="135" y="21"/>
                      <a:pt x="135" y="23"/>
                      <a:pt x="135" y="23"/>
                    </a:cubicBezTo>
                    <a:cubicBezTo>
                      <a:pt x="135" y="23"/>
                      <a:pt x="134" y="23"/>
                      <a:pt x="134" y="22"/>
                    </a:cubicBezTo>
                    <a:cubicBezTo>
                      <a:pt x="133" y="22"/>
                      <a:pt x="132" y="22"/>
                      <a:pt x="131" y="22"/>
                    </a:cubicBezTo>
                    <a:cubicBezTo>
                      <a:pt x="130" y="22"/>
                      <a:pt x="131" y="21"/>
                      <a:pt x="130" y="20"/>
                    </a:cubicBezTo>
                    <a:cubicBezTo>
                      <a:pt x="130" y="19"/>
                      <a:pt x="129" y="19"/>
                      <a:pt x="127" y="18"/>
                    </a:cubicBezTo>
                    <a:cubicBezTo>
                      <a:pt x="125" y="17"/>
                      <a:pt x="125" y="19"/>
                      <a:pt x="123" y="19"/>
                    </a:cubicBezTo>
                    <a:cubicBezTo>
                      <a:pt x="121" y="20"/>
                      <a:pt x="121" y="21"/>
                      <a:pt x="120" y="22"/>
                    </a:cubicBezTo>
                    <a:cubicBezTo>
                      <a:pt x="119" y="24"/>
                      <a:pt x="120" y="24"/>
                      <a:pt x="121" y="26"/>
                    </a:cubicBezTo>
                    <a:cubicBezTo>
                      <a:pt x="121" y="28"/>
                      <a:pt x="120" y="29"/>
                      <a:pt x="118" y="29"/>
                    </a:cubicBezTo>
                    <a:cubicBezTo>
                      <a:pt x="116" y="29"/>
                      <a:pt x="116" y="28"/>
                      <a:pt x="115" y="27"/>
                    </a:cubicBezTo>
                    <a:cubicBezTo>
                      <a:pt x="113" y="26"/>
                      <a:pt x="112" y="26"/>
                      <a:pt x="110" y="26"/>
                    </a:cubicBezTo>
                    <a:cubicBezTo>
                      <a:pt x="108" y="25"/>
                      <a:pt x="108" y="25"/>
                      <a:pt x="107" y="24"/>
                    </a:cubicBezTo>
                    <a:cubicBezTo>
                      <a:pt x="106" y="23"/>
                      <a:pt x="106" y="24"/>
                      <a:pt x="106" y="22"/>
                    </a:cubicBezTo>
                    <a:cubicBezTo>
                      <a:pt x="105" y="20"/>
                      <a:pt x="106" y="21"/>
                      <a:pt x="105" y="20"/>
                    </a:cubicBezTo>
                    <a:cubicBezTo>
                      <a:pt x="105" y="20"/>
                      <a:pt x="104" y="20"/>
                      <a:pt x="104" y="20"/>
                    </a:cubicBezTo>
                    <a:cubicBezTo>
                      <a:pt x="103" y="20"/>
                      <a:pt x="102" y="20"/>
                      <a:pt x="102" y="19"/>
                    </a:cubicBezTo>
                    <a:cubicBezTo>
                      <a:pt x="101" y="19"/>
                      <a:pt x="99" y="19"/>
                      <a:pt x="98" y="19"/>
                    </a:cubicBezTo>
                    <a:cubicBezTo>
                      <a:pt x="97" y="20"/>
                      <a:pt x="96" y="19"/>
                      <a:pt x="95" y="19"/>
                    </a:cubicBezTo>
                    <a:cubicBezTo>
                      <a:pt x="94" y="19"/>
                      <a:pt x="94" y="18"/>
                      <a:pt x="93" y="18"/>
                    </a:cubicBezTo>
                    <a:cubicBezTo>
                      <a:pt x="93" y="18"/>
                      <a:pt x="93" y="18"/>
                      <a:pt x="93" y="18"/>
                    </a:cubicBezTo>
                    <a:cubicBezTo>
                      <a:pt x="93" y="17"/>
                      <a:pt x="92" y="17"/>
                      <a:pt x="92" y="16"/>
                    </a:cubicBezTo>
                    <a:cubicBezTo>
                      <a:pt x="92" y="16"/>
                      <a:pt x="92" y="16"/>
                      <a:pt x="90" y="15"/>
                    </a:cubicBezTo>
                    <a:cubicBezTo>
                      <a:pt x="88" y="14"/>
                      <a:pt x="89" y="15"/>
                      <a:pt x="88" y="14"/>
                    </a:cubicBezTo>
                    <a:cubicBezTo>
                      <a:pt x="88" y="12"/>
                      <a:pt x="90" y="11"/>
                      <a:pt x="91" y="11"/>
                    </a:cubicBezTo>
                    <a:cubicBezTo>
                      <a:pt x="91" y="10"/>
                      <a:pt x="92" y="8"/>
                      <a:pt x="92" y="8"/>
                    </a:cubicBezTo>
                    <a:cubicBezTo>
                      <a:pt x="92" y="7"/>
                      <a:pt x="92" y="7"/>
                      <a:pt x="91" y="7"/>
                    </a:cubicBezTo>
                    <a:cubicBezTo>
                      <a:pt x="90" y="6"/>
                      <a:pt x="90" y="5"/>
                      <a:pt x="90" y="5"/>
                    </a:cubicBezTo>
                    <a:cubicBezTo>
                      <a:pt x="89" y="4"/>
                      <a:pt x="90" y="4"/>
                      <a:pt x="90" y="3"/>
                    </a:cubicBezTo>
                    <a:cubicBezTo>
                      <a:pt x="90" y="3"/>
                      <a:pt x="91" y="3"/>
                      <a:pt x="91" y="3"/>
                    </a:cubicBezTo>
                    <a:cubicBezTo>
                      <a:pt x="92" y="2"/>
                      <a:pt x="92" y="2"/>
                      <a:pt x="92" y="1"/>
                    </a:cubicBezTo>
                    <a:cubicBezTo>
                      <a:pt x="91" y="0"/>
                      <a:pt x="91" y="1"/>
                      <a:pt x="90" y="1"/>
                    </a:cubicBezTo>
                    <a:cubicBezTo>
                      <a:pt x="90" y="1"/>
                      <a:pt x="90" y="2"/>
                      <a:pt x="89" y="1"/>
                    </a:cubicBezTo>
                    <a:cubicBezTo>
                      <a:pt x="89" y="1"/>
                      <a:pt x="89" y="1"/>
                      <a:pt x="89" y="0"/>
                    </a:cubicBezTo>
                    <a:cubicBezTo>
                      <a:pt x="89" y="0"/>
                      <a:pt x="87" y="0"/>
                      <a:pt x="87" y="0"/>
                    </a:cubicBezTo>
                    <a:cubicBezTo>
                      <a:pt x="86" y="0"/>
                      <a:pt x="86" y="1"/>
                      <a:pt x="85" y="1"/>
                    </a:cubicBezTo>
                    <a:cubicBezTo>
                      <a:pt x="85" y="1"/>
                      <a:pt x="85" y="1"/>
                      <a:pt x="85" y="1"/>
                    </a:cubicBezTo>
                    <a:cubicBezTo>
                      <a:pt x="85" y="1"/>
                      <a:pt x="84" y="1"/>
                      <a:pt x="84" y="1"/>
                    </a:cubicBezTo>
                    <a:cubicBezTo>
                      <a:pt x="84" y="2"/>
                      <a:pt x="84" y="2"/>
                      <a:pt x="84" y="2"/>
                    </a:cubicBezTo>
                    <a:cubicBezTo>
                      <a:pt x="84" y="1"/>
                      <a:pt x="84" y="1"/>
                      <a:pt x="84" y="1"/>
                    </a:cubicBezTo>
                    <a:cubicBezTo>
                      <a:pt x="83" y="1"/>
                      <a:pt x="82" y="1"/>
                      <a:pt x="82" y="1"/>
                    </a:cubicBezTo>
                    <a:cubicBezTo>
                      <a:pt x="81" y="1"/>
                      <a:pt x="81" y="1"/>
                      <a:pt x="80" y="1"/>
                    </a:cubicBezTo>
                    <a:cubicBezTo>
                      <a:pt x="78" y="0"/>
                      <a:pt x="79" y="1"/>
                      <a:pt x="79" y="1"/>
                    </a:cubicBezTo>
                    <a:cubicBezTo>
                      <a:pt x="78" y="2"/>
                      <a:pt x="79" y="1"/>
                      <a:pt x="78" y="1"/>
                    </a:cubicBezTo>
                    <a:cubicBezTo>
                      <a:pt x="77" y="0"/>
                      <a:pt x="77" y="1"/>
                      <a:pt x="77" y="2"/>
                    </a:cubicBezTo>
                    <a:cubicBezTo>
                      <a:pt x="77" y="2"/>
                      <a:pt x="77" y="2"/>
                      <a:pt x="77" y="2"/>
                    </a:cubicBezTo>
                    <a:cubicBezTo>
                      <a:pt x="75" y="2"/>
                      <a:pt x="74" y="2"/>
                      <a:pt x="73" y="2"/>
                    </a:cubicBezTo>
                    <a:cubicBezTo>
                      <a:pt x="73" y="2"/>
                      <a:pt x="73" y="2"/>
                      <a:pt x="73" y="2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72" y="2"/>
                      <a:pt x="72" y="1"/>
                      <a:pt x="71" y="1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68" y="1"/>
                      <a:pt x="68" y="2"/>
                      <a:pt x="68" y="2"/>
                    </a:cubicBezTo>
                    <a:cubicBezTo>
                      <a:pt x="67" y="2"/>
                      <a:pt x="67" y="2"/>
                      <a:pt x="67" y="1"/>
                    </a:cubicBezTo>
                    <a:cubicBezTo>
                      <a:pt x="66" y="1"/>
                      <a:pt x="66" y="2"/>
                      <a:pt x="65" y="3"/>
                    </a:cubicBezTo>
                    <a:cubicBezTo>
                      <a:pt x="65" y="3"/>
                      <a:pt x="63" y="3"/>
                      <a:pt x="63" y="3"/>
                    </a:cubicBezTo>
                    <a:cubicBezTo>
                      <a:pt x="63" y="3"/>
                      <a:pt x="61" y="3"/>
                      <a:pt x="60" y="3"/>
                    </a:cubicBezTo>
                    <a:cubicBezTo>
                      <a:pt x="59" y="4"/>
                      <a:pt x="58" y="4"/>
                      <a:pt x="58" y="4"/>
                    </a:cubicBezTo>
                    <a:cubicBezTo>
                      <a:pt x="58" y="4"/>
                      <a:pt x="55" y="6"/>
                      <a:pt x="54" y="6"/>
                    </a:cubicBezTo>
                    <a:cubicBezTo>
                      <a:pt x="54" y="6"/>
                      <a:pt x="53" y="7"/>
                      <a:pt x="52" y="8"/>
                    </a:cubicBezTo>
                    <a:cubicBezTo>
                      <a:pt x="52" y="8"/>
                      <a:pt x="51" y="8"/>
                      <a:pt x="50" y="9"/>
                    </a:cubicBezTo>
                    <a:cubicBezTo>
                      <a:pt x="50" y="9"/>
                      <a:pt x="50" y="9"/>
                      <a:pt x="50" y="9"/>
                    </a:cubicBezTo>
                    <a:cubicBezTo>
                      <a:pt x="50" y="9"/>
                      <a:pt x="49" y="9"/>
                      <a:pt x="49" y="9"/>
                    </a:cubicBezTo>
                    <a:cubicBezTo>
                      <a:pt x="48" y="9"/>
                      <a:pt x="47" y="9"/>
                      <a:pt x="47" y="9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6" y="8"/>
                      <a:pt x="44" y="8"/>
                      <a:pt x="42" y="8"/>
                    </a:cubicBezTo>
                    <a:cubicBezTo>
                      <a:pt x="41" y="8"/>
                      <a:pt x="41" y="8"/>
                      <a:pt x="41" y="8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40" y="8"/>
                      <a:pt x="40" y="7"/>
                      <a:pt x="39" y="6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8" y="6"/>
                      <a:pt x="37" y="7"/>
                      <a:pt x="37" y="8"/>
                    </a:cubicBezTo>
                    <a:cubicBezTo>
                      <a:pt x="37" y="8"/>
                      <a:pt x="37" y="8"/>
                      <a:pt x="37" y="8"/>
                    </a:cubicBezTo>
                    <a:cubicBezTo>
                      <a:pt x="37" y="8"/>
                      <a:pt x="36" y="9"/>
                      <a:pt x="36" y="10"/>
                    </a:cubicBezTo>
                    <a:cubicBezTo>
                      <a:pt x="36" y="11"/>
                      <a:pt x="35" y="13"/>
                      <a:pt x="35" y="14"/>
                    </a:cubicBezTo>
                    <a:cubicBezTo>
                      <a:pt x="34" y="15"/>
                      <a:pt x="33" y="15"/>
                      <a:pt x="31" y="16"/>
                    </a:cubicBezTo>
                    <a:cubicBezTo>
                      <a:pt x="30" y="16"/>
                      <a:pt x="30" y="16"/>
                      <a:pt x="29" y="17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7" y="21"/>
                      <a:pt x="26" y="23"/>
                      <a:pt x="25" y="24"/>
                    </a:cubicBezTo>
                    <a:cubicBezTo>
                      <a:pt x="25" y="24"/>
                      <a:pt x="25" y="24"/>
                      <a:pt x="25" y="24"/>
                    </a:cubicBezTo>
                    <a:cubicBezTo>
                      <a:pt x="25" y="25"/>
                      <a:pt x="25" y="26"/>
                      <a:pt x="25" y="28"/>
                    </a:cubicBezTo>
                    <a:cubicBezTo>
                      <a:pt x="25" y="29"/>
                      <a:pt x="25" y="28"/>
                      <a:pt x="25" y="29"/>
                    </a:cubicBezTo>
                    <a:cubicBezTo>
                      <a:pt x="25" y="30"/>
                      <a:pt x="25" y="32"/>
                      <a:pt x="25" y="32"/>
                    </a:cubicBezTo>
                    <a:cubicBezTo>
                      <a:pt x="24" y="33"/>
                      <a:pt x="23" y="34"/>
                      <a:pt x="22" y="35"/>
                    </a:cubicBezTo>
                    <a:cubicBezTo>
                      <a:pt x="21" y="36"/>
                      <a:pt x="19" y="37"/>
                      <a:pt x="19" y="37"/>
                    </a:cubicBezTo>
                    <a:cubicBezTo>
                      <a:pt x="18" y="38"/>
                      <a:pt x="15" y="39"/>
                      <a:pt x="14" y="40"/>
                    </a:cubicBezTo>
                    <a:cubicBezTo>
                      <a:pt x="12" y="42"/>
                      <a:pt x="13" y="42"/>
                      <a:pt x="13" y="44"/>
                    </a:cubicBezTo>
                    <a:cubicBezTo>
                      <a:pt x="12" y="46"/>
                      <a:pt x="12" y="45"/>
                      <a:pt x="11" y="45"/>
                    </a:cubicBezTo>
                    <a:cubicBezTo>
                      <a:pt x="10" y="45"/>
                      <a:pt x="10" y="47"/>
                      <a:pt x="9" y="49"/>
                    </a:cubicBezTo>
                    <a:cubicBezTo>
                      <a:pt x="9" y="50"/>
                      <a:pt x="9" y="50"/>
                      <a:pt x="9" y="51"/>
                    </a:cubicBezTo>
                    <a:cubicBezTo>
                      <a:pt x="9" y="52"/>
                      <a:pt x="8" y="53"/>
                      <a:pt x="7" y="55"/>
                    </a:cubicBezTo>
                    <a:cubicBezTo>
                      <a:pt x="5" y="56"/>
                      <a:pt x="5" y="59"/>
                      <a:pt x="4" y="60"/>
                    </a:cubicBezTo>
                    <a:cubicBezTo>
                      <a:pt x="4" y="61"/>
                      <a:pt x="4" y="61"/>
                      <a:pt x="4" y="61"/>
                    </a:cubicBezTo>
                    <a:cubicBezTo>
                      <a:pt x="4" y="61"/>
                      <a:pt x="3" y="63"/>
                      <a:pt x="2" y="64"/>
                    </a:cubicBezTo>
                    <a:cubicBezTo>
                      <a:pt x="1" y="65"/>
                      <a:pt x="1" y="65"/>
                      <a:pt x="1" y="65"/>
                    </a:cubicBezTo>
                    <a:cubicBezTo>
                      <a:pt x="1" y="65"/>
                      <a:pt x="2" y="67"/>
                      <a:pt x="2" y="66"/>
                    </a:cubicBezTo>
                    <a:cubicBezTo>
                      <a:pt x="2" y="65"/>
                      <a:pt x="2" y="65"/>
                      <a:pt x="2" y="65"/>
                    </a:cubicBezTo>
                    <a:cubicBezTo>
                      <a:pt x="15" y="65"/>
                      <a:pt x="15" y="65"/>
                      <a:pt x="15" y="65"/>
                    </a:cubicBezTo>
                    <a:cubicBezTo>
                      <a:pt x="15" y="65"/>
                      <a:pt x="15" y="65"/>
                      <a:pt x="15" y="65"/>
                    </a:cubicBezTo>
                    <a:cubicBezTo>
                      <a:pt x="2" y="65"/>
                      <a:pt x="2" y="65"/>
                      <a:pt x="2" y="65"/>
                    </a:cubicBezTo>
                    <a:cubicBezTo>
                      <a:pt x="2" y="66"/>
                      <a:pt x="2" y="67"/>
                      <a:pt x="3" y="68"/>
                    </a:cubicBezTo>
                    <a:cubicBezTo>
                      <a:pt x="3" y="69"/>
                      <a:pt x="4" y="68"/>
                      <a:pt x="4" y="69"/>
                    </a:cubicBezTo>
                    <a:cubicBezTo>
                      <a:pt x="5" y="70"/>
                      <a:pt x="4" y="70"/>
                      <a:pt x="5" y="72"/>
                    </a:cubicBezTo>
                    <a:cubicBezTo>
                      <a:pt x="5" y="73"/>
                      <a:pt x="4" y="73"/>
                      <a:pt x="4" y="73"/>
                    </a:cubicBezTo>
                    <a:cubicBezTo>
                      <a:pt x="3" y="74"/>
                      <a:pt x="5" y="76"/>
                      <a:pt x="5" y="78"/>
                    </a:cubicBezTo>
                    <a:cubicBezTo>
                      <a:pt x="6" y="80"/>
                      <a:pt x="5" y="81"/>
                      <a:pt x="5" y="83"/>
                    </a:cubicBezTo>
                    <a:cubicBezTo>
                      <a:pt x="5" y="84"/>
                      <a:pt x="4" y="84"/>
                      <a:pt x="4" y="85"/>
                    </a:cubicBezTo>
                    <a:cubicBezTo>
                      <a:pt x="4" y="85"/>
                      <a:pt x="4" y="85"/>
                      <a:pt x="4" y="85"/>
                    </a:cubicBezTo>
                    <a:cubicBezTo>
                      <a:pt x="3" y="87"/>
                      <a:pt x="2" y="89"/>
                      <a:pt x="2" y="91"/>
                    </a:cubicBezTo>
                    <a:cubicBezTo>
                      <a:pt x="1" y="92"/>
                      <a:pt x="1" y="91"/>
                      <a:pt x="0" y="91"/>
                    </a:cubicBezTo>
                    <a:cubicBezTo>
                      <a:pt x="0" y="92"/>
                      <a:pt x="1" y="92"/>
                      <a:pt x="2" y="93"/>
                    </a:cubicBezTo>
                    <a:cubicBezTo>
                      <a:pt x="3" y="95"/>
                      <a:pt x="3" y="94"/>
                      <a:pt x="4" y="95"/>
                    </a:cubicBezTo>
                    <a:cubicBezTo>
                      <a:pt x="5" y="97"/>
                      <a:pt x="4" y="97"/>
                      <a:pt x="3" y="97"/>
                    </a:cubicBezTo>
                    <a:cubicBezTo>
                      <a:pt x="2" y="97"/>
                      <a:pt x="3" y="97"/>
                      <a:pt x="3" y="98"/>
                    </a:cubicBezTo>
                    <a:cubicBezTo>
                      <a:pt x="2" y="98"/>
                      <a:pt x="3" y="98"/>
                      <a:pt x="2" y="100"/>
                    </a:cubicBezTo>
                    <a:cubicBezTo>
                      <a:pt x="2" y="101"/>
                      <a:pt x="3" y="100"/>
                      <a:pt x="4" y="101"/>
                    </a:cubicBezTo>
                    <a:cubicBezTo>
                      <a:pt x="4" y="101"/>
                      <a:pt x="4" y="101"/>
                      <a:pt x="4" y="102"/>
                    </a:cubicBezTo>
                    <a:cubicBezTo>
                      <a:pt x="4" y="102"/>
                      <a:pt x="4" y="102"/>
                      <a:pt x="4" y="102"/>
                    </a:cubicBezTo>
                    <a:cubicBezTo>
                      <a:pt x="4" y="102"/>
                      <a:pt x="4" y="102"/>
                      <a:pt x="4" y="102"/>
                    </a:cubicBezTo>
                    <a:cubicBezTo>
                      <a:pt x="5" y="102"/>
                      <a:pt x="5" y="103"/>
                      <a:pt x="5" y="104"/>
                    </a:cubicBezTo>
                    <a:cubicBezTo>
                      <a:pt x="5" y="104"/>
                      <a:pt x="6" y="104"/>
                      <a:pt x="7" y="104"/>
                    </a:cubicBezTo>
                    <a:cubicBezTo>
                      <a:pt x="7" y="104"/>
                      <a:pt x="7" y="105"/>
                      <a:pt x="8" y="106"/>
                    </a:cubicBezTo>
                    <a:cubicBezTo>
                      <a:pt x="8" y="106"/>
                      <a:pt x="8" y="106"/>
                      <a:pt x="8" y="107"/>
                    </a:cubicBezTo>
                    <a:cubicBezTo>
                      <a:pt x="8" y="107"/>
                      <a:pt x="8" y="107"/>
                      <a:pt x="8" y="107"/>
                    </a:cubicBezTo>
                    <a:cubicBezTo>
                      <a:pt x="8" y="107"/>
                      <a:pt x="9" y="107"/>
                      <a:pt x="9" y="108"/>
                    </a:cubicBezTo>
                    <a:cubicBezTo>
                      <a:pt x="10" y="108"/>
                      <a:pt x="10" y="109"/>
                      <a:pt x="10" y="109"/>
                    </a:cubicBezTo>
                    <a:cubicBezTo>
                      <a:pt x="11" y="109"/>
                      <a:pt x="12" y="111"/>
                      <a:pt x="14" y="113"/>
                    </a:cubicBezTo>
                    <a:cubicBezTo>
                      <a:pt x="14" y="114"/>
                      <a:pt x="14" y="114"/>
                      <a:pt x="15" y="114"/>
                    </a:cubicBezTo>
                    <a:cubicBezTo>
                      <a:pt x="15" y="114"/>
                      <a:pt x="15" y="114"/>
                      <a:pt x="15" y="114"/>
                    </a:cubicBezTo>
                    <a:cubicBezTo>
                      <a:pt x="16" y="112"/>
                      <a:pt x="16" y="112"/>
                      <a:pt x="16" y="112"/>
                    </a:cubicBezTo>
                    <a:cubicBezTo>
                      <a:pt x="15" y="114"/>
                      <a:pt x="15" y="114"/>
                      <a:pt x="15" y="114"/>
                    </a:cubicBezTo>
                    <a:cubicBezTo>
                      <a:pt x="15" y="114"/>
                      <a:pt x="15" y="114"/>
                      <a:pt x="15" y="114"/>
                    </a:cubicBezTo>
                    <a:cubicBezTo>
                      <a:pt x="15" y="115"/>
                      <a:pt x="14" y="114"/>
                      <a:pt x="14" y="115"/>
                    </a:cubicBezTo>
                    <a:cubicBezTo>
                      <a:pt x="13" y="117"/>
                      <a:pt x="14" y="116"/>
                      <a:pt x="15" y="117"/>
                    </a:cubicBezTo>
                    <a:cubicBezTo>
                      <a:pt x="15" y="118"/>
                      <a:pt x="16" y="118"/>
                      <a:pt x="16" y="119"/>
                    </a:cubicBezTo>
                    <a:cubicBezTo>
                      <a:pt x="16" y="119"/>
                      <a:pt x="16" y="120"/>
                      <a:pt x="17" y="121"/>
                    </a:cubicBezTo>
                    <a:cubicBezTo>
                      <a:pt x="17" y="121"/>
                      <a:pt x="17" y="121"/>
                      <a:pt x="18" y="121"/>
                    </a:cubicBezTo>
                    <a:cubicBezTo>
                      <a:pt x="18" y="121"/>
                      <a:pt x="18" y="121"/>
                      <a:pt x="19" y="123"/>
                    </a:cubicBezTo>
                    <a:cubicBezTo>
                      <a:pt x="19" y="123"/>
                      <a:pt x="19" y="123"/>
                      <a:pt x="19" y="123"/>
                    </a:cubicBezTo>
                    <a:cubicBezTo>
                      <a:pt x="20" y="123"/>
                      <a:pt x="20" y="123"/>
                      <a:pt x="21" y="124"/>
                    </a:cubicBezTo>
                    <a:cubicBezTo>
                      <a:pt x="23" y="127"/>
                      <a:pt x="22" y="124"/>
                      <a:pt x="23" y="124"/>
                    </a:cubicBezTo>
                    <a:cubicBezTo>
                      <a:pt x="24" y="125"/>
                      <a:pt x="23" y="125"/>
                      <a:pt x="24" y="127"/>
                    </a:cubicBezTo>
                    <a:cubicBezTo>
                      <a:pt x="26" y="129"/>
                      <a:pt x="27" y="128"/>
                      <a:pt x="29" y="130"/>
                    </a:cubicBezTo>
                    <a:cubicBezTo>
                      <a:pt x="30" y="131"/>
                      <a:pt x="30" y="131"/>
                      <a:pt x="31" y="132"/>
                    </a:cubicBezTo>
                    <a:cubicBezTo>
                      <a:pt x="31" y="132"/>
                      <a:pt x="32" y="133"/>
                      <a:pt x="32" y="133"/>
                    </a:cubicBezTo>
                    <a:cubicBezTo>
                      <a:pt x="32" y="129"/>
                      <a:pt x="32" y="129"/>
                      <a:pt x="32" y="129"/>
                    </a:cubicBezTo>
                    <a:cubicBezTo>
                      <a:pt x="34" y="127"/>
                      <a:pt x="34" y="127"/>
                      <a:pt x="34" y="127"/>
                    </a:cubicBezTo>
                    <a:cubicBezTo>
                      <a:pt x="34" y="127"/>
                      <a:pt x="34" y="127"/>
                      <a:pt x="34" y="127"/>
                    </a:cubicBezTo>
                    <a:cubicBezTo>
                      <a:pt x="32" y="129"/>
                      <a:pt x="32" y="129"/>
                      <a:pt x="32" y="129"/>
                    </a:cubicBezTo>
                    <a:cubicBezTo>
                      <a:pt x="32" y="133"/>
                      <a:pt x="32" y="133"/>
                      <a:pt x="32" y="133"/>
                    </a:cubicBezTo>
                    <a:cubicBezTo>
                      <a:pt x="33" y="133"/>
                      <a:pt x="33" y="131"/>
                      <a:pt x="34" y="131"/>
                    </a:cubicBezTo>
                    <a:cubicBezTo>
                      <a:pt x="35" y="130"/>
                      <a:pt x="36" y="130"/>
                      <a:pt x="39" y="129"/>
                    </a:cubicBezTo>
                    <a:cubicBezTo>
                      <a:pt x="41" y="128"/>
                      <a:pt x="41" y="129"/>
                      <a:pt x="44" y="129"/>
                    </a:cubicBezTo>
                    <a:cubicBezTo>
                      <a:pt x="45" y="129"/>
                      <a:pt x="47" y="129"/>
                      <a:pt x="47" y="130"/>
                    </a:cubicBezTo>
                    <a:cubicBezTo>
                      <a:pt x="47" y="127"/>
                      <a:pt x="47" y="127"/>
                      <a:pt x="47" y="127"/>
                    </a:cubicBezTo>
                    <a:cubicBezTo>
                      <a:pt x="46" y="124"/>
                      <a:pt x="46" y="124"/>
                      <a:pt x="46" y="124"/>
                    </a:cubicBezTo>
                    <a:cubicBezTo>
                      <a:pt x="46" y="124"/>
                      <a:pt x="46" y="124"/>
                      <a:pt x="46" y="124"/>
                    </a:cubicBezTo>
                    <a:cubicBezTo>
                      <a:pt x="47" y="127"/>
                      <a:pt x="47" y="127"/>
                      <a:pt x="47" y="127"/>
                    </a:cubicBezTo>
                    <a:cubicBezTo>
                      <a:pt x="47" y="130"/>
                      <a:pt x="47" y="130"/>
                      <a:pt x="47" y="130"/>
                    </a:cubicBezTo>
                    <a:cubicBezTo>
                      <a:pt x="48" y="130"/>
                      <a:pt x="48" y="130"/>
                      <a:pt x="48" y="130"/>
                    </a:cubicBezTo>
                    <a:cubicBezTo>
                      <a:pt x="49" y="130"/>
                      <a:pt x="49" y="130"/>
                      <a:pt x="50" y="131"/>
                    </a:cubicBezTo>
                    <a:cubicBezTo>
                      <a:pt x="50" y="131"/>
                      <a:pt x="50" y="131"/>
                      <a:pt x="50" y="131"/>
                    </a:cubicBezTo>
                    <a:cubicBezTo>
                      <a:pt x="51" y="130"/>
                      <a:pt x="51" y="130"/>
                      <a:pt x="52" y="130"/>
                    </a:cubicBezTo>
                    <a:cubicBezTo>
                      <a:pt x="52" y="129"/>
                      <a:pt x="52" y="129"/>
                      <a:pt x="52" y="129"/>
                    </a:cubicBezTo>
                    <a:cubicBezTo>
                      <a:pt x="52" y="129"/>
                      <a:pt x="52" y="129"/>
                      <a:pt x="52" y="129"/>
                    </a:cubicBezTo>
                    <a:cubicBezTo>
                      <a:pt x="53" y="129"/>
                      <a:pt x="53" y="129"/>
                      <a:pt x="54" y="129"/>
                    </a:cubicBezTo>
                    <a:cubicBezTo>
                      <a:pt x="54" y="129"/>
                      <a:pt x="54" y="129"/>
                      <a:pt x="54" y="129"/>
                    </a:cubicBezTo>
                    <a:cubicBezTo>
                      <a:pt x="54" y="128"/>
                      <a:pt x="54" y="128"/>
                      <a:pt x="55" y="128"/>
                    </a:cubicBezTo>
                    <a:cubicBezTo>
                      <a:pt x="56" y="127"/>
                      <a:pt x="56" y="127"/>
                      <a:pt x="56" y="127"/>
                    </a:cubicBezTo>
                    <a:cubicBezTo>
                      <a:pt x="56" y="127"/>
                      <a:pt x="57" y="127"/>
                      <a:pt x="57" y="127"/>
                    </a:cubicBezTo>
                    <a:cubicBezTo>
                      <a:pt x="57" y="127"/>
                      <a:pt x="57" y="127"/>
                      <a:pt x="57" y="127"/>
                    </a:cubicBezTo>
                    <a:cubicBezTo>
                      <a:pt x="58" y="126"/>
                      <a:pt x="58" y="127"/>
                      <a:pt x="58" y="127"/>
                    </a:cubicBezTo>
                    <a:cubicBezTo>
                      <a:pt x="58" y="127"/>
                      <a:pt x="59" y="127"/>
                      <a:pt x="60" y="126"/>
                    </a:cubicBezTo>
                    <a:cubicBezTo>
                      <a:pt x="60" y="126"/>
                      <a:pt x="60" y="126"/>
                      <a:pt x="60" y="126"/>
                    </a:cubicBezTo>
                    <a:cubicBezTo>
                      <a:pt x="59" y="125"/>
                      <a:pt x="59" y="125"/>
                      <a:pt x="59" y="125"/>
                    </a:cubicBezTo>
                    <a:cubicBezTo>
                      <a:pt x="59" y="125"/>
                      <a:pt x="59" y="125"/>
                      <a:pt x="59" y="125"/>
                    </a:cubicBezTo>
                    <a:cubicBezTo>
                      <a:pt x="60" y="126"/>
                      <a:pt x="60" y="126"/>
                      <a:pt x="60" y="126"/>
                    </a:cubicBezTo>
                    <a:cubicBezTo>
                      <a:pt x="61" y="126"/>
                      <a:pt x="61" y="125"/>
                      <a:pt x="61" y="125"/>
                    </a:cubicBezTo>
                    <a:cubicBezTo>
                      <a:pt x="61" y="125"/>
                      <a:pt x="62" y="125"/>
                      <a:pt x="62" y="125"/>
                    </a:cubicBezTo>
                    <a:cubicBezTo>
                      <a:pt x="62" y="125"/>
                      <a:pt x="62" y="125"/>
                      <a:pt x="62" y="125"/>
                    </a:cubicBezTo>
                    <a:cubicBezTo>
                      <a:pt x="63" y="125"/>
                      <a:pt x="63" y="125"/>
                      <a:pt x="63" y="124"/>
                    </a:cubicBezTo>
                    <a:cubicBezTo>
                      <a:pt x="64" y="124"/>
                      <a:pt x="65" y="124"/>
                      <a:pt x="65" y="124"/>
                    </a:cubicBezTo>
                    <a:cubicBezTo>
                      <a:pt x="65" y="122"/>
                      <a:pt x="65" y="122"/>
                      <a:pt x="65" y="122"/>
                    </a:cubicBezTo>
                    <a:cubicBezTo>
                      <a:pt x="65" y="124"/>
                      <a:pt x="65" y="124"/>
                      <a:pt x="65" y="124"/>
                    </a:cubicBezTo>
                    <a:cubicBezTo>
                      <a:pt x="65" y="124"/>
                      <a:pt x="66" y="124"/>
                      <a:pt x="66" y="124"/>
                    </a:cubicBezTo>
                    <a:cubicBezTo>
                      <a:pt x="67" y="124"/>
                      <a:pt x="67" y="124"/>
                      <a:pt x="70" y="124"/>
                    </a:cubicBezTo>
                    <a:cubicBezTo>
                      <a:pt x="73" y="124"/>
                      <a:pt x="72" y="126"/>
                      <a:pt x="72" y="126"/>
                    </a:cubicBezTo>
                    <a:cubicBezTo>
                      <a:pt x="72" y="126"/>
                      <a:pt x="73" y="127"/>
                      <a:pt x="73" y="128"/>
                    </a:cubicBezTo>
                    <a:cubicBezTo>
                      <a:pt x="73" y="129"/>
                      <a:pt x="74" y="130"/>
                      <a:pt x="74" y="131"/>
                    </a:cubicBezTo>
                    <a:cubicBezTo>
                      <a:pt x="75" y="132"/>
                      <a:pt x="75" y="132"/>
                      <a:pt x="75" y="133"/>
                    </a:cubicBezTo>
                    <a:cubicBezTo>
                      <a:pt x="76" y="133"/>
                      <a:pt x="77" y="133"/>
                      <a:pt x="77" y="133"/>
                    </a:cubicBezTo>
                    <a:cubicBezTo>
                      <a:pt x="78" y="132"/>
                      <a:pt x="78" y="132"/>
                      <a:pt x="79" y="131"/>
                    </a:cubicBezTo>
                    <a:cubicBezTo>
                      <a:pt x="80" y="130"/>
                      <a:pt x="80" y="131"/>
                      <a:pt x="80" y="132"/>
                    </a:cubicBezTo>
                    <a:cubicBezTo>
                      <a:pt x="81" y="132"/>
                      <a:pt x="82" y="132"/>
                      <a:pt x="82" y="132"/>
                    </a:cubicBezTo>
                    <a:cubicBezTo>
                      <a:pt x="83" y="131"/>
                      <a:pt x="83" y="131"/>
                      <a:pt x="83" y="130"/>
                    </a:cubicBezTo>
                    <a:cubicBezTo>
                      <a:pt x="83" y="130"/>
                      <a:pt x="84" y="130"/>
                      <a:pt x="84" y="131"/>
                    </a:cubicBezTo>
                    <a:cubicBezTo>
                      <a:pt x="84" y="131"/>
                      <a:pt x="85" y="132"/>
                      <a:pt x="85" y="133"/>
                    </a:cubicBezTo>
                    <a:cubicBezTo>
                      <a:pt x="85" y="134"/>
                      <a:pt x="88" y="134"/>
                      <a:pt x="88" y="137"/>
                    </a:cubicBezTo>
                    <a:cubicBezTo>
                      <a:pt x="88" y="138"/>
                      <a:pt x="89" y="139"/>
                      <a:pt x="88" y="140"/>
                    </a:cubicBezTo>
                    <a:cubicBezTo>
                      <a:pt x="88" y="140"/>
                      <a:pt x="88" y="140"/>
                      <a:pt x="88" y="140"/>
                    </a:cubicBezTo>
                    <a:cubicBezTo>
                      <a:pt x="88" y="141"/>
                      <a:pt x="88" y="141"/>
                      <a:pt x="88" y="142"/>
                    </a:cubicBezTo>
                    <a:cubicBezTo>
                      <a:pt x="87" y="144"/>
                      <a:pt x="87" y="144"/>
                      <a:pt x="87" y="144"/>
                    </a:cubicBezTo>
                    <a:cubicBezTo>
                      <a:pt x="86" y="144"/>
                      <a:pt x="86" y="145"/>
                      <a:pt x="86" y="145"/>
                    </a:cubicBezTo>
                    <a:cubicBezTo>
                      <a:pt x="86" y="145"/>
                      <a:pt x="86" y="145"/>
                      <a:pt x="86" y="145"/>
                    </a:cubicBezTo>
                    <a:cubicBezTo>
                      <a:pt x="86" y="146"/>
                      <a:pt x="86" y="147"/>
                      <a:pt x="86" y="147"/>
                    </a:cubicBezTo>
                    <a:cubicBezTo>
                      <a:pt x="86" y="148"/>
                      <a:pt x="86" y="149"/>
                      <a:pt x="85" y="151"/>
                    </a:cubicBezTo>
                    <a:cubicBezTo>
                      <a:pt x="85" y="152"/>
                      <a:pt x="85" y="151"/>
                      <a:pt x="85" y="152"/>
                    </a:cubicBezTo>
                    <a:cubicBezTo>
                      <a:pt x="85" y="153"/>
                      <a:pt x="89" y="160"/>
                      <a:pt x="90" y="162"/>
                    </a:cubicBezTo>
                    <a:cubicBezTo>
                      <a:pt x="91" y="162"/>
                      <a:pt x="91" y="163"/>
                      <a:pt x="92" y="163"/>
                    </a:cubicBezTo>
                    <a:cubicBezTo>
                      <a:pt x="93" y="163"/>
                      <a:pt x="93" y="163"/>
                      <a:pt x="93" y="163"/>
                    </a:cubicBezTo>
                    <a:cubicBezTo>
                      <a:pt x="92" y="163"/>
                      <a:pt x="92" y="163"/>
                      <a:pt x="92" y="163"/>
                    </a:cubicBezTo>
                    <a:cubicBezTo>
                      <a:pt x="93" y="165"/>
                      <a:pt x="94" y="167"/>
                      <a:pt x="95" y="168"/>
                    </a:cubicBezTo>
                    <a:cubicBezTo>
                      <a:pt x="95" y="168"/>
                      <a:pt x="95" y="168"/>
                      <a:pt x="95" y="168"/>
                    </a:cubicBezTo>
                    <a:cubicBezTo>
                      <a:pt x="95" y="168"/>
                      <a:pt x="95" y="168"/>
                      <a:pt x="95" y="168"/>
                    </a:cubicBezTo>
                    <a:cubicBezTo>
                      <a:pt x="95" y="168"/>
                      <a:pt x="95" y="168"/>
                      <a:pt x="95" y="168"/>
                    </a:cubicBezTo>
                    <a:cubicBezTo>
                      <a:pt x="95" y="169"/>
                      <a:pt x="95" y="170"/>
                      <a:pt x="96" y="172"/>
                    </a:cubicBezTo>
                    <a:cubicBezTo>
                      <a:pt x="96" y="172"/>
                      <a:pt x="96" y="172"/>
                      <a:pt x="96" y="172"/>
                    </a:cubicBezTo>
                    <a:cubicBezTo>
                      <a:pt x="96" y="173"/>
                      <a:pt x="97" y="174"/>
                      <a:pt x="97" y="175"/>
                    </a:cubicBezTo>
                    <a:cubicBezTo>
                      <a:pt x="98" y="176"/>
                      <a:pt x="98" y="179"/>
                      <a:pt x="99" y="181"/>
                    </a:cubicBezTo>
                    <a:cubicBezTo>
                      <a:pt x="101" y="183"/>
                      <a:pt x="99" y="182"/>
                      <a:pt x="98" y="183"/>
                    </a:cubicBezTo>
                    <a:cubicBezTo>
                      <a:pt x="98" y="184"/>
                      <a:pt x="98" y="184"/>
                      <a:pt x="99" y="187"/>
                    </a:cubicBezTo>
                    <a:cubicBezTo>
                      <a:pt x="100" y="189"/>
                      <a:pt x="100" y="189"/>
                      <a:pt x="100" y="191"/>
                    </a:cubicBezTo>
                    <a:cubicBezTo>
                      <a:pt x="100" y="192"/>
                      <a:pt x="101" y="193"/>
                      <a:pt x="100" y="196"/>
                    </a:cubicBezTo>
                    <a:cubicBezTo>
                      <a:pt x="99" y="198"/>
                      <a:pt x="99" y="197"/>
                      <a:pt x="98" y="198"/>
                    </a:cubicBezTo>
                    <a:cubicBezTo>
                      <a:pt x="97" y="200"/>
                      <a:pt x="96" y="201"/>
                      <a:pt x="96" y="204"/>
                    </a:cubicBezTo>
                    <a:cubicBezTo>
                      <a:pt x="95" y="206"/>
                      <a:pt x="95" y="208"/>
                      <a:pt x="95" y="209"/>
                    </a:cubicBezTo>
                    <a:cubicBezTo>
                      <a:pt x="95" y="209"/>
                      <a:pt x="94" y="212"/>
                      <a:pt x="94" y="215"/>
                    </a:cubicBezTo>
                    <a:cubicBezTo>
                      <a:pt x="94" y="215"/>
                      <a:pt x="94" y="215"/>
                      <a:pt x="94" y="215"/>
                    </a:cubicBezTo>
                    <a:cubicBezTo>
                      <a:pt x="94" y="217"/>
                      <a:pt x="94" y="219"/>
                      <a:pt x="95" y="220"/>
                    </a:cubicBezTo>
                    <a:cubicBezTo>
                      <a:pt x="96" y="224"/>
                      <a:pt x="96" y="224"/>
                      <a:pt x="100" y="231"/>
                    </a:cubicBezTo>
                    <a:cubicBezTo>
                      <a:pt x="103" y="239"/>
                      <a:pt x="103" y="239"/>
                      <a:pt x="103" y="241"/>
                    </a:cubicBezTo>
                    <a:cubicBezTo>
                      <a:pt x="102" y="244"/>
                      <a:pt x="104" y="247"/>
                      <a:pt x="103" y="249"/>
                    </a:cubicBezTo>
                    <a:cubicBezTo>
                      <a:pt x="103" y="251"/>
                      <a:pt x="104" y="253"/>
                      <a:pt x="105" y="256"/>
                    </a:cubicBezTo>
                    <a:cubicBezTo>
                      <a:pt x="106" y="259"/>
                      <a:pt x="107" y="260"/>
                      <a:pt x="109" y="262"/>
                    </a:cubicBezTo>
                    <a:cubicBezTo>
                      <a:pt x="110" y="261"/>
                      <a:pt x="110" y="261"/>
                      <a:pt x="110" y="261"/>
                    </a:cubicBezTo>
                    <a:cubicBezTo>
                      <a:pt x="110" y="260"/>
                      <a:pt x="110" y="260"/>
                      <a:pt x="110" y="260"/>
                    </a:cubicBezTo>
                    <a:cubicBezTo>
                      <a:pt x="110" y="261"/>
                      <a:pt x="110" y="261"/>
                      <a:pt x="110" y="261"/>
                    </a:cubicBezTo>
                    <a:cubicBezTo>
                      <a:pt x="109" y="262"/>
                      <a:pt x="109" y="262"/>
                      <a:pt x="109" y="262"/>
                    </a:cubicBezTo>
                    <a:cubicBezTo>
                      <a:pt x="109" y="262"/>
                      <a:pt x="109" y="262"/>
                      <a:pt x="109" y="262"/>
                    </a:cubicBezTo>
                    <a:cubicBezTo>
                      <a:pt x="111" y="264"/>
                      <a:pt x="111" y="266"/>
                      <a:pt x="111" y="268"/>
                    </a:cubicBezTo>
                    <a:cubicBezTo>
                      <a:pt x="112" y="270"/>
                      <a:pt x="114" y="272"/>
                      <a:pt x="115" y="275"/>
                    </a:cubicBezTo>
                    <a:cubicBezTo>
                      <a:pt x="116" y="279"/>
                      <a:pt x="116" y="279"/>
                      <a:pt x="116" y="279"/>
                    </a:cubicBezTo>
                    <a:cubicBezTo>
                      <a:pt x="116" y="278"/>
                      <a:pt x="115" y="278"/>
                      <a:pt x="114" y="278"/>
                    </a:cubicBezTo>
                    <a:cubicBezTo>
                      <a:pt x="114" y="279"/>
                      <a:pt x="114" y="279"/>
                      <a:pt x="114" y="279"/>
                    </a:cubicBezTo>
                    <a:cubicBezTo>
                      <a:pt x="114" y="279"/>
                      <a:pt x="114" y="280"/>
                      <a:pt x="114" y="281"/>
                    </a:cubicBezTo>
                    <a:cubicBezTo>
                      <a:pt x="114" y="281"/>
                      <a:pt x="114" y="281"/>
                      <a:pt x="114" y="281"/>
                    </a:cubicBezTo>
                    <a:cubicBezTo>
                      <a:pt x="114" y="281"/>
                      <a:pt x="114" y="281"/>
                      <a:pt x="114" y="281"/>
                    </a:cubicBezTo>
                    <a:cubicBezTo>
                      <a:pt x="115" y="282"/>
                      <a:pt x="115" y="283"/>
                      <a:pt x="115" y="284"/>
                    </a:cubicBezTo>
                    <a:cubicBezTo>
                      <a:pt x="115" y="284"/>
                      <a:pt x="115" y="285"/>
                      <a:pt x="115" y="285"/>
                    </a:cubicBezTo>
                    <a:cubicBezTo>
                      <a:pt x="115" y="285"/>
                      <a:pt x="115" y="285"/>
                      <a:pt x="115" y="285"/>
                    </a:cubicBezTo>
                    <a:cubicBezTo>
                      <a:pt x="116" y="285"/>
                      <a:pt x="116" y="285"/>
                      <a:pt x="116" y="285"/>
                    </a:cubicBezTo>
                    <a:cubicBezTo>
                      <a:pt x="116" y="285"/>
                      <a:pt x="116" y="285"/>
                      <a:pt x="116" y="285"/>
                    </a:cubicBezTo>
                    <a:cubicBezTo>
                      <a:pt x="116" y="285"/>
                      <a:pt x="116" y="285"/>
                      <a:pt x="116" y="285"/>
                    </a:cubicBezTo>
                    <a:cubicBezTo>
                      <a:pt x="117" y="285"/>
                      <a:pt x="117" y="286"/>
                      <a:pt x="117" y="286"/>
                    </a:cubicBezTo>
                    <a:cubicBezTo>
                      <a:pt x="118" y="286"/>
                      <a:pt x="118" y="286"/>
                      <a:pt x="118" y="286"/>
                    </a:cubicBezTo>
                    <a:cubicBezTo>
                      <a:pt x="118" y="286"/>
                      <a:pt x="118" y="286"/>
                      <a:pt x="118" y="287"/>
                    </a:cubicBezTo>
                    <a:cubicBezTo>
                      <a:pt x="118" y="287"/>
                      <a:pt x="119" y="287"/>
                      <a:pt x="119" y="288"/>
                    </a:cubicBezTo>
                    <a:cubicBezTo>
                      <a:pt x="120" y="288"/>
                      <a:pt x="120" y="288"/>
                      <a:pt x="120" y="288"/>
                    </a:cubicBezTo>
                    <a:cubicBezTo>
                      <a:pt x="120" y="288"/>
                      <a:pt x="120" y="287"/>
                      <a:pt x="121" y="287"/>
                    </a:cubicBezTo>
                    <a:cubicBezTo>
                      <a:pt x="122" y="286"/>
                      <a:pt x="122" y="286"/>
                      <a:pt x="122" y="286"/>
                    </a:cubicBezTo>
                    <a:cubicBezTo>
                      <a:pt x="124" y="285"/>
                      <a:pt x="123" y="286"/>
                      <a:pt x="123" y="286"/>
                    </a:cubicBezTo>
                    <a:cubicBezTo>
                      <a:pt x="123" y="287"/>
                      <a:pt x="124" y="286"/>
                      <a:pt x="125" y="286"/>
                    </a:cubicBezTo>
                    <a:cubicBezTo>
                      <a:pt x="125" y="286"/>
                      <a:pt x="126" y="285"/>
                      <a:pt x="127" y="285"/>
                    </a:cubicBezTo>
                    <a:cubicBezTo>
                      <a:pt x="127" y="285"/>
                      <a:pt x="128" y="285"/>
                      <a:pt x="130" y="284"/>
                    </a:cubicBezTo>
                    <a:cubicBezTo>
                      <a:pt x="131" y="284"/>
                      <a:pt x="131" y="285"/>
                      <a:pt x="131" y="285"/>
                    </a:cubicBezTo>
                    <a:cubicBezTo>
                      <a:pt x="132" y="285"/>
                      <a:pt x="132" y="285"/>
                      <a:pt x="133" y="285"/>
                    </a:cubicBezTo>
                    <a:cubicBezTo>
                      <a:pt x="134" y="286"/>
                      <a:pt x="134" y="286"/>
                      <a:pt x="135" y="285"/>
                    </a:cubicBezTo>
                    <a:cubicBezTo>
                      <a:pt x="137" y="284"/>
                      <a:pt x="137" y="284"/>
                      <a:pt x="138" y="284"/>
                    </a:cubicBezTo>
                    <a:cubicBezTo>
                      <a:pt x="138" y="284"/>
                      <a:pt x="138" y="284"/>
                      <a:pt x="139" y="283"/>
                    </a:cubicBezTo>
                    <a:cubicBezTo>
                      <a:pt x="141" y="283"/>
                      <a:pt x="140" y="283"/>
                      <a:pt x="141" y="283"/>
                    </a:cubicBezTo>
                    <a:cubicBezTo>
                      <a:pt x="142" y="283"/>
                      <a:pt x="143" y="282"/>
                      <a:pt x="144" y="282"/>
                    </a:cubicBezTo>
                    <a:cubicBezTo>
                      <a:pt x="145" y="281"/>
                      <a:pt x="148" y="279"/>
                      <a:pt x="150" y="276"/>
                    </a:cubicBezTo>
                    <a:cubicBezTo>
                      <a:pt x="151" y="274"/>
                      <a:pt x="151" y="275"/>
                      <a:pt x="154" y="270"/>
                    </a:cubicBezTo>
                    <a:cubicBezTo>
                      <a:pt x="156" y="266"/>
                      <a:pt x="156" y="267"/>
                      <a:pt x="157" y="264"/>
                    </a:cubicBezTo>
                    <a:cubicBezTo>
                      <a:pt x="159" y="260"/>
                      <a:pt x="158" y="263"/>
                      <a:pt x="159" y="262"/>
                    </a:cubicBezTo>
                    <a:cubicBezTo>
                      <a:pt x="161" y="261"/>
                      <a:pt x="161" y="257"/>
                      <a:pt x="162" y="255"/>
                    </a:cubicBezTo>
                    <a:cubicBezTo>
                      <a:pt x="159" y="255"/>
                      <a:pt x="159" y="255"/>
                      <a:pt x="159" y="255"/>
                    </a:cubicBezTo>
                    <a:cubicBezTo>
                      <a:pt x="159" y="256"/>
                      <a:pt x="159" y="256"/>
                      <a:pt x="159" y="256"/>
                    </a:cubicBezTo>
                    <a:cubicBezTo>
                      <a:pt x="157" y="256"/>
                      <a:pt x="157" y="256"/>
                      <a:pt x="157" y="256"/>
                    </a:cubicBezTo>
                    <a:cubicBezTo>
                      <a:pt x="156" y="255"/>
                      <a:pt x="156" y="255"/>
                      <a:pt x="156" y="255"/>
                    </a:cubicBezTo>
                    <a:cubicBezTo>
                      <a:pt x="155" y="254"/>
                      <a:pt x="155" y="254"/>
                      <a:pt x="155" y="254"/>
                    </a:cubicBezTo>
                    <a:cubicBezTo>
                      <a:pt x="155" y="253"/>
                      <a:pt x="155" y="253"/>
                      <a:pt x="155" y="253"/>
                    </a:cubicBezTo>
                    <a:cubicBezTo>
                      <a:pt x="156" y="251"/>
                      <a:pt x="156" y="251"/>
                      <a:pt x="156" y="251"/>
                    </a:cubicBezTo>
                    <a:cubicBezTo>
                      <a:pt x="156" y="251"/>
                      <a:pt x="156" y="251"/>
                      <a:pt x="156" y="250"/>
                    </a:cubicBezTo>
                    <a:cubicBezTo>
                      <a:pt x="157" y="250"/>
                      <a:pt x="157" y="250"/>
                      <a:pt x="157" y="250"/>
                    </a:cubicBezTo>
                    <a:cubicBezTo>
                      <a:pt x="158" y="251"/>
                      <a:pt x="158" y="251"/>
                      <a:pt x="158" y="251"/>
                    </a:cubicBezTo>
                    <a:cubicBezTo>
                      <a:pt x="158" y="251"/>
                      <a:pt x="158" y="251"/>
                      <a:pt x="158" y="251"/>
                    </a:cubicBezTo>
                    <a:cubicBezTo>
                      <a:pt x="159" y="251"/>
                      <a:pt x="159" y="251"/>
                      <a:pt x="159" y="251"/>
                    </a:cubicBezTo>
                    <a:cubicBezTo>
                      <a:pt x="159" y="252"/>
                      <a:pt x="159" y="252"/>
                      <a:pt x="159" y="252"/>
                    </a:cubicBezTo>
                    <a:cubicBezTo>
                      <a:pt x="159" y="253"/>
                      <a:pt x="159" y="253"/>
                      <a:pt x="159" y="253"/>
                    </a:cubicBezTo>
                    <a:cubicBezTo>
                      <a:pt x="159" y="255"/>
                      <a:pt x="159" y="255"/>
                      <a:pt x="159" y="255"/>
                    </a:cubicBezTo>
                    <a:cubicBezTo>
                      <a:pt x="162" y="255"/>
                      <a:pt x="162" y="255"/>
                      <a:pt x="162" y="255"/>
                    </a:cubicBezTo>
                    <a:cubicBezTo>
                      <a:pt x="162" y="254"/>
                      <a:pt x="162" y="254"/>
                      <a:pt x="162" y="254"/>
                    </a:cubicBezTo>
                    <a:cubicBezTo>
                      <a:pt x="162" y="253"/>
                      <a:pt x="162" y="253"/>
                      <a:pt x="162" y="251"/>
                    </a:cubicBezTo>
                    <a:cubicBezTo>
                      <a:pt x="162" y="250"/>
                      <a:pt x="162" y="252"/>
                      <a:pt x="161" y="253"/>
                    </a:cubicBezTo>
                    <a:cubicBezTo>
                      <a:pt x="161" y="253"/>
                      <a:pt x="161" y="252"/>
                      <a:pt x="161" y="251"/>
                    </a:cubicBezTo>
                    <a:cubicBezTo>
                      <a:pt x="161" y="250"/>
                      <a:pt x="161" y="250"/>
                      <a:pt x="162" y="249"/>
                    </a:cubicBezTo>
                    <a:cubicBezTo>
                      <a:pt x="163" y="248"/>
                      <a:pt x="164" y="248"/>
                      <a:pt x="165" y="248"/>
                    </a:cubicBezTo>
                    <a:cubicBezTo>
                      <a:pt x="165" y="247"/>
                      <a:pt x="167" y="246"/>
                      <a:pt x="169" y="245"/>
                    </a:cubicBezTo>
                    <a:cubicBezTo>
                      <a:pt x="170" y="244"/>
                      <a:pt x="169" y="243"/>
                      <a:pt x="170" y="242"/>
                    </a:cubicBezTo>
                    <a:cubicBezTo>
                      <a:pt x="170" y="241"/>
                      <a:pt x="170" y="241"/>
                      <a:pt x="170" y="239"/>
                    </a:cubicBezTo>
                    <a:cubicBezTo>
                      <a:pt x="169" y="237"/>
                      <a:pt x="170" y="237"/>
                      <a:pt x="170" y="236"/>
                    </a:cubicBezTo>
                    <a:cubicBezTo>
                      <a:pt x="169" y="235"/>
                      <a:pt x="169" y="235"/>
                      <a:pt x="169" y="235"/>
                    </a:cubicBezTo>
                    <a:cubicBezTo>
                      <a:pt x="169" y="234"/>
                      <a:pt x="169" y="232"/>
                      <a:pt x="169" y="231"/>
                    </a:cubicBezTo>
                    <a:cubicBezTo>
                      <a:pt x="168" y="230"/>
                      <a:pt x="168" y="230"/>
                      <a:pt x="168" y="230"/>
                    </a:cubicBezTo>
                    <a:cubicBezTo>
                      <a:pt x="167" y="229"/>
                      <a:pt x="167" y="229"/>
                      <a:pt x="167" y="229"/>
                    </a:cubicBezTo>
                    <a:cubicBezTo>
                      <a:pt x="168" y="229"/>
                      <a:pt x="168" y="229"/>
                      <a:pt x="168" y="229"/>
                    </a:cubicBezTo>
                    <a:cubicBezTo>
                      <a:pt x="167" y="228"/>
                      <a:pt x="167" y="227"/>
                      <a:pt x="167" y="227"/>
                    </a:cubicBezTo>
                    <a:cubicBezTo>
                      <a:pt x="167" y="226"/>
                      <a:pt x="167" y="226"/>
                      <a:pt x="167" y="226"/>
                    </a:cubicBezTo>
                    <a:cubicBezTo>
                      <a:pt x="167" y="226"/>
                      <a:pt x="167" y="226"/>
                      <a:pt x="167" y="226"/>
                    </a:cubicBezTo>
                    <a:cubicBezTo>
                      <a:pt x="166" y="225"/>
                      <a:pt x="167" y="225"/>
                      <a:pt x="167" y="225"/>
                    </a:cubicBezTo>
                    <a:cubicBezTo>
                      <a:pt x="167" y="225"/>
                      <a:pt x="167" y="225"/>
                      <a:pt x="167" y="225"/>
                    </a:cubicBezTo>
                    <a:cubicBezTo>
                      <a:pt x="168" y="226"/>
                      <a:pt x="169" y="225"/>
                      <a:pt x="169" y="225"/>
                    </a:cubicBezTo>
                    <a:cubicBezTo>
                      <a:pt x="170" y="224"/>
                      <a:pt x="170" y="224"/>
                      <a:pt x="170" y="224"/>
                    </a:cubicBezTo>
                    <a:cubicBezTo>
                      <a:pt x="171" y="223"/>
                      <a:pt x="170" y="224"/>
                      <a:pt x="171" y="223"/>
                    </a:cubicBezTo>
                    <a:cubicBezTo>
                      <a:pt x="171" y="223"/>
                      <a:pt x="172" y="223"/>
                      <a:pt x="172" y="223"/>
                    </a:cubicBezTo>
                    <a:cubicBezTo>
                      <a:pt x="172" y="223"/>
                      <a:pt x="172" y="223"/>
                      <a:pt x="172" y="223"/>
                    </a:cubicBezTo>
                    <a:cubicBezTo>
                      <a:pt x="172" y="222"/>
                      <a:pt x="173" y="222"/>
                      <a:pt x="173" y="221"/>
                    </a:cubicBezTo>
                    <a:cubicBezTo>
                      <a:pt x="173" y="220"/>
                      <a:pt x="174" y="220"/>
                      <a:pt x="174" y="220"/>
                    </a:cubicBezTo>
                    <a:cubicBezTo>
                      <a:pt x="174" y="220"/>
                      <a:pt x="175" y="219"/>
                      <a:pt x="176" y="218"/>
                    </a:cubicBezTo>
                    <a:cubicBezTo>
                      <a:pt x="177" y="218"/>
                      <a:pt x="178" y="217"/>
                      <a:pt x="178" y="216"/>
                    </a:cubicBezTo>
                    <a:cubicBezTo>
                      <a:pt x="179" y="216"/>
                      <a:pt x="180" y="216"/>
                      <a:pt x="180" y="215"/>
                    </a:cubicBezTo>
                    <a:cubicBezTo>
                      <a:pt x="181" y="215"/>
                      <a:pt x="181" y="215"/>
                      <a:pt x="181" y="215"/>
                    </a:cubicBezTo>
                    <a:cubicBezTo>
                      <a:pt x="181" y="215"/>
                      <a:pt x="182" y="215"/>
                      <a:pt x="182" y="215"/>
                    </a:cubicBezTo>
                    <a:cubicBezTo>
                      <a:pt x="183" y="214"/>
                      <a:pt x="183" y="214"/>
                      <a:pt x="183" y="214"/>
                    </a:cubicBezTo>
                    <a:cubicBezTo>
                      <a:pt x="183" y="214"/>
                      <a:pt x="184" y="212"/>
                      <a:pt x="185" y="211"/>
                    </a:cubicBezTo>
                    <a:cubicBezTo>
                      <a:pt x="185" y="210"/>
                      <a:pt x="186" y="208"/>
                      <a:pt x="186" y="208"/>
                    </a:cubicBezTo>
                    <a:cubicBezTo>
                      <a:pt x="187" y="207"/>
                      <a:pt x="187" y="207"/>
                      <a:pt x="187" y="207"/>
                    </a:cubicBezTo>
                    <a:cubicBezTo>
                      <a:pt x="187" y="206"/>
                      <a:pt x="187" y="207"/>
                      <a:pt x="186" y="206"/>
                    </a:cubicBezTo>
                    <a:cubicBezTo>
                      <a:pt x="186" y="206"/>
                      <a:pt x="186" y="206"/>
                      <a:pt x="186" y="206"/>
                    </a:cubicBezTo>
                    <a:cubicBezTo>
                      <a:pt x="186" y="205"/>
                      <a:pt x="187" y="204"/>
                      <a:pt x="187" y="203"/>
                    </a:cubicBezTo>
                    <a:cubicBezTo>
                      <a:pt x="186" y="202"/>
                      <a:pt x="186" y="202"/>
                      <a:pt x="186" y="202"/>
                    </a:cubicBezTo>
                    <a:cubicBezTo>
                      <a:pt x="186" y="202"/>
                      <a:pt x="186" y="200"/>
                      <a:pt x="186" y="200"/>
                    </a:cubicBezTo>
                    <a:cubicBezTo>
                      <a:pt x="187" y="199"/>
                      <a:pt x="187" y="199"/>
                      <a:pt x="187" y="199"/>
                    </a:cubicBezTo>
                    <a:cubicBezTo>
                      <a:pt x="186" y="199"/>
                      <a:pt x="186" y="197"/>
                      <a:pt x="185" y="195"/>
                    </a:cubicBezTo>
                    <a:cubicBezTo>
                      <a:pt x="185" y="193"/>
                      <a:pt x="185" y="193"/>
                      <a:pt x="185" y="193"/>
                    </a:cubicBezTo>
                    <a:cubicBezTo>
                      <a:pt x="185" y="190"/>
                      <a:pt x="186" y="192"/>
                      <a:pt x="186" y="191"/>
                    </a:cubicBezTo>
                    <a:cubicBezTo>
                      <a:pt x="187" y="190"/>
                      <a:pt x="186" y="190"/>
                      <a:pt x="186" y="190"/>
                    </a:cubicBezTo>
                    <a:cubicBezTo>
                      <a:pt x="186" y="190"/>
                      <a:pt x="186" y="190"/>
                      <a:pt x="186" y="190"/>
                    </a:cubicBezTo>
                    <a:cubicBezTo>
                      <a:pt x="186" y="190"/>
                      <a:pt x="186" y="190"/>
                      <a:pt x="186" y="190"/>
                    </a:cubicBezTo>
                    <a:cubicBezTo>
                      <a:pt x="186" y="189"/>
                      <a:pt x="186" y="189"/>
                      <a:pt x="185" y="189"/>
                    </a:cubicBezTo>
                    <a:cubicBezTo>
                      <a:pt x="184" y="188"/>
                      <a:pt x="184" y="188"/>
                      <a:pt x="183" y="188"/>
                    </a:cubicBezTo>
                    <a:cubicBezTo>
                      <a:pt x="182" y="187"/>
                      <a:pt x="182" y="187"/>
                      <a:pt x="182" y="187"/>
                    </a:cubicBezTo>
                    <a:cubicBezTo>
                      <a:pt x="183" y="187"/>
                      <a:pt x="183" y="187"/>
                      <a:pt x="183" y="186"/>
                    </a:cubicBezTo>
                    <a:cubicBezTo>
                      <a:pt x="183" y="185"/>
                      <a:pt x="183" y="185"/>
                      <a:pt x="183" y="185"/>
                    </a:cubicBezTo>
                    <a:cubicBezTo>
                      <a:pt x="182" y="185"/>
                      <a:pt x="182" y="185"/>
                      <a:pt x="182" y="185"/>
                    </a:cubicBezTo>
                    <a:cubicBezTo>
                      <a:pt x="183" y="185"/>
                      <a:pt x="183" y="184"/>
                      <a:pt x="183" y="183"/>
                    </a:cubicBezTo>
                    <a:cubicBezTo>
                      <a:pt x="183" y="182"/>
                      <a:pt x="182" y="181"/>
                      <a:pt x="182" y="180"/>
                    </a:cubicBezTo>
                    <a:cubicBezTo>
                      <a:pt x="182" y="180"/>
                      <a:pt x="182" y="180"/>
                      <a:pt x="182" y="180"/>
                    </a:cubicBezTo>
                    <a:cubicBezTo>
                      <a:pt x="182" y="179"/>
                      <a:pt x="182" y="178"/>
                      <a:pt x="183" y="177"/>
                    </a:cubicBezTo>
                    <a:cubicBezTo>
                      <a:pt x="184" y="177"/>
                      <a:pt x="183" y="176"/>
                      <a:pt x="183" y="176"/>
                    </a:cubicBezTo>
                    <a:cubicBezTo>
                      <a:pt x="183" y="176"/>
                      <a:pt x="182" y="175"/>
                      <a:pt x="181" y="174"/>
                    </a:cubicBezTo>
                    <a:cubicBezTo>
                      <a:pt x="180" y="173"/>
                      <a:pt x="181" y="174"/>
                      <a:pt x="181" y="172"/>
                    </a:cubicBezTo>
                    <a:cubicBezTo>
                      <a:pt x="180" y="170"/>
                      <a:pt x="181" y="169"/>
                      <a:pt x="182" y="168"/>
                    </a:cubicBezTo>
                    <a:cubicBezTo>
                      <a:pt x="182" y="168"/>
                      <a:pt x="182" y="168"/>
                      <a:pt x="182" y="168"/>
                    </a:cubicBezTo>
                    <a:cubicBezTo>
                      <a:pt x="182" y="168"/>
                      <a:pt x="182" y="168"/>
                      <a:pt x="182" y="168"/>
                    </a:cubicBezTo>
                    <a:cubicBezTo>
                      <a:pt x="183" y="167"/>
                      <a:pt x="183" y="166"/>
                      <a:pt x="183" y="165"/>
                    </a:cubicBezTo>
                    <a:cubicBezTo>
                      <a:pt x="183" y="165"/>
                      <a:pt x="184" y="162"/>
                      <a:pt x="185" y="162"/>
                    </a:cubicBezTo>
                    <a:cubicBezTo>
                      <a:pt x="185" y="162"/>
                      <a:pt x="185" y="161"/>
                      <a:pt x="185" y="161"/>
                    </a:cubicBezTo>
                    <a:cubicBezTo>
                      <a:pt x="186" y="159"/>
                      <a:pt x="187" y="158"/>
                      <a:pt x="188" y="157"/>
                    </a:cubicBezTo>
                    <a:cubicBezTo>
                      <a:pt x="189" y="155"/>
                      <a:pt x="189" y="155"/>
                      <a:pt x="189" y="155"/>
                    </a:cubicBezTo>
                    <a:cubicBezTo>
                      <a:pt x="189" y="155"/>
                      <a:pt x="189" y="155"/>
                      <a:pt x="189" y="155"/>
                    </a:cubicBezTo>
                    <a:cubicBezTo>
                      <a:pt x="191" y="153"/>
                      <a:pt x="190" y="153"/>
                      <a:pt x="192" y="151"/>
                    </a:cubicBezTo>
                    <a:cubicBezTo>
                      <a:pt x="193" y="149"/>
                      <a:pt x="198" y="144"/>
                      <a:pt x="200" y="143"/>
                    </a:cubicBezTo>
                    <a:cubicBezTo>
                      <a:pt x="202" y="141"/>
                      <a:pt x="203" y="141"/>
                      <a:pt x="206" y="138"/>
                    </a:cubicBezTo>
                    <a:cubicBezTo>
                      <a:pt x="209" y="136"/>
                      <a:pt x="209" y="134"/>
                      <a:pt x="209" y="133"/>
                    </a:cubicBezTo>
                    <a:cubicBezTo>
                      <a:pt x="209" y="133"/>
                      <a:pt x="213" y="124"/>
                      <a:pt x="213" y="124"/>
                    </a:cubicBezTo>
                    <a:cubicBezTo>
                      <a:pt x="214" y="122"/>
                      <a:pt x="215" y="119"/>
                      <a:pt x="215" y="119"/>
                    </a:cubicBezTo>
                    <a:cubicBezTo>
                      <a:pt x="216" y="118"/>
                      <a:pt x="217" y="116"/>
                      <a:pt x="218" y="114"/>
                    </a:cubicBezTo>
                    <a:cubicBezTo>
                      <a:pt x="218" y="114"/>
                      <a:pt x="218" y="114"/>
                      <a:pt x="218" y="114"/>
                    </a:cubicBezTo>
                    <a:cubicBezTo>
                      <a:pt x="218" y="113"/>
                      <a:pt x="219" y="111"/>
                      <a:pt x="219" y="111"/>
                    </a:cubicBezTo>
                    <a:cubicBezTo>
                      <a:pt x="219" y="110"/>
                      <a:pt x="219" y="110"/>
                      <a:pt x="219" y="109"/>
                    </a:cubicBezTo>
                    <a:cubicBezTo>
                      <a:pt x="219" y="109"/>
                      <a:pt x="220" y="108"/>
                      <a:pt x="220" y="108"/>
                    </a:cubicBezTo>
                    <a:cubicBezTo>
                      <a:pt x="220" y="108"/>
                      <a:pt x="220" y="107"/>
                      <a:pt x="220" y="107"/>
                    </a:cubicBezTo>
                    <a:cubicBezTo>
                      <a:pt x="220" y="106"/>
                      <a:pt x="220" y="106"/>
                      <a:pt x="220" y="106"/>
                    </a:cubicBezTo>
                    <a:cubicBezTo>
                      <a:pt x="220" y="105"/>
                      <a:pt x="220" y="105"/>
                      <a:pt x="220" y="105"/>
                    </a:cubicBezTo>
                    <a:cubicBezTo>
                      <a:pt x="220" y="104"/>
                      <a:pt x="220" y="104"/>
                      <a:pt x="220" y="104"/>
                    </a:cubicBezTo>
                    <a:cubicBezTo>
                      <a:pt x="221" y="104"/>
                      <a:pt x="221" y="104"/>
                      <a:pt x="221" y="104"/>
                    </a:cubicBezTo>
                    <a:cubicBezTo>
                      <a:pt x="220" y="103"/>
                      <a:pt x="220" y="103"/>
                      <a:pt x="220" y="103"/>
                    </a:cubicBezTo>
                    <a:cubicBezTo>
                      <a:pt x="219" y="103"/>
                      <a:pt x="219" y="103"/>
                      <a:pt x="219" y="103"/>
                    </a:cubicBezTo>
                    <a:close/>
                    <a:moveTo>
                      <a:pt x="21" y="102"/>
                    </a:moveTo>
                    <a:cubicBezTo>
                      <a:pt x="22" y="102"/>
                      <a:pt x="22" y="102"/>
                      <a:pt x="22" y="102"/>
                    </a:cubicBezTo>
                    <a:cubicBezTo>
                      <a:pt x="21" y="102"/>
                      <a:pt x="21" y="102"/>
                      <a:pt x="21" y="102"/>
                    </a:cubicBezTo>
                    <a:close/>
                    <a:moveTo>
                      <a:pt x="21" y="102"/>
                    </a:moveTo>
                    <a:cubicBezTo>
                      <a:pt x="21" y="103"/>
                      <a:pt x="21" y="102"/>
                      <a:pt x="21" y="102"/>
                    </a:cubicBezTo>
                    <a:cubicBezTo>
                      <a:pt x="20" y="102"/>
                      <a:pt x="20" y="102"/>
                      <a:pt x="20" y="102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102"/>
                      <a:pt x="20" y="102"/>
                      <a:pt x="20" y="102"/>
                    </a:cubicBezTo>
                    <a:cubicBezTo>
                      <a:pt x="21" y="102"/>
                      <a:pt x="21" y="102"/>
                      <a:pt x="21" y="102"/>
                    </a:cubicBezTo>
                    <a:cubicBezTo>
                      <a:pt x="21" y="102"/>
                      <a:pt x="21" y="103"/>
                      <a:pt x="21" y="102"/>
                    </a:cubicBezTo>
                    <a:close/>
                    <a:moveTo>
                      <a:pt x="20" y="89"/>
                    </a:moveTo>
                    <a:cubicBezTo>
                      <a:pt x="20" y="90"/>
                      <a:pt x="20" y="90"/>
                      <a:pt x="20" y="90"/>
                    </a:cubicBezTo>
                    <a:cubicBezTo>
                      <a:pt x="20" y="90"/>
                      <a:pt x="20" y="90"/>
                      <a:pt x="20" y="90"/>
                    </a:cubicBezTo>
                    <a:cubicBezTo>
                      <a:pt x="20" y="89"/>
                      <a:pt x="20" y="89"/>
                      <a:pt x="20" y="89"/>
                    </a:cubicBezTo>
                    <a:close/>
                    <a:moveTo>
                      <a:pt x="20" y="100"/>
                    </a:moveTo>
                    <a:cubicBezTo>
                      <a:pt x="20" y="100"/>
                      <a:pt x="20" y="100"/>
                      <a:pt x="20" y="100"/>
                    </a:cubicBezTo>
                    <a:cubicBezTo>
                      <a:pt x="20" y="100"/>
                      <a:pt x="20" y="100"/>
                      <a:pt x="20" y="100"/>
                    </a:cubicBezTo>
                    <a:cubicBezTo>
                      <a:pt x="19" y="97"/>
                      <a:pt x="19" y="97"/>
                      <a:pt x="19" y="97"/>
                    </a:cubicBezTo>
                    <a:lnTo>
                      <a:pt x="20" y="100"/>
                    </a:lnTo>
                    <a:close/>
                    <a:moveTo>
                      <a:pt x="18" y="90"/>
                    </a:moveTo>
                    <a:cubicBezTo>
                      <a:pt x="18" y="89"/>
                      <a:pt x="18" y="89"/>
                      <a:pt x="18" y="89"/>
                    </a:cubicBezTo>
                    <a:cubicBezTo>
                      <a:pt x="18" y="89"/>
                      <a:pt x="18" y="89"/>
                      <a:pt x="18" y="89"/>
                    </a:cubicBezTo>
                    <a:cubicBezTo>
                      <a:pt x="18" y="90"/>
                      <a:pt x="18" y="90"/>
                      <a:pt x="18" y="90"/>
                    </a:cubicBezTo>
                    <a:cubicBezTo>
                      <a:pt x="18" y="91"/>
                      <a:pt x="18" y="91"/>
                      <a:pt x="18" y="91"/>
                    </a:cubicBezTo>
                    <a:lnTo>
                      <a:pt x="18" y="90"/>
                    </a:lnTo>
                    <a:close/>
                    <a:moveTo>
                      <a:pt x="12" y="103"/>
                    </a:moveTo>
                    <a:cubicBezTo>
                      <a:pt x="12" y="104"/>
                      <a:pt x="12" y="104"/>
                      <a:pt x="12" y="104"/>
                    </a:cubicBezTo>
                    <a:cubicBezTo>
                      <a:pt x="12" y="104"/>
                      <a:pt x="12" y="104"/>
                      <a:pt x="12" y="104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13" y="101"/>
                      <a:pt x="13" y="101"/>
                      <a:pt x="13" y="101"/>
                    </a:cubicBezTo>
                    <a:cubicBezTo>
                      <a:pt x="12" y="99"/>
                      <a:pt x="12" y="99"/>
                      <a:pt x="12" y="99"/>
                    </a:cubicBezTo>
                    <a:cubicBezTo>
                      <a:pt x="12" y="99"/>
                      <a:pt x="12" y="99"/>
                      <a:pt x="12" y="99"/>
                    </a:cubicBezTo>
                    <a:cubicBezTo>
                      <a:pt x="13" y="101"/>
                      <a:pt x="13" y="101"/>
                      <a:pt x="13" y="101"/>
                    </a:cubicBezTo>
                    <a:lnTo>
                      <a:pt x="12" y="103"/>
                    </a:lnTo>
                    <a:close/>
                    <a:moveTo>
                      <a:pt x="13" y="88"/>
                    </a:moveTo>
                    <a:cubicBezTo>
                      <a:pt x="13" y="85"/>
                      <a:pt x="13" y="85"/>
                      <a:pt x="13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5" y="85"/>
                      <a:pt x="5" y="85"/>
                      <a:pt x="5" y="85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3" y="85"/>
                      <a:pt x="13" y="85"/>
                      <a:pt x="13" y="85"/>
                    </a:cubicBezTo>
                    <a:cubicBezTo>
                      <a:pt x="13" y="88"/>
                      <a:pt x="13" y="88"/>
                      <a:pt x="13" y="88"/>
                    </a:cubicBezTo>
                    <a:cubicBezTo>
                      <a:pt x="15" y="89"/>
                      <a:pt x="15" y="89"/>
                      <a:pt x="15" y="89"/>
                    </a:cubicBezTo>
                    <a:cubicBezTo>
                      <a:pt x="15" y="90"/>
                      <a:pt x="15" y="90"/>
                      <a:pt x="15" y="90"/>
                    </a:cubicBezTo>
                    <a:cubicBezTo>
                      <a:pt x="17" y="92"/>
                      <a:pt x="17" y="92"/>
                      <a:pt x="17" y="92"/>
                    </a:cubicBezTo>
                    <a:cubicBezTo>
                      <a:pt x="18" y="91"/>
                      <a:pt x="18" y="91"/>
                      <a:pt x="18" y="91"/>
                    </a:cubicBezTo>
                    <a:cubicBezTo>
                      <a:pt x="18" y="91"/>
                      <a:pt x="18" y="91"/>
                      <a:pt x="18" y="91"/>
                    </a:cubicBezTo>
                    <a:cubicBezTo>
                      <a:pt x="17" y="92"/>
                      <a:pt x="17" y="92"/>
                      <a:pt x="17" y="92"/>
                    </a:cubicBezTo>
                    <a:cubicBezTo>
                      <a:pt x="18" y="93"/>
                      <a:pt x="18" y="93"/>
                      <a:pt x="18" y="93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8" y="93"/>
                      <a:pt x="18" y="93"/>
                      <a:pt x="18" y="93"/>
                    </a:cubicBezTo>
                    <a:cubicBezTo>
                      <a:pt x="17" y="92"/>
                      <a:pt x="17" y="92"/>
                      <a:pt x="17" y="92"/>
                    </a:cubicBezTo>
                    <a:cubicBezTo>
                      <a:pt x="15" y="90"/>
                      <a:pt x="15" y="90"/>
                      <a:pt x="15" y="90"/>
                    </a:cubicBezTo>
                    <a:cubicBezTo>
                      <a:pt x="15" y="89"/>
                      <a:pt x="15" y="89"/>
                      <a:pt x="15" y="89"/>
                    </a:cubicBezTo>
                    <a:lnTo>
                      <a:pt x="13" y="88"/>
                    </a:lnTo>
                    <a:close/>
                    <a:moveTo>
                      <a:pt x="17" y="111"/>
                    </a:moveTo>
                    <a:cubicBezTo>
                      <a:pt x="17" y="111"/>
                      <a:pt x="17" y="111"/>
                      <a:pt x="17" y="111"/>
                    </a:cubicBezTo>
                    <a:cubicBezTo>
                      <a:pt x="17" y="111"/>
                      <a:pt x="17" y="111"/>
                      <a:pt x="17" y="111"/>
                    </a:cubicBezTo>
                    <a:cubicBezTo>
                      <a:pt x="17" y="111"/>
                      <a:pt x="17" y="111"/>
                      <a:pt x="17" y="111"/>
                    </a:cubicBezTo>
                    <a:close/>
                    <a:moveTo>
                      <a:pt x="15" y="100"/>
                    </a:moveTo>
                    <a:cubicBezTo>
                      <a:pt x="14" y="100"/>
                      <a:pt x="14" y="100"/>
                      <a:pt x="14" y="100"/>
                    </a:cubicBezTo>
                    <a:cubicBezTo>
                      <a:pt x="15" y="100"/>
                      <a:pt x="15" y="100"/>
                      <a:pt x="15" y="100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101"/>
                      <a:pt x="20" y="101"/>
                      <a:pt x="20" y="101"/>
                    </a:cubicBezTo>
                    <a:lnTo>
                      <a:pt x="15" y="100"/>
                    </a:lnTo>
                    <a:close/>
                    <a:moveTo>
                      <a:pt x="19" y="111"/>
                    </a:moveTo>
                    <a:cubicBezTo>
                      <a:pt x="20" y="111"/>
                      <a:pt x="20" y="111"/>
                      <a:pt x="20" y="111"/>
                    </a:cubicBezTo>
                    <a:cubicBezTo>
                      <a:pt x="20" y="111"/>
                      <a:pt x="20" y="111"/>
                      <a:pt x="20" y="111"/>
                    </a:cubicBezTo>
                    <a:lnTo>
                      <a:pt x="19" y="111"/>
                    </a:lnTo>
                    <a:close/>
                    <a:moveTo>
                      <a:pt x="22" y="119"/>
                    </a:moveTo>
                    <a:cubicBezTo>
                      <a:pt x="20" y="121"/>
                      <a:pt x="20" y="121"/>
                      <a:pt x="20" y="121"/>
                    </a:cubicBezTo>
                    <a:cubicBezTo>
                      <a:pt x="22" y="119"/>
                      <a:pt x="22" y="119"/>
                      <a:pt x="22" y="119"/>
                    </a:cubicBezTo>
                    <a:cubicBezTo>
                      <a:pt x="22" y="117"/>
                      <a:pt x="22" y="117"/>
                      <a:pt x="22" y="117"/>
                    </a:cubicBezTo>
                    <a:cubicBezTo>
                      <a:pt x="22" y="117"/>
                      <a:pt x="22" y="117"/>
                      <a:pt x="22" y="117"/>
                    </a:cubicBezTo>
                    <a:lnTo>
                      <a:pt x="22" y="119"/>
                    </a:lnTo>
                    <a:close/>
                    <a:moveTo>
                      <a:pt x="22" y="114"/>
                    </a:moveTo>
                    <a:cubicBezTo>
                      <a:pt x="22" y="114"/>
                      <a:pt x="22" y="114"/>
                      <a:pt x="22" y="114"/>
                    </a:cubicBezTo>
                    <a:cubicBezTo>
                      <a:pt x="22" y="114"/>
                      <a:pt x="22" y="114"/>
                      <a:pt x="22" y="114"/>
                    </a:cubicBezTo>
                    <a:close/>
                    <a:moveTo>
                      <a:pt x="22" y="112"/>
                    </a:moveTo>
                    <a:cubicBezTo>
                      <a:pt x="22" y="112"/>
                      <a:pt x="20" y="112"/>
                      <a:pt x="19" y="111"/>
                    </a:cubicBezTo>
                    <a:cubicBezTo>
                      <a:pt x="20" y="112"/>
                      <a:pt x="22" y="112"/>
                      <a:pt x="22" y="112"/>
                    </a:cubicBezTo>
                    <a:cubicBezTo>
                      <a:pt x="22" y="112"/>
                      <a:pt x="22" y="112"/>
                      <a:pt x="22" y="112"/>
                    </a:cubicBezTo>
                    <a:cubicBezTo>
                      <a:pt x="22" y="112"/>
                      <a:pt x="22" y="112"/>
                      <a:pt x="22" y="112"/>
                    </a:cubicBezTo>
                    <a:close/>
                    <a:moveTo>
                      <a:pt x="22" y="103"/>
                    </a:moveTo>
                    <a:cubicBezTo>
                      <a:pt x="22" y="103"/>
                      <a:pt x="22" y="103"/>
                      <a:pt x="22" y="103"/>
                    </a:cubicBezTo>
                    <a:cubicBezTo>
                      <a:pt x="22" y="103"/>
                      <a:pt x="22" y="103"/>
                      <a:pt x="22" y="103"/>
                    </a:cubicBezTo>
                    <a:close/>
                    <a:moveTo>
                      <a:pt x="23" y="116"/>
                    </a:moveTo>
                    <a:cubicBezTo>
                      <a:pt x="22" y="117"/>
                      <a:pt x="22" y="117"/>
                      <a:pt x="22" y="117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4" y="116"/>
                      <a:pt x="24" y="116"/>
                      <a:pt x="24" y="116"/>
                    </a:cubicBezTo>
                    <a:lnTo>
                      <a:pt x="23" y="116"/>
                    </a:lnTo>
                    <a:close/>
                    <a:moveTo>
                      <a:pt x="23" y="102"/>
                    </a:moveTo>
                    <a:cubicBezTo>
                      <a:pt x="24" y="102"/>
                      <a:pt x="24" y="102"/>
                      <a:pt x="24" y="102"/>
                    </a:cubicBezTo>
                    <a:cubicBezTo>
                      <a:pt x="24" y="102"/>
                      <a:pt x="24" y="102"/>
                      <a:pt x="24" y="102"/>
                    </a:cubicBezTo>
                    <a:lnTo>
                      <a:pt x="23" y="102"/>
                    </a:lnTo>
                    <a:close/>
                    <a:moveTo>
                      <a:pt x="36" y="31"/>
                    </a:moveTo>
                    <a:cubicBezTo>
                      <a:pt x="37" y="31"/>
                      <a:pt x="37" y="31"/>
                      <a:pt x="37" y="31"/>
                    </a:cubicBezTo>
                    <a:cubicBezTo>
                      <a:pt x="36" y="31"/>
                      <a:pt x="36" y="31"/>
                      <a:pt x="36" y="31"/>
                    </a:cubicBezTo>
                    <a:cubicBezTo>
                      <a:pt x="36" y="31"/>
                      <a:pt x="36" y="31"/>
                      <a:pt x="36" y="31"/>
                    </a:cubicBezTo>
                    <a:close/>
                    <a:moveTo>
                      <a:pt x="34" y="33"/>
                    </a:moveTo>
                    <a:cubicBezTo>
                      <a:pt x="34" y="33"/>
                      <a:pt x="34" y="33"/>
                      <a:pt x="34" y="33"/>
                    </a:cubicBezTo>
                    <a:cubicBezTo>
                      <a:pt x="34" y="33"/>
                      <a:pt x="34" y="33"/>
                      <a:pt x="34" y="33"/>
                    </a:cubicBezTo>
                    <a:close/>
                    <a:moveTo>
                      <a:pt x="32" y="33"/>
                    </a:moveTo>
                    <a:cubicBezTo>
                      <a:pt x="33" y="32"/>
                      <a:pt x="33" y="32"/>
                      <a:pt x="33" y="32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2" y="33"/>
                      <a:pt x="32" y="33"/>
                      <a:pt x="32" y="33"/>
                    </a:cubicBezTo>
                    <a:cubicBezTo>
                      <a:pt x="30" y="35"/>
                      <a:pt x="30" y="35"/>
                      <a:pt x="30" y="35"/>
                    </a:cubicBezTo>
                    <a:lnTo>
                      <a:pt x="32" y="33"/>
                    </a:lnTo>
                    <a:close/>
                    <a:moveTo>
                      <a:pt x="25" y="89"/>
                    </a:moveTo>
                    <a:cubicBezTo>
                      <a:pt x="25" y="89"/>
                      <a:pt x="25" y="89"/>
                      <a:pt x="25" y="89"/>
                    </a:cubicBezTo>
                    <a:cubicBezTo>
                      <a:pt x="26" y="89"/>
                      <a:pt x="26" y="89"/>
                      <a:pt x="26" y="89"/>
                    </a:cubicBezTo>
                    <a:lnTo>
                      <a:pt x="25" y="89"/>
                    </a:lnTo>
                    <a:close/>
                    <a:moveTo>
                      <a:pt x="26" y="88"/>
                    </a:moveTo>
                    <a:cubicBezTo>
                      <a:pt x="26" y="88"/>
                      <a:pt x="26" y="88"/>
                      <a:pt x="26" y="88"/>
                    </a:cubicBezTo>
                    <a:cubicBezTo>
                      <a:pt x="27" y="88"/>
                      <a:pt x="27" y="88"/>
                      <a:pt x="27" y="88"/>
                    </a:cubicBezTo>
                    <a:lnTo>
                      <a:pt x="26" y="88"/>
                    </a:lnTo>
                    <a:close/>
                    <a:moveTo>
                      <a:pt x="27" y="101"/>
                    </a:moveTo>
                    <a:cubicBezTo>
                      <a:pt x="27" y="101"/>
                      <a:pt x="27" y="101"/>
                      <a:pt x="27" y="101"/>
                    </a:cubicBezTo>
                    <a:cubicBezTo>
                      <a:pt x="27" y="102"/>
                      <a:pt x="27" y="102"/>
                      <a:pt x="27" y="102"/>
                    </a:cubicBezTo>
                    <a:lnTo>
                      <a:pt x="27" y="101"/>
                    </a:lnTo>
                    <a:close/>
                    <a:moveTo>
                      <a:pt x="28" y="103"/>
                    </a:moveTo>
                    <a:cubicBezTo>
                      <a:pt x="28" y="103"/>
                      <a:pt x="28" y="103"/>
                      <a:pt x="28" y="103"/>
                    </a:cubicBezTo>
                    <a:cubicBezTo>
                      <a:pt x="29" y="105"/>
                      <a:pt x="29" y="105"/>
                      <a:pt x="29" y="105"/>
                    </a:cubicBezTo>
                    <a:cubicBezTo>
                      <a:pt x="29" y="105"/>
                      <a:pt x="29" y="105"/>
                      <a:pt x="29" y="105"/>
                    </a:cubicBezTo>
                    <a:cubicBezTo>
                      <a:pt x="29" y="105"/>
                      <a:pt x="29" y="105"/>
                      <a:pt x="29" y="105"/>
                    </a:cubicBezTo>
                    <a:cubicBezTo>
                      <a:pt x="28" y="103"/>
                      <a:pt x="28" y="103"/>
                      <a:pt x="28" y="103"/>
                    </a:cubicBezTo>
                    <a:close/>
                    <a:moveTo>
                      <a:pt x="30" y="108"/>
                    </a:moveTo>
                    <a:cubicBezTo>
                      <a:pt x="29" y="107"/>
                      <a:pt x="29" y="107"/>
                      <a:pt x="29" y="107"/>
                    </a:cubicBezTo>
                    <a:cubicBezTo>
                      <a:pt x="30" y="106"/>
                      <a:pt x="30" y="106"/>
                      <a:pt x="30" y="106"/>
                    </a:cubicBezTo>
                    <a:cubicBezTo>
                      <a:pt x="29" y="106"/>
                      <a:pt x="29" y="106"/>
                      <a:pt x="29" y="106"/>
                    </a:cubicBezTo>
                    <a:cubicBezTo>
                      <a:pt x="30" y="106"/>
                      <a:pt x="30" y="106"/>
                      <a:pt x="30" y="106"/>
                    </a:cubicBezTo>
                    <a:cubicBezTo>
                      <a:pt x="29" y="107"/>
                      <a:pt x="29" y="107"/>
                      <a:pt x="29" y="107"/>
                    </a:cubicBezTo>
                    <a:lnTo>
                      <a:pt x="30" y="108"/>
                    </a:lnTo>
                    <a:close/>
                    <a:moveTo>
                      <a:pt x="29" y="120"/>
                    </a:moveTo>
                    <a:cubicBezTo>
                      <a:pt x="29" y="120"/>
                      <a:pt x="29" y="120"/>
                      <a:pt x="29" y="120"/>
                    </a:cubicBezTo>
                    <a:cubicBezTo>
                      <a:pt x="29" y="120"/>
                      <a:pt x="29" y="120"/>
                      <a:pt x="29" y="120"/>
                    </a:cubicBezTo>
                    <a:close/>
                    <a:moveTo>
                      <a:pt x="28" y="120"/>
                    </a:moveTo>
                    <a:cubicBezTo>
                      <a:pt x="28" y="119"/>
                      <a:pt x="28" y="119"/>
                      <a:pt x="28" y="119"/>
                    </a:cubicBezTo>
                    <a:cubicBezTo>
                      <a:pt x="28" y="119"/>
                      <a:pt x="28" y="119"/>
                      <a:pt x="28" y="119"/>
                    </a:cubicBezTo>
                    <a:lnTo>
                      <a:pt x="28" y="120"/>
                    </a:lnTo>
                    <a:close/>
                    <a:moveTo>
                      <a:pt x="28" y="125"/>
                    </a:moveTo>
                    <a:cubicBezTo>
                      <a:pt x="28" y="125"/>
                      <a:pt x="28" y="125"/>
                      <a:pt x="28" y="125"/>
                    </a:cubicBezTo>
                    <a:cubicBezTo>
                      <a:pt x="28" y="125"/>
                      <a:pt x="29" y="125"/>
                      <a:pt x="29" y="124"/>
                    </a:cubicBezTo>
                    <a:cubicBezTo>
                      <a:pt x="29" y="125"/>
                      <a:pt x="28" y="125"/>
                      <a:pt x="28" y="125"/>
                    </a:cubicBezTo>
                    <a:close/>
                    <a:moveTo>
                      <a:pt x="29" y="122"/>
                    </a:moveTo>
                    <a:cubicBezTo>
                      <a:pt x="29" y="122"/>
                      <a:pt x="29" y="122"/>
                      <a:pt x="29" y="122"/>
                    </a:cubicBezTo>
                    <a:cubicBezTo>
                      <a:pt x="29" y="122"/>
                      <a:pt x="30" y="122"/>
                      <a:pt x="30" y="122"/>
                    </a:cubicBezTo>
                    <a:cubicBezTo>
                      <a:pt x="30" y="122"/>
                      <a:pt x="29" y="122"/>
                      <a:pt x="29" y="122"/>
                    </a:cubicBezTo>
                    <a:close/>
                    <a:moveTo>
                      <a:pt x="30" y="119"/>
                    </a:moveTo>
                    <a:cubicBezTo>
                      <a:pt x="31" y="119"/>
                      <a:pt x="31" y="119"/>
                      <a:pt x="31" y="119"/>
                    </a:cubicBezTo>
                    <a:cubicBezTo>
                      <a:pt x="30" y="118"/>
                      <a:pt x="30" y="118"/>
                      <a:pt x="30" y="118"/>
                    </a:cubicBezTo>
                    <a:cubicBezTo>
                      <a:pt x="30" y="117"/>
                      <a:pt x="30" y="117"/>
                      <a:pt x="30" y="117"/>
                    </a:cubicBezTo>
                    <a:cubicBezTo>
                      <a:pt x="30" y="118"/>
                      <a:pt x="30" y="118"/>
                      <a:pt x="30" y="118"/>
                    </a:cubicBezTo>
                    <a:cubicBezTo>
                      <a:pt x="31" y="119"/>
                      <a:pt x="31" y="119"/>
                      <a:pt x="31" y="119"/>
                    </a:cubicBezTo>
                    <a:lnTo>
                      <a:pt x="30" y="119"/>
                    </a:lnTo>
                    <a:close/>
                    <a:moveTo>
                      <a:pt x="31" y="115"/>
                    </a:moveTo>
                    <a:cubicBezTo>
                      <a:pt x="31" y="115"/>
                      <a:pt x="31" y="115"/>
                      <a:pt x="31" y="115"/>
                    </a:cubicBezTo>
                    <a:cubicBezTo>
                      <a:pt x="32" y="115"/>
                      <a:pt x="32" y="115"/>
                      <a:pt x="32" y="115"/>
                    </a:cubicBezTo>
                    <a:cubicBezTo>
                      <a:pt x="31" y="112"/>
                      <a:pt x="31" y="112"/>
                      <a:pt x="31" y="112"/>
                    </a:cubicBezTo>
                    <a:cubicBezTo>
                      <a:pt x="31" y="112"/>
                      <a:pt x="31" y="112"/>
                      <a:pt x="31" y="112"/>
                    </a:cubicBezTo>
                    <a:cubicBezTo>
                      <a:pt x="31" y="112"/>
                      <a:pt x="31" y="112"/>
                      <a:pt x="31" y="112"/>
                    </a:cubicBezTo>
                    <a:cubicBezTo>
                      <a:pt x="32" y="115"/>
                      <a:pt x="32" y="115"/>
                      <a:pt x="32" y="115"/>
                    </a:cubicBezTo>
                    <a:lnTo>
                      <a:pt x="31" y="115"/>
                    </a:lnTo>
                    <a:close/>
                    <a:moveTo>
                      <a:pt x="31" y="111"/>
                    </a:moveTo>
                    <a:cubicBezTo>
                      <a:pt x="31" y="112"/>
                      <a:pt x="31" y="112"/>
                      <a:pt x="31" y="112"/>
                    </a:cubicBezTo>
                    <a:cubicBezTo>
                      <a:pt x="31" y="112"/>
                      <a:pt x="31" y="112"/>
                      <a:pt x="31" y="112"/>
                    </a:cubicBezTo>
                    <a:lnTo>
                      <a:pt x="31" y="111"/>
                    </a:lnTo>
                    <a:close/>
                    <a:moveTo>
                      <a:pt x="32" y="117"/>
                    </a:moveTo>
                    <a:cubicBezTo>
                      <a:pt x="32" y="117"/>
                      <a:pt x="32" y="117"/>
                      <a:pt x="32" y="117"/>
                    </a:cubicBezTo>
                    <a:cubicBezTo>
                      <a:pt x="31" y="116"/>
                      <a:pt x="31" y="116"/>
                      <a:pt x="31" y="116"/>
                    </a:cubicBezTo>
                    <a:lnTo>
                      <a:pt x="32" y="117"/>
                    </a:lnTo>
                    <a:close/>
                    <a:moveTo>
                      <a:pt x="32" y="126"/>
                    </a:moveTo>
                    <a:cubicBezTo>
                      <a:pt x="32" y="126"/>
                      <a:pt x="32" y="126"/>
                      <a:pt x="32" y="126"/>
                    </a:cubicBezTo>
                    <a:cubicBezTo>
                      <a:pt x="32" y="126"/>
                      <a:pt x="32" y="126"/>
                      <a:pt x="32" y="126"/>
                    </a:cubicBezTo>
                    <a:cubicBezTo>
                      <a:pt x="33" y="127"/>
                      <a:pt x="33" y="127"/>
                      <a:pt x="33" y="127"/>
                    </a:cubicBezTo>
                    <a:lnTo>
                      <a:pt x="32" y="126"/>
                    </a:lnTo>
                    <a:close/>
                    <a:moveTo>
                      <a:pt x="32" y="108"/>
                    </a:moveTo>
                    <a:cubicBezTo>
                      <a:pt x="32" y="109"/>
                      <a:pt x="32" y="109"/>
                      <a:pt x="32" y="109"/>
                    </a:cubicBezTo>
                    <a:cubicBezTo>
                      <a:pt x="32" y="108"/>
                      <a:pt x="32" y="108"/>
                      <a:pt x="32" y="108"/>
                    </a:cubicBezTo>
                    <a:cubicBezTo>
                      <a:pt x="33" y="109"/>
                      <a:pt x="33" y="109"/>
                      <a:pt x="33" y="109"/>
                    </a:cubicBezTo>
                    <a:lnTo>
                      <a:pt x="32" y="108"/>
                    </a:lnTo>
                    <a:close/>
                    <a:moveTo>
                      <a:pt x="34" y="109"/>
                    </a:moveTo>
                    <a:cubicBezTo>
                      <a:pt x="35" y="109"/>
                      <a:pt x="35" y="109"/>
                      <a:pt x="35" y="109"/>
                    </a:cubicBezTo>
                    <a:cubicBezTo>
                      <a:pt x="35" y="109"/>
                      <a:pt x="35" y="109"/>
                      <a:pt x="35" y="109"/>
                    </a:cubicBezTo>
                    <a:lnTo>
                      <a:pt x="34" y="109"/>
                    </a:lnTo>
                    <a:close/>
                    <a:moveTo>
                      <a:pt x="35" y="108"/>
                    </a:moveTo>
                    <a:cubicBezTo>
                      <a:pt x="35" y="108"/>
                      <a:pt x="35" y="108"/>
                      <a:pt x="35" y="108"/>
                    </a:cubicBezTo>
                    <a:cubicBezTo>
                      <a:pt x="35" y="109"/>
                      <a:pt x="35" y="109"/>
                      <a:pt x="35" y="109"/>
                    </a:cubicBezTo>
                    <a:lnTo>
                      <a:pt x="35" y="108"/>
                    </a:lnTo>
                    <a:close/>
                    <a:moveTo>
                      <a:pt x="37" y="109"/>
                    </a:moveTo>
                    <a:cubicBezTo>
                      <a:pt x="36" y="107"/>
                      <a:pt x="36" y="107"/>
                      <a:pt x="36" y="107"/>
                    </a:cubicBezTo>
                    <a:cubicBezTo>
                      <a:pt x="36" y="108"/>
                      <a:pt x="36" y="108"/>
                      <a:pt x="36" y="108"/>
                    </a:cubicBezTo>
                    <a:cubicBezTo>
                      <a:pt x="36" y="107"/>
                      <a:pt x="36" y="107"/>
                      <a:pt x="36" y="107"/>
                    </a:cubicBezTo>
                    <a:cubicBezTo>
                      <a:pt x="37" y="109"/>
                      <a:pt x="37" y="109"/>
                      <a:pt x="37" y="109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08"/>
                      <a:pt x="39" y="108"/>
                      <a:pt x="39" y="108"/>
                    </a:cubicBezTo>
                    <a:lnTo>
                      <a:pt x="37" y="109"/>
                    </a:lnTo>
                    <a:close/>
                    <a:moveTo>
                      <a:pt x="35" y="51"/>
                    </a:moveTo>
                    <a:cubicBezTo>
                      <a:pt x="35" y="51"/>
                      <a:pt x="35" y="51"/>
                      <a:pt x="35" y="51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lnTo>
                      <a:pt x="35" y="51"/>
                    </a:lnTo>
                    <a:close/>
                    <a:moveTo>
                      <a:pt x="39" y="89"/>
                    </a:moveTo>
                    <a:cubicBezTo>
                      <a:pt x="39" y="87"/>
                      <a:pt x="39" y="87"/>
                      <a:pt x="39" y="87"/>
                    </a:cubicBezTo>
                    <a:cubicBezTo>
                      <a:pt x="39" y="89"/>
                      <a:pt x="39" y="89"/>
                      <a:pt x="39" y="89"/>
                    </a:cubicBezTo>
                    <a:close/>
                    <a:moveTo>
                      <a:pt x="29" y="42"/>
                    </a:moveTo>
                    <a:cubicBezTo>
                      <a:pt x="29" y="42"/>
                      <a:pt x="29" y="42"/>
                      <a:pt x="29" y="42"/>
                    </a:cubicBezTo>
                    <a:cubicBezTo>
                      <a:pt x="39" y="50"/>
                      <a:pt x="39" y="50"/>
                      <a:pt x="39" y="50"/>
                    </a:cubicBezTo>
                    <a:lnTo>
                      <a:pt x="29" y="42"/>
                    </a:lnTo>
                    <a:close/>
                    <a:moveTo>
                      <a:pt x="41" y="28"/>
                    </a:moveTo>
                    <a:cubicBezTo>
                      <a:pt x="41" y="28"/>
                      <a:pt x="41" y="28"/>
                      <a:pt x="42" y="28"/>
                    </a:cubicBezTo>
                    <a:cubicBezTo>
                      <a:pt x="41" y="28"/>
                      <a:pt x="41" y="28"/>
                      <a:pt x="41" y="28"/>
                    </a:cubicBezTo>
                    <a:cubicBezTo>
                      <a:pt x="41" y="28"/>
                      <a:pt x="41" y="28"/>
                      <a:pt x="41" y="29"/>
                    </a:cubicBezTo>
                    <a:cubicBezTo>
                      <a:pt x="41" y="28"/>
                      <a:pt x="41" y="28"/>
                      <a:pt x="41" y="28"/>
                    </a:cubicBezTo>
                    <a:close/>
                    <a:moveTo>
                      <a:pt x="41" y="29"/>
                    </a:moveTo>
                    <a:cubicBezTo>
                      <a:pt x="41" y="29"/>
                      <a:pt x="40" y="29"/>
                      <a:pt x="41" y="29"/>
                    </a:cubicBezTo>
                    <a:cubicBezTo>
                      <a:pt x="40" y="29"/>
                      <a:pt x="41" y="29"/>
                      <a:pt x="41" y="29"/>
                    </a:cubicBezTo>
                    <a:cubicBezTo>
                      <a:pt x="40" y="30"/>
                      <a:pt x="40" y="30"/>
                      <a:pt x="40" y="30"/>
                    </a:cubicBezTo>
                    <a:lnTo>
                      <a:pt x="41" y="29"/>
                    </a:lnTo>
                    <a:close/>
                    <a:moveTo>
                      <a:pt x="40" y="104"/>
                    </a:moveTo>
                    <a:cubicBezTo>
                      <a:pt x="40" y="103"/>
                      <a:pt x="40" y="103"/>
                      <a:pt x="40" y="103"/>
                    </a:cubicBezTo>
                    <a:cubicBezTo>
                      <a:pt x="41" y="102"/>
                      <a:pt x="41" y="102"/>
                      <a:pt x="41" y="102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43" y="100"/>
                      <a:pt x="43" y="100"/>
                      <a:pt x="43" y="100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41" y="102"/>
                      <a:pt x="41" y="102"/>
                      <a:pt x="41" y="102"/>
                    </a:cubicBezTo>
                    <a:cubicBezTo>
                      <a:pt x="40" y="103"/>
                      <a:pt x="40" y="103"/>
                      <a:pt x="40" y="103"/>
                    </a:cubicBezTo>
                    <a:cubicBezTo>
                      <a:pt x="40" y="104"/>
                      <a:pt x="40" y="104"/>
                      <a:pt x="40" y="104"/>
                    </a:cubicBezTo>
                    <a:cubicBezTo>
                      <a:pt x="39" y="105"/>
                      <a:pt x="39" y="105"/>
                      <a:pt x="39" y="105"/>
                    </a:cubicBezTo>
                    <a:lnTo>
                      <a:pt x="40" y="104"/>
                    </a:lnTo>
                    <a:close/>
                    <a:moveTo>
                      <a:pt x="41" y="111"/>
                    </a:moveTo>
                    <a:cubicBezTo>
                      <a:pt x="40" y="109"/>
                      <a:pt x="40" y="109"/>
                      <a:pt x="40" y="109"/>
                    </a:cubicBezTo>
                    <a:cubicBezTo>
                      <a:pt x="39" y="109"/>
                      <a:pt x="39" y="109"/>
                      <a:pt x="39" y="109"/>
                    </a:cubicBezTo>
                    <a:cubicBezTo>
                      <a:pt x="40" y="109"/>
                      <a:pt x="40" y="109"/>
                      <a:pt x="40" y="109"/>
                    </a:cubicBezTo>
                    <a:cubicBezTo>
                      <a:pt x="41" y="111"/>
                      <a:pt x="41" y="111"/>
                      <a:pt x="41" y="111"/>
                    </a:cubicBezTo>
                    <a:cubicBezTo>
                      <a:pt x="43" y="111"/>
                      <a:pt x="43" y="111"/>
                      <a:pt x="43" y="111"/>
                    </a:cubicBezTo>
                    <a:lnTo>
                      <a:pt x="41" y="111"/>
                    </a:lnTo>
                    <a:close/>
                    <a:moveTo>
                      <a:pt x="44" y="97"/>
                    </a:moveTo>
                    <a:cubicBezTo>
                      <a:pt x="44" y="97"/>
                      <a:pt x="44" y="97"/>
                      <a:pt x="44" y="97"/>
                    </a:cubicBezTo>
                    <a:cubicBezTo>
                      <a:pt x="46" y="97"/>
                      <a:pt x="46" y="97"/>
                      <a:pt x="46" y="97"/>
                    </a:cubicBezTo>
                    <a:lnTo>
                      <a:pt x="44" y="97"/>
                    </a:lnTo>
                    <a:close/>
                    <a:moveTo>
                      <a:pt x="60" y="68"/>
                    </a:moveTo>
                    <a:cubicBezTo>
                      <a:pt x="60" y="68"/>
                      <a:pt x="60" y="68"/>
                      <a:pt x="60" y="68"/>
                    </a:cubicBezTo>
                    <a:cubicBezTo>
                      <a:pt x="60" y="68"/>
                      <a:pt x="60" y="68"/>
                      <a:pt x="60" y="68"/>
                    </a:cubicBezTo>
                    <a:close/>
                    <a:moveTo>
                      <a:pt x="61" y="90"/>
                    </a:moveTo>
                    <a:cubicBezTo>
                      <a:pt x="60" y="90"/>
                      <a:pt x="60" y="90"/>
                      <a:pt x="60" y="90"/>
                    </a:cubicBezTo>
                    <a:cubicBezTo>
                      <a:pt x="60" y="90"/>
                      <a:pt x="60" y="90"/>
                      <a:pt x="60" y="90"/>
                    </a:cubicBezTo>
                    <a:cubicBezTo>
                      <a:pt x="60" y="90"/>
                      <a:pt x="60" y="90"/>
                      <a:pt x="60" y="90"/>
                    </a:cubicBezTo>
                    <a:lnTo>
                      <a:pt x="61" y="90"/>
                    </a:lnTo>
                    <a:close/>
                    <a:moveTo>
                      <a:pt x="60" y="66"/>
                    </a:moveTo>
                    <a:cubicBezTo>
                      <a:pt x="60" y="66"/>
                      <a:pt x="60" y="66"/>
                      <a:pt x="60" y="66"/>
                    </a:cubicBezTo>
                    <a:cubicBezTo>
                      <a:pt x="52" y="60"/>
                      <a:pt x="52" y="60"/>
                      <a:pt x="52" y="60"/>
                    </a:cubicBezTo>
                    <a:lnTo>
                      <a:pt x="60" y="66"/>
                    </a:lnTo>
                    <a:close/>
                    <a:moveTo>
                      <a:pt x="59" y="95"/>
                    </a:moveTo>
                    <a:cubicBezTo>
                      <a:pt x="60" y="97"/>
                      <a:pt x="60" y="97"/>
                      <a:pt x="60" y="97"/>
                    </a:cubicBezTo>
                    <a:cubicBezTo>
                      <a:pt x="59" y="97"/>
                      <a:pt x="59" y="97"/>
                      <a:pt x="59" y="97"/>
                    </a:cubicBezTo>
                    <a:cubicBezTo>
                      <a:pt x="60" y="97"/>
                      <a:pt x="60" y="97"/>
                      <a:pt x="60" y="97"/>
                    </a:cubicBezTo>
                    <a:lnTo>
                      <a:pt x="59" y="95"/>
                    </a:lnTo>
                    <a:close/>
                    <a:moveTo>
                      <a:pt x="51" y="22"/>
                    </a:moveTo>
                    <a:cubicBezTo>
                      <a:pt x="52" y="22"/>
                      <a:pt x="53" y="21"/>
                      <a:pt x="53" y="21"/>
                    </a:cubicBezTo>
                    <a:cubicBezTo>
                      <a:pt x="53" y="21"/>
                      <a:pt x="52" y="22"/>
                      <a:pt x="51" y="22"/>
                    </a:cubicBezTo>
                    <a:close/>
                    <a:moveTo>
                      <a:pt x="53" y="16"/>
                    </a:moveTo>
                    <a:cubicBezTo>
                      <a:pt x="52" y="16"/>
                      <a:pt x="52" y="16"/>
                      <a:pt x="52" y="16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51" y="15"/>
                      <a:pt x="51" y="15"/>
                      <a:pt x="51" y="15"/>
                    </a:cubicBezTo>
                    <a:lnTo>
                      <a:pt x="53" y="16"/>
                    </a:lnTo>
                    <a:close/>
                    <a:moveTo>
                      <a:pt x="51" y="14"/>
                    </a:moveTo>
                    <a:cubicBezTo>
                      <a:pt x="51" y="14"/>
                      <a:pt x="51" y="14"/>
                      <a:pt x="51" y="14"/>
                    </a:cubicBezTo>
                    <a:cubicBezTo>
                      <a:pt x="52" y="13"/>
                      <a:pt x="52" y="13"/>
                      <a:pt x="52" y="13"/>
                    </a:cubicBezTo>
                    <a:cubicBezTo>
                      <a:pt x="50" y="12"/>
                      <a:pt x="50" y="12"/>
                      <a:pt x="50" y="12"/>
                    </a:cubicBezTo>
                    <a:cubicBezTo>
                      <a:pt x="52" y="13"/>
                      <a:pt x="52" y="13"/>
                      <a:pt x="52" y="13"/>
                    </a:cubicBezTo>
                    <a:cubicBezTo>
                      <a:pt x="51" y="14"/>
                      <a:pt x="51" y="14"/>
                      <a:pt x="51" y="14"/>
                    </a:cubicBezTo>
                    <a:close/>
                    <a:moveTo>
                      <a:pt x="51" y="11"/>
                    </a:moveTo>
                    <a:cubicBezTo>
                      <a:pt x="50" y="11"/>
                      <a:pt x="50" y="11"/>
                      <a:pt x="50" y="11"/>
                    </a:cubicBezTo>
                    <a:cubicBezTo>
                      <a:pt x="51" y="11"/>
                      <a:pt x="51" y="11"/>
                      <a:pt x="51" y="11"/>
                    </a:cubicBezTo>
                    <a:cubicBezTo>
                      <a:pt x="50" y="10"/>
                      <a:pt x="50" y="10"/>
                      <a:pt x="50" y="10"/>
                    </a:cubicBezTo>
                    <a:lnTo>
                      <a:pt x="51" y="11"/>
                    </a:lnTo>
                    <a:close/>
                    <a:moveTo>
                      <a:pt x="48" y="22"/>
                    </a:moveTo>
                    <a:cubicBezTo>
                      <a:pt x="48" y="22"/>
                      <a:pt x="49" y="21"/>
                      <a:pt x="50" y="22"/>
                    </a:cubicBezTo>
                    <a:cubicBezTo>
                      <a:pt x="49" y="21"/>
                      <a:pt x="48" y="22"/>
                      <a:pt x="48" y="22"/>
                    </a:cubicBezTo>
                    <a:cubicBezTo>
                      <a:pt x="46" y="23"/>
                      <a:pt x="46" y="23"/>
                      <a:pt x="46" y="23"/>
                    </a:cubicBezTo>
                    <a:lnTo>
                      <a:pt x="48" y="22"/>
                    </a:lnTo>
                    <a:close/>
                    <a:moveTo>
                      <a:pt x="49" y="93"/>
                    </a:moveTo>
                    <a:cubicBezTo>
                      <a:pt x="49" y="93"/>
                      <a:pt x="49" y="93"/>
                      <a:pt x="49" y="93"/>
                    </a:cubicBezTo>
                    <a:cubicBezTo>
                      <a:pt x="49" y="95"/>
                      <a:pt x="49" y="95"/>
                      <a:pt x="49" y="95"/>
                    </a:cubicBezTo>
                    <a:cubicBezTo>
                      <a:pt x="49" y="95"/>
                      <a:pt x="49" y="95"/>
                      <a:pt x="49" y="95"/>
                    </a:cubicBezTo>
                    <a:cubicBezTo>
                      <a:pt x="49" y="95"/>
                      <a:pt x="49" y="95"/>
                      <a:pt x="49" y="95"/>
                    </a:cubicBezTo>
                    <a:lnTo>
                      <a:pt x="49" y="93"/>
                    </a:lnTo>
                    <a:close/>
                    <a:moveTo>
                      <a:pt x="48" y="95"/>
                    </a:moveTo>
                    <a:cubicBezTo>
                      <a:pt x="48" y="96"/>
                      <a:pt x="48" y="96"/>
                      <a:pt x="48" y="96"/>
                    </a:cubicBezTo>
                    <a:cubicBezTo>
                      <a:pt x="46" y="96"/>
                      <a:pt x="46" y="96"/>
                      <a:pt x="46" y="96"/>
                    </a:cubicBezTo>
                    <a:cubicBezTo>
                      <a:pt x="48" y="96"/>
                      <a:pt x="48" y="96"/>
                      <a:pt x="48" y="96"/>
                    </a:cubicBezTo>
                    <a:lnTo>
                      <a:pt x="48" y="95"/>
                    </a:lnTo>
                    <a:close/>
                    <a:moveTo>
                      <a:pt x="46" y="96"/>
                    </a:moveTo>
                    <a:cubicBezTo>
                      <a:pt x="46" y="97"/>
                      <a:pt x="46" y="97"/>
                      <a:pt x="46" y="97"/>
                    </a:cubicBezTo>
                    <a:cubicBezTo>
                      <a:pt x="46" y="96"/>
                      <a:pt x="46" y="96"/>
                      <a:pt x="46" y="96"/>
                    </a:cubicBezTo>
                    <a:close/>
                    <a:moveTo>
                      <a:pt x="47" y="122"/>
                    </a:moveTo>
                    <a:cubicBezTo>
                      <a:pt x="46" y="124"/>
                      <a:pt x="46" y="124"/>
                      <a:pt x="46" y="124"/>
                    </a:cubicBezTo>
                    <a:cubicBezTo>
                      <a:pt x="47" y="122"/>
                      <a:pt x="47" y="122"/>
                      <a:pt x="47" y="122"/>
                    </a:cubicBezTo>
                    <a:cubicBezTo>
                      <a:pt x="47" y="122"/>
                      <a:pt x="48" y="122"/>
                      <a:pt x="48" y="122"/>
                    </a:cubicBezTo>
                    <a:cubicBezTo>
                      <a:pt x="48" y="122"/>
                      <a:pt x="47" y="122"/>
                      <a:pt x="47" y="122"/>
                    </a:cubicBezTo>
                    <a:close/>
                    <a:moveTo>
                      <a:pt x="46" y="111"/>
                    </a:moveTo>
                    <a:cubicBezTo>
                      <a:pt x="46" y="111"/>
                      <a:pt x="46" y="111"/>
                      <a:pt x="46" y="111"/>
                    </a:cubicBezTo>
                    <a:cubicBezTo>
                      <a:pt x="47" y="111"/>
                      <a:pt x="47" y="111"/>
                      <a:pt x="47" y="111"/>
                    </a:cubicBezTo>
                    <a:lnTo>
                      <a:pt x="46" y="111"/>
                    </a:lnTo>
                    <a:close/>
                    <a:moveTo>
                      <a:pt x="47" y="120"/>
                    </a:moveTo>
                    <a:cubicBezTo>
                      <a:pt x="47" y="120"/>
                      <a:pt x="47" y="120"/>
                      <a:pt x="47" y="120"/>
                    </a:cubicBezTo>
                    <a:cubicBezTo>
                      <a:pt x="48" y="118"/>
                      <a:pt x="48" y="118"/>
                      <a:pt x="48" y="118"/>
                    </a:cubicBezTo>
                    <a:lnTo>
                      <a:pt x="47" y="120"/>
                    </a:lnTo>
                    <a:close/>
                    <a:moveTo>
                      <a:pt x="48" y="118"/>
                    </a:moveTo>
                    <a:cubicBezTo>
                      <a:pt x="48" y="112"/>
                      <a:pt x="48" y="112"/>
                      <a:pt x="48" y="112"/>
                    </a:cubicBezTo>
                    <a:cubicBezTo>
                      <a:pt x="48" y="112"/>
                      <a:pt x="48" y="112"/>
                      <a:pt x="48" y="112"/>
                    </a:cubicBezTo>
                    <a:cubicBezTo>
                      <a:pt x="47" y="108"/>
                      <a:pt x="47" y="108"/>
                      <a:pt x="47" y="108"/>
                    </a:cubicBezTo>
                    <a:cubicBezTo>
                      <a:pt x="47" y="107"/>
                      <a:pt x="47" y="107"/>
                      <a:pt x="47" y="107"/>
                    </a:cubicBezTo>
                    <a:cubicBezTo>
                      <a:pt x="47" y="108"/>
                      <a:pt x="47" y="108"/>
                      <a:pt x="47" y="108"/>
                    </a:cubicBezTo>
                    <a:cubicBezTo>
                      <a:pt x="48" y="112"/>
                      <a:pt x="48" y="112"/>
                      <a:pt x="48" y="112"/>
                    </a:cubicBezTo>
                    <a:cubicBezTo>
                      <a:pt x="48" y="118"/>
                      <a:pt x="48" y="118"/>
                      <a:pt x="48" y="118"/>
                    </a:cubicBezTo>
                    <a:close/>
                    <a:moveTo>
                      <a:pt x="55" y="106"/>
                    </a:moveTo>
                    <a:cubicBezTo>
                      <a:pt x="53" y="106"/>
                      <a:pt x="53" y="106"/>
                      <a:pt x="53" y="106"/>
                    </a:cubicBezTo>
                    <a:cubicBezTo>
                      <a:pt x="48" y="106"/>
                      <a:pt x="48" y="106"/>
                      <a:pt x="48" y="106"/>
                    </a:cubicBezTo>
                    <a:cubicBezTo>
                      <a:pt x="46" y="105"/>
                      <a:pt x="46" y="105"/>
                      <a:pt x="46" y="105"/>
                    </a:cubicBezTo>
                    <a:cubicBezTo>
                      <a:pt x="46" y="105"/>
                      <a:pt x="46" y="105"/>
                      <a:pt x="46" y="105"/>
                    </a:cubicBezTo>
                    <a:cubicBezTo>
                      <a:pt x="48" y="106"/>
                      <a:pt x="48" y="106"/>
                      <a:pt x="48" y="106"/>
                    </a:cubicBezTo>
                    <a:cubicBezTo>
                      <a:pt x="53" y="106"/>
                      <a:pt x="53" y="106"/>
                      <a:pt x="53" y="106"/>
                    </a:cubicBezTo>
                    <a:cubicBezTo>
                      <a:pt x="55" y="106"/>
                      <a:pt x="55" y="106"/>
                      <a:pt x="55" y="106"/>
                    </a:cubicBezTo>
                    <a:cubicBezTo>
                      <a:pt x="56" y="106"/>
                      <a:pt x="56" y="106"/>
                      <a:pt x="56" y="106"/>
                    </a:cubicBezTo>
                    <a:lnTo>
                      <a:pt x="55" y="106"/>
                    </a:lnTo>
                    <a:close/>
                    <a:moveTo>
                      <a:pt x="56" y="107"/>
                    </a:moveTo>
                    <a:cubicBezTo>
                      <a:pt x="56" y="107"/>
                      <a:pt x="56" y="107"/>
                      <a:pt x="56" y="107"/>
                    </a:cubicBezTo>
                    <a:cubicBezTo>
                      <a:pt x="57" y="107"/>
                      <a:pt x="57" y="107"/>
                      <a:pt x="57" y="107"/>
                    </a:cubicBezTo>
                    <a:lnTo>
                      <a:pt x="56" y="107"/>
                    </a:lnTo>
                    <a:close/>
                    <a:moveTo>
                      <a:pt x="57" y="91"/>
                    </a:moveTo>
                    <a:cubicBezTo>
                      <a:pt x="57" y="92"/>
                      <a:pt x="57" y="92"/>
                      <a:pt x="57" y="92"/>
                    </a:cubicBezTo>
                    <a:cubicBezTo>
                      <a:pt x="57" y="93"/>
                      <a:pt x="57" y="93"/>
                      <a:pt x="57" y="93"/>
                    </a:cubicBezTo>
                    <a:cubicBezTo>
                      <a:pt x="57" y="92"/>
                      <a:pt x="57" y="92"/>
                      <a:pt x="57" y="92"/>
                    </a:cubicBezTo>
                    <a:cubicBezTo>
                      <a:pt x="57" y="91"/>
                      <a:pt x="57" y="91"/>
                      <a:pt x="57" y="91"/>
                    </a:cubicBezTo>
                    <a:cubicBezTo>
                      <a:pt x="56" y="91"/>
                      <a:pt x="56" y="91"/>
                      <a:pt x="56" y="91"/>
                    </a:cubicBezTo>
                    <a:cubicBezTo>
                      <a:pt x="57" y="91"/>
                      <a:pt x="57" y="91"/>
                      <a:pt x="57" y="91"/>
                    </a:cubicBezTo>
                    <a:cubicBezTo>
                      <a:pt x="59" y="91"/>
                      <a:pt x="59" y="91"/>
                      <a:pt x="59" y="91"/>
                    </a:cubicBezTo>
                    <a:cubicBezTo>
                      <a:pt x="59" y="91"/>
                      <a:pt x="59" y="91"/>
                      <a:pt x="59" y="91"/>
                    </a:cubicBezTo>
                    <a:lnTo>
                      <a:pt x="57" y="91"/>
                    </a:lnTo>
                    <a:close/>
                    <a:moveTo>
                      <a:pt x="58" y="120"/>
                    </a:moveTo>
                    <a:cubicBezTo>
                      <a:pt x="58" y="120"/>
                      <a:pt x="58" y="120"/>
                      <a:pt x="58" y="120"/>
                    </a:cubicBezTo>
                    <a:cubicBezTo>
                      <a:pt x="59" y="120"/>
                      <a:pt x="59" y="120"/>
                      <a:pt x="59" y="120"/>
                    </a:cubicBezTo>
                    <a:lnTo>
                      <a:pt x="58" y="120"/>
                    </a:lnTo>
                    <a:close/>
                    <a:moveTo>
                      <a:pt x="59" y="106"/>
                    </a:moveTo>
                    <a:cubicBezTo>
                      <a:pt x="59" y="106"/>
                      <a:pt x="59" y="106"/>
                      <a:pt x="59" y="106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59" y="106"/>
                      <a:pt x="59" y="106"/>
                      <a:pt x="59" y="106"/>
                    </a:cubicBezTo>
                    <a:close/>
                    <a:moveTo>
                      <a:pt x="60" y="110"/>
                    </a:moveTo>
                    <a:cubicBezTo>
                      <a:pt x="60" y="109"/>
                      <a:pt x="60" y="109"/>
                      <a:pt x="60" y="109"/>
                    </a:cubicBezTo>
                    <a:cubicBezTo>
                      <a:pt x="60" y="109"/>
                      <a:pt x="60" y="109"/>
                      <a:pt x="60" y="109"/>
                    </a:cubicBezTo>
                    <a:cubicBezTo>
                      <a:pt x="60" y="109"/>
                      <a:pt x="60" y="109"/>
                      <a:pt x="60" y="109"/>
                    </a:cubicBezTo>
                    <a:lnTo>
                      <a:pt x="60" y="110"/>
                    </a:lnTo>
                    <a:close/>
                    <a:moveTo>
                      <a:pt x="61" y="99"/>
                    </a:moveTo>
                    <a:cubicBezTo>
                      <a:pt x="60" y="98"/>
                      <a:pt x="60" y="98"/>
                      <a:pt x="60" y="98"/>
                    </a:cubicBezTo>
                    <a:cubicBezTo>
                      <a:pt x="61" y="99"/>
                      <a:pt x="61" y="99"/>
                      <a:pt x="61" y="99"/>
                    </a:cubicBezTo>
                    <a:cubicBezTo>
                      <a:pt x="62" y="100"/>
                      <a:pt x="62" y="100"/>
                      <a:pt x="62" y="100"/>
                    </a:cubicBezTo>
                    <a:cubicBezTo>
                      <a:pt x="63" y="100"/>
                      <a:pt x="63" y="100"/>
                      <a:pt x="63" y="100"/>
                    </a:cubicBezTo>
                    <a:cubicBezTo>
                      <a:pt x="62" y="100"/>
                      <a:pt x="62" y="100"/>
                      <a:pt x="62" y="100"/>
                    </a:cubicBezTo>
                    <a:lnTo>
                      <a:pt x="61" y="99"/>
                    </a:lnTo>
                    <a:close/>
                    <a:moveTo>
                      <a:pt x="62" y="120"/>
                    </a:moveTo>
                    <a:cubicBezTo>
                      <a:pt x="62" y="118"/>
                      <a:pt x="62" y="118"/>
                      <a:pt x="62" y="118"/>
                    </a:cubicBezTo>
                    <a:cubicBezTo>
                      <a:pt x="62" y="120"/>
                      <a:pt x="62" y="120"/>
                      <a:pt x="62" y="120"/>
                    </a:cubicBezTo>
                    <a:cubicBezTo>
                      <a:pt x="62" y="123"/>
                      <a:pt x="62" y="123"/>
                      <a:pt x="62" y="123"/>
                    </a:cubicBezTo>
                    <a:lnTo>
                      <a:pt x="62" y="120"/>
                    </a:lnTo>
                    <a:close/>
                    <a:moveTo>
                      <a:pt x="63" y="104"/>
                    </a:moveTo>
                    <a:cubicBezTo>
                      <a:pt x="62" y="105"/>
                      <a:pt x="62" y="105"/>
                      <a:pt x="62" y="105"/>
                    </a:cubicBezTo>
                    <a:cubicBezTo>
                      <a:pt x="63" y="104"/>
                      <a:pt x="63" y="104"/>
                      <a:pt x="63" y="104"/>
                    </a:cubicBezTo>
                    <a:cubicBezTo>
                      <a:pt x="64" y="103"/>
                      <a:pt x="64" y="103"/>
                      <a:pt x="64" y="103"/>
                    </a:cubicBezTo>
                    <a:cubicBezTo>
                      <a:pt x="64" y="103"/>
                      <a:pt x="64" y="103"/>
                      <a:pt x="64" y="103"/>
                    </a:cubicBezTo>
                    <a:lnTo>
                      <a:pt x="63" y="104"/>
                    </a:lnTo>
                    <a:close/>
                    <a:moveTo>
                      <a:pt x="64" y="102"/>
                    </a:moveTo>
                    <a:cubicBezTo>
                      <a:pt x="63" y="101"/>
                      <a:pt x="63" y="101"/>
                      <a:pt x="63" y="101"/>
                    </a:cubicBezTo>
                    <a:cubicBezTo>
                      <a:pt x="64" y="102"/>
                      <a:pt x="64" y="102"/>
                      <a:pt x="64" y="102"/>
                    </a:cubicBezTo>
                    <a:close/>
                    <a:moveTo>
                      <a:pt x="65" y="70"/>
                    </a:moveTo>
                    <a:cubicBezTo>
                      <a:pt x="64" y="70"/>
                      <a:pt x="64" y="70"/>
                      <a:pt x="64" y="70"/>
                    </a:cubicBezTo>
                    <a:cubicBezTo>
                      <a:pt x="64" y="70"/>
                      <a:pt x="62" y="69"/>
                      <a:pt x="61" y="68"/>
                    </a:cubicBezTo>
                    <a:cubicBezTo>
                      <a:pt x="61" y="68"/>
                      <a:pt x="61" y="68"/>
                      <a:pt x="61" y="68"/>
                    </a:cubicBezTo>
                    <a:cubicBezTo>
                      <a:pt x="61" y="68"/>
                      <a:pt x="61" y="68"/>
                      <a:pt x="61" y="68"/>
                    </a:cubicBezTo>
                    <a:cubicBezTo>
                      <a:pt x="62" y="69"/>
                      <a:pt x="64" y="70"/>
                      <a:pt x="64" y="70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5" y="71"/>
                      <a:pt x="65" y="71"/>
                      <a:pt x="65" y="71"/>
                    </a:cubicBezTo>
                    <a:lnTo>
                      <a:pt x="65" y="70"/>
                    </a:lnTo>
                    <a:close/>
                    <a:moveTo>
                      <a:pt x="65" y="71"/>
                    </a:moveTo>
                    <a:cubicBezTo>
                      <a:pt x="65" y="71"/>
                      <a:pt x="65" y="71"/>
                      <a:pt x="65" y="71"/>
                    </a:cubicBezTo>
                    <a:cubicBezTo>
                      <a:pt x="65" y="72"/>
                      <a:pt x="65" y="72"/>
                      <a:pt x="65" y="72"/>
                    </a:cubicBezTo>
                    <a:cubicBezTo>
                      <a:pt x="65" y="72"/>
                      <a:pt x="65" y="71"/>
                      <a:pt x="65" y="71"/>
                    </a:cubicBezTo>
                    <a:close/>
                    <a:moveTo>
                      <a:pt x="65" y="120"/>
                    </a:moveTo>
                    <a:cubicBezTo>
                      <a:pt x="65" y="117"/>
                      <a:pt x="65" y="117"/>
                      <a:pt x="65" y="117"/>
                    </a:cubicBezTo>
                    <a:cubicBezTo>
                      <a:pt x="65" y="115"/>
                      <a:pt x="65" y="115"/>
                      <a:pt x="65" y="115"/>
                    </a:cubicBezTo>
                    <a:cubicBezTo>
                      <a:pt x="66" y="114"/>
                      <a:pt x="66" y="114"/>
                      <a:pt x="66" y="114"/>
                    </a:cubicBezTo>
                    <a:cubicBezTo>
                      <a:pt x="65" y="115"/>
                      <a:pt x="65" y="115"/>
                      <a:pt x="65" y="115"/>
                    </a:cubicBezTo>
                    <a:cubicBezTo>
                      <a:pt x="65" y="117"/>
                      <a:pt x="65" y="117"/>
                      <a:pt x="65" y="117"/>
                    </a:cubicBezTo>
                    <a:lnTo>
                      <a:pt x="65" y="120"/>
                    </a:lnTo>
                    <a:close/>
                    <a:moveTo>
                      <a:pt x="65" y="101"/>
                    </a:moveTo>
                    <a:cubicBezTo>
                      <a:pt x="65" y="101"/>
                      <a:pt x="65" y="101"/>
                      <a:pt x="65" y="101"/>
                    </a:cubicBezTo>
                    <a:cubicBezTo>
                      <a:pt x="66" y="102"/>
                      <a:pt x="66" y="102"/>
                      <a:pt x="66" y="102"/>
                    </a:cubicBezTo>
                    <a:lnTo>
                      <a:pt x="65" y="101"/>
                    </a:lnTo>
                    <a:close/>
                    <a:moveTo>
                      <a:pt x="69" y="75"/>
                    </a:moveTo>
                    <a:cubicBezTo>
                      <a:pt x="68" y="75"/>
                      <a:pt x="68" y="75"/>
                      <a:pt x="67" y="75"/>
                    </a:cubicBezTo>
                    <a:cubicBezTo>
                      <a:pt x="68" y="75"/>
                      <a:pt x="68" y="75"/>
                      <a:pt x="69" y="75"/>
                    </a:cubicBezTo>
                    <a:close/>
                    <a:moveTo>
                      <a:pt x="67" y="74"/>
                    </a:moveTo>
                    <a:cubicBezTo>
                      <a:pt x="67" y="75"/>
                      <a:pt x="67" y="75"/>
                      <a:pt x="67" y="75"/>
                    </a:cubicBezTo>
                    <a:cubicBezTo>
                      <a:pt x="67" y="74"/>
                      <a:pt x="67" y="74"/>
                      <a:pt x="67" y="74"/>
                    </a:cubicBezTo>
                    <a:cubicBezTo>
                      <a:pt x="67" y="73"/>
                      <a:pt x="67" y="73"/>
                      <a:pt x="67" y="73"/>
                    </a:cubicBezTo>
                    <a:lnTo>
                      <a:pt x="67" y="74"/>
                    </a:lnTo>
                    <a:close/>
                    <a:moveTo>
                      <a:pt x="67" y="89"/>
                    </a:moveTo>
                    <a:cubicBezTo>
                      <a:pt x="67" y="89"/>
                      <a:pt x="67" y="89"/>
                      <a:pt x="67" y="89"/>
                    </a:cubicBezTo>
                    <a:cubicBezTo>
                      <a:pt x="67" y="89"/>
                      <a:pt x="67" y="89"/>
                      <a:pt x="67" y="89"/>
                    </a:cubicBezTo>
                    <a:close/>
                    <a:moveTo>
                      <a:pt x="67" y="112"/>
                    </a:moveTo>
                    <a:cubicBezTo>
                      <a:pt x="67" y="113"/>
                      <a:pt x="67" y="113"/>
                      <a:pt x="67" y="113"/>
                    </a:cubicBezTo>
                    <a:cubicBezTo>
                      <a:pt x="67" y="112"/>
                      <a:pt x="67" y="112"/>
                      <a:pt x="67" y="112"/>
                    </a:cubicBezTo>
                    <a:cubicBezTo>
                      <a:pt x="68" y="111"/>
                      <a:pt x="68" y="111"/>
                      <a:pt x="68" y="111"/>
                    </a:cubicBezTo>
                    <a:lnTo>
                      <a:pt x="67" y="112"/>
                    </a:lnTo>
                    <a:close/>
                    <a:moveTo>
                      <a:pt x="69" y="99"/>
                    </a:moveTo>
                    <a:cubicBezTo>
                      <a:pt x="69" y="100"/>
                      <a:pt x="68" y="102"/>
                      <a:pt x="68" y="102"/>
                    </a:cubicBezTo>
                    <a:cubicBezTo>
                      <a:pt x="68" y="102"/>
                      <a:pt x="68" y="102"/>
                      <a:pt x="68" y="102"/>
                    </a:cubicBezTo>
                    <a:cubicBezTo>
                      <a:pt x="68" y="102"/>
                      <a:pt x="69" y="100"/>
                      <a:pt x="69" y="99"/>
                    </a:cubicBezTo>
                    <a:cubicBezTo>
                      <a:pt x="69" y="99"/>
                      <a:pt x="69" y="99"/>
                      <a:pt x="69" y="98"/>
                    </a:cubicBezTo>
                    <a:cubicBezTo>
                      <a:pt x="69" y="99"/>
                      <a:pt x="69" y="99"/>
                      <a:pt x="69" y="99"/>
                    </a:cubicBezTo>
                    <a:close/>
                    <a:moveTo>
                      <a:pt x="70" y="75"/>
                    </a:moveTo>
                    <a:cubicBezTo>
                      <a:pt x="70" y="75"/>
                      <a:pt x="70" y="75"/>
                      <a:pt x="70" y="75"/>
                    </a:cubicBezTo>
                    <a:cubicBezTo>
                      <a:pt x="70" y="75"/>
                      <a:pt x="70" y="77"/>
                      <a:pt x="70" y="79"/>
                    </a:cubicBezTo>
                    <a:cubicBezTo>
                      <a:pt x="70" y="77"/>
                      <a:pt x="70" y="75"/>
                      <a:pt x="70" y="75"/>
                    </a:cubicBezTo>
                    <a:close/>
                    <a:moveTo>
                      <a:pt x="73" y="96"/>
                    </a:moveTo>
                    <a:cubicBezTo>
                      <a:pt x="72" y="96"/>
                      <a:pt x="72" y="96"/>
                      <a:pt x="72" y="96"/>
                    </a:cubicBezTo>
                    <a:cubicBezTo>
                      <a:pt x="73" y="96"/>
                      <a:pt x="73" y="96"/>
                      <a:pt x="73" y="96"/>
                    </a:cubicBezTo>
                    <a:cubicBezTo>
                      <a:pt x="73" y="95"/>
                      <a:pt x="73" y="95"/>
                      <a:pt x="73" y="95"/>
                    </a:cubicBezTo>
                    <a:lnTo>
                      <a:pt x="73" y="96"/>
                    </a:lnTo>
                    <a:close/>
                    <a:moveTo>
                      <a:pt x="75" y="96"/>
                    </a:moveTo>
                    <a:cubicBezTo>
                      <a:pt x="74" y="95"/>
                      <a:pt x="74" y="95"/>
                      <a:pt x="74" y="95"/>
                    </a:cubicBezTo>
                    <a:cubicBezTo>
                      <a:pt x="75" y="96"/>
                      <a:pt x="75" y="96"/>
                      <a:pt x="75" y="96"/>
                    </a:cubicBezTo>
                    <a:cubicBezTo>
                      <a:pt x="76" y="96"/>
                      <a:pt x="76" y="96"/>
                      <a:pt x="76" y="96"/>
                    </a:cubicBezTo>
                    <a:lnTo>
                      <a:pt x="75" y="96"/>
                    </a:lnTo>
                    <a:close/>
                    <a:moveTo>
                      <a:pt x="75" y="73"/>
                    </a:moveTo>
                    <a:cubicBezTo>
                      <a:pt x="76" y="72"/>
                      <a:pt x="78" y="70"/>
                      <a:pt x="79" y="69"/>
                    </a:cubicBezTo>
                    <a:cubicBezTo>
                      <a:pt x="78" y="70"/>
                      <a:pt x="76" y="72"/>
                      <a:pt x="75" y="73"/>
                    </a:cubicBezTo>
                    <a:close/>
                    <a:moveTo>
                      <a:pt x="81" y="16"/>
                    </a:moveTo>
                    <a:cubicBezTo>
                      <a:pt x="81" y="16"/>
                      <a:pt x="81" y="16"/>
                      <a:pt x="81" y="16"/>
                    </a:cubicBezTo>
                    <a:cubicBezTo>
                      <a:pt x="81" y="16"/>
                      <a:pt x="81" y="16"/>
                      <a:pt x="81" y="16"/>
                    </a:cubicBezTo>
                    <a:cubicBezTo>
                      <a:pt x="81" y="16"/>
                      <a:pt x="81" y="17"/>
                      <a:pt x="81" y="17"/>
                    </a:cubicBezTo>
                    <a:cubicBezTo>
                      <a:pt x="81" y="17"/>
                      <a:pt x="81" y="16"/>
                      <a:pt x="81" y="16"/>
                    </a:cubicBezTo>
                    <a:close/>
                    <a:moveTo>
                      <a:pt x="86" y="46"/>
                    </a:moveTo>
                    <a:cubicBezTo>
                      <a:pt x="86" y="46"/>
                      <a:pt x="86" y="46"/>
                      <a:pt x="86" y="46"/>
                    </a:cubicBezTo>
                    <a:cubicBezTo>
                      <a:pt x="86" y="46"/>
                      <a:pt x="86" y="46"/>
                      <a:pt x="86" y="46"/>
                    </a:cubicBezTo>
                    <a:close/>
                    <a:moveTo>
                      <a:pt x="85" y="21"/>
                    </a:moveTo>
                    <a:cubicBezTo>
                      <a:pt x="85" y="21"/>
                      <a:pt x="86" y="23"/>
                      <a:pt x="86" y="25"/>
                    </a:cubicBezTo>
                    <a:cubicBezTo>
                      <a:pt x="86" y="25"/>
                      <a:pt x="86" y="25"/>
                      <a:pt x="86" y="26"/>
                    </a:cubicBezTo>
                    <a:cubicBezTo>
                      <a:pt x="86" y="25"/>
                      <a:pt x="86" y="25"/>
                      <a:pt x="86" y="25"/>
                    </a:cubicBezTo>
                    <a:cubicBezTo>
                      <a:pt x="86" y="23"/>
                      <a:pt x="85" y="21"/>
                      <a:pt x="85" y="21"/>
                    </a:cubicBezTo>
                    <a:close/>
                    <a:moveTo>
                      <a:pt x="84" y="2"/>
                    </a:moveTo>
                    <a:cubicBezTo>
                      <a:pt x="84" y="2"/>
                      <a:pt x="84" y="2"/>
                      <a:pt x="84" y="2"/>
                    </a:cubicBezTo>
                    <a:cubicBezTo>
                      <a:pt x="83" y="2"/>
                      <a:pt x="83" y="2"/>
                      <a:pt x="83" y="2"/>
                    </a:cubicBezTo>
                    <a:lnTo>
                      <a:pt x="84" y="2"/>
                    </a:lnTo>
                    <a:close/>
                    <a:moveTo>
                      <a:pt x="82" y="19"/>
                    </a:move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19"/>
                      <a:pt x="82" y="18"/>
                      <a:pt x="82" y="18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82" y="18"/>
                      <a:pt x="82" y="19"/>
                      <a:pt x="82" y="19"/>
                    </a:cubicBezTo>
                    <a:close/>
                    <a:moveTo>
                      <a:pt x="82" y="12"/>
                    </a:moveTo>
                    <a:cubicBezTo>
                      <a:pt x="82" y="12"/>
                      <a:pt x="82" y="12"/>
                      <a:pt x="81" y="13"/>
                    </a:cubicBezTo>
                    <a:cubicBezTo>
                      <a:pt x="82" y="12"/>
                      <a:pt x="82" y="12"/>
                      <a:pt x="82" y="12"/>
                    </a:cubicBezTo>
                    <a:cubicBezTo>
                      <a:pt x="83" y="10"/>
                      <a:pt x="83" y="9"/>
                      <a:pt x="83" y="9"/>
                    </a:cubicBezTo>
                    <a:cubicBezTo>
                      <a:pt x="83" y="6"/>
                      <a:pt x="83" y="6"/>
                      <a:pt x="83" y="6"/>
                    </a:cubicBezTo>
                    <a:cubicBezTo>
                      <a:pt x="82" y="3"/>
                      <a:pt x="82" y="3"/>
                      <a:pt x="82" y="3"/>
                    </a:cubicBezTo>
                    <a:cubicBezTo>
                      <a:pt x="82" y="3"/>
                      <a:pt x="82" y="3"/>
                      <a:pt x="82" y="3"/>
                    </a:cubicBezTo>
                    <a:cubicBezTo>
                      <a:pt x="83" y="6"/>
                      <a:pt x="83" y="6"/>
                      <a:pt x="83" y="6"/>
                    </a:cubicBezTo>
                    <a:cubicBezTo>
                      <a:pt x="83" y="9"/>
                      <a:pt x="83" y="9"/>
                      <a:pt x="83" y="9"/>
                    </a:cubicBezTo>
                    <a:cubicBezTo>
                      <a:pt x="83" y="9"/>
                      <a:pt x="83" y="10"/>
                      <a:pt x="82" y="12"/>
                    </a:cubicBezTo>
                    <a:close/>
                    <a:moveTo>
                      <a:pt x="85" y="129"/>
                    </a:moveTo>
                    <a:cubicBezTo>
                      <a:pt x="84" y="127"/>
                      <a:pt x="84" y="127"/>
                      <a:pt x="84" y="127"/>
                    </a:cubicBezTo>
                    <a:cubicBezTo>
                      <a:pt x="85" y="129"/>
                      <a:pt x="85" y="129"/>
                      <a:pt x="85" y="129"/>
                    </a:cubicBezTo>
                    <a:close/>
                    <a:moveTo>
                      <a:pt x="84" y="99"/>
                    </a:moveTo>
                    <a:cubicBezTo>
                      <a:pt x="84" y="98"/>
                      <a:pt x="84" y="98"/>
                      <a:pt x="83" y="98"/>
                    </a:cubicBezTo>
                    <a:cubicBezTo>
                      <a:pt x="84" y="98"/>
                      <a:pt x="84" y="98"/>
                      <a:pt x="84" y="99"/>
                    </a:cubicBezTo>
                    <a:cubicBezTo>
                      <a:pt x="85" y="99"/>
                      <a:pt x="86" y="100"/>
                      <a:pt x="86" y="100"/>
                    </a:cubicBezTo>
                    <a:cubicBezTo>
                      <a:pt x="87" y="99"/>
                      <a:pt x="87" y="99"/>
                      <a:pt x="87" y="99"/>
                    </a:cubicBezTo>
                    <a:cubicBezTo>
                      <a:pt x="86" y="100"/>
                      <a:pt x="86" y="100"/>
                      <a:pt x="86" y="100"/>
                    </a:cubicBezTo>
                    <a:cubicBezTo>
                      <a:pt x="86" y="100"/>
                      <a:pt x="85" y="99"/>
                      <a:pt x="84" y="99"/>
                    </a:cubicBezTo>
                    <a:close/>
                    <a:moveTo>
                      <a:pt x="86" y="125"/>
                    </a:moveTo>
                    <a:cubicBezTo>
                      <a:pt x="86" y="125"/>
                      <a:pt x="86" y="125"/>
                      <a:pt x="86" y="125"/>
                    </a:cubicBezTo>
                    <a:cubicBezTo>
                      <a:pt x="87" y="123"/>
                      <a:pt x="87" y="123"/>
                      <a:pt x="87" y="123"/>
                    </a:cubicBezTo>
                    <a:lnTo>
                      <a:pt x="86" y="125"/>
                    </a:lnTo>
                    <a:close/>
                    <a:moveTo>
                      <a:pt x="88" y="44"/>
                    </a:moveTo>
                    <a:cubicBezTo>
                      <a:pt x="88" y="43"/>
                      <a:pt x="88" y="43"/>
                      <a:pt x="88" y="43"/>
                    </a:cubicBezTo>
                    <a:cubicBezTo>
                      <a:pt x="88" y="43"/>
                      <a:pt x="88" y="43"/>
                      <a:pt x="88" y="43"/>
                    </a:cubicBezTo>
                    <a:cubicBezTo>
                      <a:pt x="88" y="44"/>
                      <a:pt x="88" y="44"/>
                      <a:pt x="88" y="44"/>
                    </a:cubicBezTo>
                    <a:close/>
                    <a:moveTo>
                      <a:pt x="88" y="41"/>
                    </a:moveTo>
                    <a:cubicBezTo>
                      <a:pt x="88" y="41"/>
                      <a:pt x="88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8" y="39"/>
                      <a:pt x="88" y="39"/>
                      <a:pt x="88" y="39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8" y="39"/>
                      <a:pt x="88" y="39"/>
                      <a:pt x="88" y="39"/>
                    </a:cubicBezTo>
                    <a:lnTo>
                      <a:pt x="88" y="41"/>
                    </a:lnTo>
                    <a:close/>
                    <a:moveTo>
                      <a:pt x="88" y="37"/>
                    </a:moveTo>
                    <a:cubicBezTo>
                      <a:pt x="88" y="37"/>
                      <a:pt x="88" y="37"/>
                      <a:pt x="88" y="37"/>
                    </a:cubicBezTo>
                    <a:cubicBezTo>
                      <a:pt x="88" y="37"/>
                      <a:pt x="88" y="36"/>
                      <a:pt x="88" y="35"/>
                    </a:cubicBezTo>
                    <a:cubicBezTo>
                      <a:pt x="88" y="34"/>
                      <a:pt x="88" y="33"/>
                      <a:pt x="88" y="33"/>
                    </a:cubicBezTo>
                    <a:cubicBezTo>
                      <a:pt x="88" y="33"/>
                      <a:pt x="88" y="33"/>
                      <a:pt x="88" y="33"/>
                    </a:cubicBezTo>
                    <a:cubicBezTo>
                      <a:pt x="88" y="33"/>
                      <a:pt x="88" y="33"/>
                      <a:pt x="88" y="33"/>
                    </a:cubicBezTo>
                    <a:cubicBezTo>
                      <a:pt x="88" y="33"/>
                      <a:pt x="88" y="34"/>
                      <a:pt x="88" y="35"/>
                    </a:cubicBezTo>
                    <a:cubicBezTo>
                      <a:pt x="88" y="36"/>
                      <a:pt x="88" y="37"/>
                      <a:pt x="88" y="37"/>
                    </a:cubicBezTo>
                    <a:close/>
                    <a:moveTo>
                      <a:pt x="88" y="30"/>
                    </a:moveTo>
                    <a:cubicBezTo>
                      <a:pt x="87" y="30"/>
                      <a:pt x="87" y="30"/>
                      <a:pt x="87" y="30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88" y="29"/>
                      <a:pt x="88" y="29"/>
                      <a:pt x="88" y="29"/>
                    </a:cubicBezTo>
                    <a:lnTo>
                      <a:pt x="88" y="30"/>
                    </a:lnTo>
                    <a:close/>
                    <a:moveTo>
                      <a:pt x="88" y="51"/>
                    </a:moveTo>
                    <a:cubicBezTo>
                      <a:pt x="88" y="51"/>
                      <a:pt x="88" y="51"/>
                      <a:pt x="88" y="51"/>
                    </a:cubicBezTo>
                    <a:cubicBezTo>
                      <a:pt x="89" y="53"/>
                      <a:pt x="89" y="53"/>
                      <a:pt x="89" y="53"/>
                    </a:cubicBezTo>
                    <a:lnTo>
                      <a:pt x="88" y="51"/>
                    </a:lnTo>
                    <a:close/>
                    <a:moveTo>
                      <a:pt x="89" y="23"/>
                    </a:moveTo>
                    <a:cubicBezTo>
                      <a:pt x="89" y="24"/>
                      <a:pt x="89" y="24"/>
                      <a:pt x="89" y="24"/>
                    </a:cubicBezTo>
                    <a:cubicBezTo>
                      <a:pt x="89" y="23"/>
                      <a:pt x="89" y="23"/>
                      <a:pt x="89" y="23"/>
                    </a:cubicBezTo>
                    <a:cubicBezTo>
                      <a:pt x="90" y="23"/>
                      <a:pt x="90" y="23"/>
                      <a:pt x="90" y="23"/>
                    </a:cubicBezTo>
                    <a:lnTo>
                      <a:pt x="89" y="23"/>
                    </a:lnTo>
                    <a:close/>
                    <a:moveTo>
                      <a:pt x="97" y="216"/>
                    </a:moveTo>
                    <a:cubicBezTo>
                      <a:pt x="95" y="216"/>
                      <a:pt x="95" y="216"/>
                      <a:pt x="95" y="216"/>
                    </a:cubicBezTo>
                    <a:cubicBezTo>
                      <a:pt x="97" y="216"/>
                      <a:pt x="97" y="216"/>
                      <a:pt x="97" y="216"/>
                    </a:cubicBezTo>
                    <a:close/>
                    <a:moveTo>
                      <a:pt x="98" y="216"/>
                    </a:moveTo>
                    <a:cubicBezTo>
                      <a:pt x="99" y="214"/>
                      <a:pt x="99" y="214"/>
                      <a:pt x="99" y="214"/>
                    </a:cubicBezTo>
                    <a:cubicBezTo>
                      <a:pt x="99" y="214"/>
                      <a:pt x="99" y="214"/>
                      <a:pt x="99" y="214"/>
                    </a:cubicBezTo>
                    <a:lnTo>
                      <a:pt x="98" y="216"/>
                    </a:lnTo>
                    <a:close/>
                    <a:moveTo>
                      <a:pt x="184" y="191"/>
                    </a:moveTo>
                    <a:cubicBezTo>
                      <a:pt x="184" y="192"/>
                      <a:pt x="184" y="192"/>
                      <a:pt x="184" y="192"/>
                    </a:cubicBezTo>
                    <a:cubicBezTo>
                      <a:pt x="184" y="192"/>
                      <a:pt x="184" y="192"/>
                      <a:pt x="184" y="192"/>
                    </a:cubicBezTo>
                    <a:lnTo>
                      <a:pt x="184" y="191"/>
                    </a:lnTo>
                    <a:close/>
                    <a:moveTo>
                      <a:pt x="178" y="80"/>
                    </a:moveTo>
                    <a:cubicBezTo>
                      <a:pt x="177" y="81"/>
                      <a:pt x="177" y="81"/>
                      <a:pt x="177" y="81"/>
                    </a:cubicBezTo>
                    <a:cubicBezTo>
                      <a:pt x="177" y="83"/>
                      <a:pt x="177" y="83"/>
                      <a:pt x="177" y="83"/>
                    </a:cubicBezTo>
                    <a:cubicBezTo>
                      <a:pt x="177" y="83"/>
                      <a:pt x="177" y="83"/>
                      <a:pt x="177" y="83"/>
                    </a:cubicBezTo>
                    <a:cubicBezTo>
                      <a:pt x="177" y="81"/>
                      <a:pt x="177" y="81"/>
                      <a:pt x="177" y="81"/>
                    </a:cubicBezTo>
                    <a:lnTo>
                      <a:pt x="178" y="80"/>
                    </a:lnTo>
                    <a:close/>
                    <a:moveTo>
                      <a:pt x="178" y="90"/>
                    </a:moveTo>
                    <a:cubicBezTo>
                      <a:pt x="178" y="90"/>
                      <a:pt x="178" y="90"/>
                      <a:pt x="178" y="90"/>
                    </a:cubicBezTo>
                    <a:cubicBezTo>
                      <a:pt x="176" y="95"/>
                      <a:pt x="176" y="95"/>
                      <a:pt x="176" y="95"/>
                    </a:cubicBezTo>
                    <a:cubicBezTo>
                      <a:pt x="176" y="95"/>
                      <a:pt x="176" y="95"/>
                      <a:pt x="176" y="95"/>
                    </a:cubicBezTo>
                    <a:lnTo>
                      <a:pt x="178" y="90"/>
                    </a:lnTo>
                    <a:close/>
                    <a:moveTo>
                      <a:pt x="174" y="87"/>
                    </a:moveTo>
                    <a:cubicBezTo>
                      <a:pt x="175" y="83"/>
                      <a:pt x="175" y="83"/>
                      <a:pt x="175" y="83"/>
                    </a:cubicBezTo>
                    <a:cubicBezTo>
                      <a:pt x="175" y="83"/>
                      <a:pt x="175" y="83"/>
                      <a:pt x="175" y="83"/>
                    </a:cubicBezTo>
                    <a:cubicBezTo>
                      <a:pt x="174" y="87"/>
                      <a:pt x="174" y="87"/>
                      <a:pt x="174" y="87"/>
                    </a:cubicBezTo>
                    <a:cubicBezTo>
                      <a:pt x="173" y="89"/>
                      <a:pt x="173" y="89"/>
                      <a:pt x="173" y="89"/>
                    </a:cubicBezTo>
                    <a:lnTo>
                      <a:pt x="174" y="87"/>
                    </a:lnTo>
                    <a:close/>
                    <a:moveTo>
                      <a:pt x="175" y="94"/>
                    </a:moveTo>
                    <a:cubicBezTo>
                      <a:pt x="175" y="93"/>
                      <a:pt x="175" y="93"/>
                      <a:pt x="175" y="93"/>
                    </a:cubicBezTo>
                    <a:cubicBezTo>
                      <a:pt x="175" y="93"/>
                      <a:pt x="175" y="93"/>
                      <a:pt x="175" y="93"/>
                    </a:cubicBezTo>
                    <a:lnTo>
                      <a:pt x="175" y="94"/>
                    </a:lnTo>
                    <a:close/>
                    <a:moveTo>
                      <a:pt x="173" y="95"/>
                    </a:moveTo>
                    <a:cubicBezTo>
                      <a:pt x="173" y="93"/>
                      <a:pt x="173" y="93"/>
                      <a:pt x="173" y="93"/>
                    </a:cubicBezTo>
                    <a:cubicBezTo>
                      <a:pt x="173" y="94"/>
                      <a:pt x="173" y="94"/>
                      <a:pt x="173" y="94"/>
                    </a:cubicBezTo>
                    <a:cubicBezTo>
                      <a:pt x="173" y="94"/>
                      <a:pt x="173" y="94"/>
                      <a:pt x="173" y="94"/>
                    </a:cubicBezTo>
                    <a:cubicBezTo>
                      <a:pt x="173" y="95"/>
                      <a:pt x="173" y="95"/>
                      <a:pt x="173" y="95"/>
                    </a:cubicBezTo>
                    <a:cubicBezTo>
                      <a:pt x="173" y="99"/>
                      <a:pt x="173" y="99"/>
                      <a:pt x="173" y="99"/>
                    </a:cubicBezTo>
                    <a:cubicBezTo>
                      <a:pt x="173" y="99"/>
                      <a:pt x="173" y="99"/>
                      <a:pt x="173" y="99"/>
                    </a:cubicBezTo>
                    <a:lnTo>
                      <a:pt x="173" y="95"/>
                    </a:lnTo>
                    <a:close/>
                    <a:moveTo>
                      <a:pt x="173" y="132"/>
                    </a:moveTo>
                    <a:cubicBezTo>
                      <a:pt x="175" y="132"/>
                      <a:pt x="175" y="132"/>
                      <a:pt x="175" y="132"/>
                    </a:cubicBezTo>
                    <a:cubicBezTo>
                      <a:pt x="176" y="133"/>
                      <a:pt x="176" y="133"/>
                      <a:pt x="176" y="133"/>
                    </a:cubicBezTo>
                    <a:cubicBezTo>
                      <a:pt x="175" y="132"/>
                      <a:pt x="175" y="132"/>
                      <a:pt x="175" y="132"/>
                    </a:cubicBezTo>
                    <a:cubicBezTo>
                      <a:pt x="173" y="132"/>
                      <a:pt x="173" y="132"/>
                      <a:pt x="173" y="132"/>
                    </a:cubicBezTo>
                    <a:cubicBezTo>
                      <a:pt x="171" y="131"/>
                      <a:pt x="171" y="131"/>
                      <a:pt x="171" y="131"/>
                    </a:cubicBezTo>
                    <a:cubicBezTo>
                      <a:pt x="170" y="130"/>
                      <a:pt x="170" y="130"/>
                      <a:pt x="170" y="130"/>
                    </a:cubicBezTo>
                    <a:cubicBezTo>
                      <a:pt x="171" y="131"/>
                      <a:pt x="171" y="131"/>
                      <a:pt x="171" y="131"/>
                    </a:cubicBezTo>
                    <a:lnTo>
                      <a:pt x="173" y="132"/>
                    </a:lnTo>
                    <a:close/>
                    <a:moveTo>
                      <a:pt x="170" y="128"/>
                    </a:moveTo>
                    <a:cubicBezTo>
                      <a:pt x="171" y="129"/>
                      <a:pt x="171" y="129"/>
                      <a:pt x="171" y="129"/>
                    </a:cubicBezTo>
                    <a:cubicBezTo>
                      <a:pt x="171" y="129"/>
                      <a:pt x="171" y="129"/>
                      <a:pt x="171" y="129"/>
                    </a:cubicBezTo>
                    <a:lnTo>
                      <a:pt x="170" y="128"/>
                    </a:lnTo>
                    <a:close/>
                    <a:moveTo>
                      <a:pt x="168" y="106"/>
                    </a:moveTo>
                    <a:cubicBezTo>
                      <a:pt x="168" y="106"/>
                      <a:pt x="172" y="101"/>
                      <a:pt x="171" y="100"/>
                    </a:cubicBezTo>
                    <a:cubicBezTo>
                      <a:pt x="171" y="100"/>
                      <a:pt x="171" y="100"/>
                      <a:pt x="171" y="100"/>
                    </a:cubicBezTo>
                    <a:cubicBezTo>
                      <a:pt x="171" y="100"/>
                      <a:pt x="171" y="100"/>
                      <a:pt x="171" y="100"/>
                    </a:cubicBezTo>
                    <a:cubicBezTo>
                      <a:pt x="172" y="101"/>
                      <a:pt x="168" y="106"/>
                      <a:pt x="168" y="106"/>
                    </a:cubicBezTo>
                    <a:cubicBezTo>
                      <a:pt x="168" y="107"/>
                      <a:pt x="168" y="107"/>
                      <a:pt x="168" y="107"/>
                    </a:cubicBezTo>
                    <a:lnTo>
                      <a:pt x="168" y="106"/>
                    </a:lnTo>
                    <a:close/>
                    <a:moveTo>
                      <a:pt x="168" y="130"/>
                    </a:moveTo>
                    <a:cubicBezTo>
                      <a:pt x="170" y="130"/>
                      <a:pt x="170" y="130"/>
                      <a:pt x="170" y="130"/>
                    </a:cubicBezTo>
                    <a:cubicBezTo>
                      <a:pt x="170" y="129"/>
                      <a:pt x="170" y="129"/>
                      <a:pt x="170" y="129"/>
                    </a:cubicBezTo>
                    <a:cubicBezTo>
                      <a:pt x="170" y="130"/>
                      <a:pt x="170" y="130"/>
                      <a:pt x="170" y="130"/>
                    </a:cubicBezTo>
                    <a:cubicBezTo>
                      <a:pt x="170" y="130"/>
                      <a:pt x="170" y="130"/>
                      <a:pt x="170" y="130"/>
                    </a:cubicBezTo>
                    <a:cubicBezTo>
                      <a:pt x="170" y="130"/>
                      <a:pt x="170" y="130"/>
                      <a:pt x="170" y="130"/>
                    </a:cubicBezTo>
                    <a:cubicBezTo>
                      <a:pt x="168" y="130"/>
                      <a:pt x="168" y="130"/>
                      <a:pt x="168" y="130"/>
                    </a:cubicBezTo>
                    <a:cubicBezTo>
                      <a:pt x="166" y="131"/>
                      <a:pt x="166" y="131"/>
                      <a:pt x="166" y="131"/>
                    </a:cubicBezTo>
                    <a:lnTo>
                      <a:pt x="168" y="130"/>
                    </a:lnTo>
                    <a:close/>
                    <a:moveTo>
                      <a:pt x="167" y="192"/>
                    </a:moveTo>
                    <a:cubicBezTo>
                      <a:pt x="167" y="191"/>
                      <a:pt x="167" y="191"/>
                      <a:pt x="167" y="191"/>
                    </a:cubicBezTo>
                    <a:cubicBezTo>
                      <a:pt x="167" y="192"/>
                      <a:pt x="167" y="192"/>
                      <a:pt x="167" y="192"/>
                    </a:cubicBezTo>
                    <a:cubicBezTo>
                      <a:pt x="168" y="193"/>
                      <a:pt x="168" y="193"/>
                      <a:pt x="168" y="193"/>
                    </a:cubicBezTo>
                    <a:cubicBezTo>
                      <a:pt x="168" y="194"/>
                      <a:pt x="168" y="194"/>
                      <a:pt x="168" y="194"/>
                    </a:cubicBezTo>
                    <a:cubicBezTo>
                      <a:pt x="168" y="194"/>
                      <a:pt x="168" y="194"/>
                      <a:pt x="168" y="194"/>
                    </a:cubicBezTo>
                    <a:cubicBezTo>
                      <a:pt x="168" y="193"/>
                      <a:pt x="168" y="193"/>
                      <a:pt x="168" y="193"/>
                    </a:cubicBezTo>
                    <a:lnTo>
                      <a:pt x="167" y="192"/>
                    </a:lnTo>
                    <a:close/>
                    <a:moveTo>
                      <a:pt x="167" y="187"/>
                    </a:moveTo>
                    <a:cubicBezTo>
                      <a:pt x="167" y="187"/>
                      <a:pt x="166" y="186"/>
                      <a:pt x="166" y="186"/>
                    </a:cubicBezTo>
                    <a:cubicBezTo>
                      <a:pt x="166" y="186"/>
                      <a:pt x="166" y="186"/>
                      <a:pt x="166" y="186"/>
                    </a:cubicBezTo>
                    <a:cubicBezTo>
                      <a:pt x="166" y="186"/>
                      <a:pt x="167" y="187"/>
                      <a:pt x="167" y="187"/>
                    </a:cubicBezTo>
                    <a:cubicBezTo>
                      <a:pt x="167" y="187"/>
                      <a:pt x="167" y="188"/>
                      <a:pt x="167" y="188"/>
                    </a:cubicBezTo>
                    <a:cubicBezTo>
                      <a:pt x="167" y="188"/>
                      <a:pt x="167" y="187"/>
                      <a:pt x="167" y="187"/>
                    </a:cubicBezTo>
                    <a:close/>
                    <a:moveTo>
                      <a:pt x="167" y="196"/>
                    </a:moveTo>
                    <a:cubicBezTo>
                      <a:pt x="166" y="196"/>
                      <a:pt x="166" y="196"/>
                      <a:pt x="166" y="196"/>
                    </a:cubicBezTo>
                    <a:cubicBezTo>
                      <a:pt x="166" y="196"/>
                      <a:pt x="167" y="197"/>
                      <a:pt x="168" y="198"/>
                    </a:cubicBezTo>
                    <a:cubicBezTo>
                      <a:pt x="167" y="197"/>
                      <a:pt x="166" y="196"/>
                      <a:pt x="166" y="196"/>
                    </a:cubicBezTo>
                    <a:lnTo>
                      <a:pt x="167" y="196"/>
                    </a:lnTo>
                    <a:close/>
                    <a:moveTo>
                      <a:pt x="167" y="106"/>
                    </a:moveTo>
                    <a:cubicBezTo>
                      <a:pt x="167" y="107"/>
                      <a:pt x="167" y="107"/>
                      <a:pt x="167" y="107"/>
                    </a:cubicBezTo>
                    <a:cubicBezTo>
                      <a:pt x="167" y="106"/>
                      <a:pt x="167" y="106"/>
                      <a:pt x="167" y="106"/>
                    </a:cubicBezTo>
                    <a:cubicBezTo>
                      <a:pt x="166" y="107"/>
                      <a:pt x="166" y="107"/>
                      <a:pt x="166" y="107"/>
                    </a:cubicBezTo>
                    <a:cubicBezTo>
                      <a:pt x="166" y="107"/>
                      <a:pt x="166" y="107"/>
                      <a:pt x="166" y="107"/>
                    </a:cubicBezTo>
                    <a:lnTo>
                      <a:pt x="167" y="106"/>
                    </a:lnTo>
                    <a:close/>
                    <a:moveTo>
                      <a:pt x="166" y="107"/>
                    </a:moveTo>
                    <a:cubicBezTo>
                      <a:pt x="166" y="109"/>
                      <a:pt x="166" y="109"/>
                      <a:pt x="166" y="109"/>
                    </a:cubicBezTo>
                    <a:cubicBezTo>
                      <a:pt x="166" y="111"/>
                      <a:pt x="166" y="111"/>
                      <a:pt x="166" y="111"/>
                    </a:cubicBezTo>
                    <a:cubicBezTo>
                      <a:pt x="166" y="109"/>
                      <a:pt x="166" y="109"/>
                      <a:pt x="166" y="109"/>
                    </a:cubicBezTo>
                    <a:lnTo>
                      <a:pt x="166" y="107"/>
                    </a:lnTo>
                    <a:close/>
                    <a:moveTo>
                      <a:pt x="166" y="121"/>
                    </a:moveTo>
                    <a:cubicBezTo>
                      <a:pt x="167" y="123"/>
                      <a:pt x="167" y="123"/>
                      <a:pt x="167" y="123"/>
                    </a:cubicBezTo>
                    <a:cubicBezTo>
                      <a:pt x="166" y="121"/>
                      <a:pt x="166" y="121"/>
                      <a:pt x="166" y="121"/>
                    </a:cubicBezTo>
                    <a:cubicBezTo>
                      <a:pt x="165" y="120"/>
                      <a:pt x="165" y="120"/>
                      <a:pt x="165" y="120"/>
                    </a:cubicBezTo>
                    <a:lnTo>
                      <a:pt x="166" y="121"/>
                    </a:lnTo>
                    <a:close/>
                    <a:moveTo>
                      <a:pt x="162" y="116"/>
                    </a:moveTo>
                    <a:cubicBezTo>
                      <a:pt x="163" y="117"/>
                      <a:pt x="163" y="117"/>
                      <a:pt x="163" y="117"/>
                    </a:cubicBezTo>
                    <a:cubicBezTo>
                      <a:pt x="163" y="117"/>
                      <a:pt x="163" y="117"/>
                      <a:pt x="163" y="117"/>
                    </a:cubicBezTo>
                    <a:cubicBezTo>
                      <a:pt x="162" y="116"/>
                      <a:pt x="162" y="116"/>
                      <a:pt x="162" y="116"/>
                    </a:cubicBezTo>
                    <a:close/>
                    <a:moveTo>
                      <a:pt x="162" y="118"/>
                    </a:moveTo>
                    <a:cubicBezTo>
                      <a:pt x="163" y="119"/>
                      <a:pt x="163" y="119"/>
                      <a:pt x="163" y="119"/>
                    </a:cubicBezTo>
                    <a:cubicBezTo>
                      <a:pt x="162" y="118"/>
                      <a:pt x="162" y="118"/>
                      <a:pt x="162" y="118"/>
                    </a:cubicBezTo>
                    <a:close/>
                    <a:moveTo>
                      <a:pt x="158" y="136"/>
                    </a:moveTo>
                    <a:cubicBezTo>
                      <a:pt x="161" y="135"/>
                      <a:pt x="161" y="135"/>
                      <a:pt x="161" y="135"/>
                    </a:cubicBezTo>
                    <a:cubicBezTo>
                      <a:pt x="164" y="134"/>
                      <a:pt x="164" y="134"/>
                      <a:pt x="164" y="134"/>
                    </a:cubicBezTo>
                    <a:cubicBezTo>
                      <a:pt x="164" y="134"/>
                      <a:pt x="164" y="134"/>
                      <a:pt x="164" y="134"/>
                    </a:cubicBezTo>
                    <a:cubicBezTo>
                      <a:pt x="161" y="135"/>
                      <a:pt x="161" y="135"/>
                      <a:pt x="161" y="135"/>
                    </a:cubicBezTo>
                    <a:cubicBezTo>
                      <a:pt x="158" y="136"/>
                      <a:pt x="158" y="136"/>
                      <a:pt x="158" y="136"/>
                    </a:cubicBezTo>
                    <a:cubicBezTo>
                      <a:pt x="158" y="135"/>
                      <a:pt x="158" y="135"/>
                      <a:pt x="158" y="135"/>
                    </a:cubicBezTo>
                    <a:lnTo>
                      <a:pt x="158" y="136"/>
                    </a:lnTo>
                    <a:close/>
                    <a:moveTo>
                      <a:pt x="154" y="134"/>
                    </a:moveTo>
                    <a:cubicBezTo>
                      <a:pt x="154" y="135"/>
                      <a:pt x="154" y="135"/>
                      <a:pt x="154" y="135"/>
                    </a:cubicBezTo>
                    <a:cubicBezTo>
                      <a:pt x="156" y="135"/>
                      <a:pt x="156" y="135"/>
                      <a:pt x="156" y="135"/>
                    </a:cubicBezTo>
                    <a:cubicBezTo>
                      <a:pt x="158" y="134"/>
                      <a:pt x="158" y="134"/>
                      <a:pt x="158" y="134"/>
                    </a:cubicBezTo>
                    <a:cubicBezTo>
                      <a:pt x="158" y="134"/>
                      <a:pt x="158" y="134"/>
                      <a:pt x="158" y="134"/>
                    </a:cubicBezTo>
                    <a:cubicBezTo>
                      <a:pt x="156" y="135"/>
                      <a:pt x="156" y="135"/>
                      <a:pt x="156" y="135"/>
                    </a:cubicBezTo>
                    <a:cubicBezTo>
                      <a:pt x="154" y="135"/>
                      <a:pt x="154" y="135"/>
                      <a:pt x="154" y="135"/>
                    </a:cubicBezTo>
                    <a:cubicBezTo>
                      <a:pt x="154" y="134"/>
                      <a:pt x="154" y="134"/>
                      <a:pt x="154" y="134"/>
                    </a:cubicBezTo>
                    <a:cubicBezTo>
                      <a:pt x="153" y="134"/>
                      <a:pt x="153" y="134"/>
                      <a:pt x="153" y="134"/>
                    </a:cubicBezTo>
                    <a:lnTo>
                      <a:pt x="154" y="134"/>
                    </a:lnTo>
                    <a:close/>
                    <a:moveTo>
                      <a:pt x="155" y="137"/>
                    </a:moveTo>
                    <a:cubicBezTo>
                      <a:pt x="155" y="138"/>
                      <a:pt x="155" y="138"/>
                      <a:pt x="155" y="138"/>
                    </a:cubicBezTo>
                    <a:cubicBezTo>
                      <a:pt x="155" y="139"/>
                      <a:pt x="155" y="139"/>
                      <a:pt x="155" y="139"/>
                    </a:cubicBezTo>
                    <a:cubicBezTo>
                      <a:pt x="155" y="138"/>
                      <a:pt x="155" y="138"/>
                      <a:pt x="155" y="138"/>
                    </a:cubicBezTo>
                    <a:lnTo>
                      <a:pt x="155" y="137"/>
                    </a:lnTo>
                    <a:close/>
                    <a:moveTo>
                      <a:pt x="154" y="153"/>
                    </a:moveTo>
                    <a:cubicBezTo>
                      <a:pt x="154" y="153"/>
                      <a:pt x="154" y="153"/>
                      <a:pt x="154" y="153"/>
                    </a:cubicBezTo>
                    <a:cubicBezTo>
                      <a:pt x="155" y="154"/>
                      <a:pt x="155" y="154"/>
                      <a:pt x="155" y="154"/>
                    </a:cubicBezTo>
                    <a:cubicBezTo>
                      <a:pt x="155" y="158"/>
                      <a:pt x="155" y="158"/>
                      <a:pt x="155" y="158"/>
                    </a:cubicBezTo>
                    <a:cubicBezTo>
                      <a:pt x="155" y="154"/>
                      <a:pt x="155" y="154"/>
                      <a:pt x="155" y="154"/>
                    </a:cubicBezTo>
                    <a:lnTo>
                      <a:pt x="154" y="153"/>
                    </a:lnTo>
                    <a:close/>
                    <a:moveTo>
                      <a:pt x="154" y="158"/>
                    </a:moveTo>
                    <a:cubicBezTo>
                      <a:pt x="154" y="158"/>
                      <a:pt x="154" y="158"/>
                      <a:pt x="154" y="158"/>
                    </a:cubicBezTo>
                    <a:cubicBezTo>
                      <a:pt x="152" y="158"/>
                      <a:pt x="152" y="158"/>
                      <a:pt x="152" y="158"/>
                    </a:cubicBezTo>
                    <a:cubicBezTo>
                      <a:pt x="152" y="159"/>
                      <a:pt x="152" y="159"/>
                      <a:pt x="152" y="159"/>
                    </a:cubicBezTo>
                    <a:cubicBezTo>
                      <a:pt x="152" y="158"/>
                      <a:pt x="152" y="158"/>
                      <a:pt x="152" y="158"/>
                    </a:cubicBezTo>
                    <a:cubicBezTo>
                      <a:pt x="154" y="158"/>
                      <a:pt x="154" y="158"/>
                      <a:pt x="154" y="158"/>
                    </a:cubicBezTo>
                    <a:close/>
                    <a:moveTo>
                      <a:pt x="153" y="154"/>
                    </a:moveTo>
                    <a:cubicBezTo>
                      <a:pt x="152" y="154"/>
                      <a:pt x="152" y="154"/>
                      <a:pt x="152" y="154"/>
                    </a:cubicBezTo>
                    <a:cubicBezTo>
                      <a:pt x="152" y="154"/>
                      <a:pt x="152" y="154"/>
                      <a:pt x="152" y="154"/>
                    </a:cubicBezTo>
                    <a:cubicBezTo>
                      <a:pt x="152" y="154"/>
                      <a:pt x="152" y="154"/>
                      <a:pt x="152" y="154"/>
                    </a:cubicBezTo>
                    <a:lnTo>
                      <a:pt x="153" y="154"/>
                    </a:lnTo>
                    <a:close/>
                    <a:moveTo>
                      <a:pt x="152" y="132"/>
                    </a:moveTo>
                    <a:cubicBezTo>
                      <a:pt x="152" y="133"/>
                      <a:pt x="152" y="133"/>
                      <a:pt x="152" y="133"/>
                    </a:cubicBezTo>
                    <a:cubicBezTo>
                      <a:pt x="152" y="132"/>
                      <a:pt x="152" y="132"/>
                      <a:pt x="152" y="132"/>
                    </a:cubicBezTo>
                    <a:cubicBezTo>
                      <a:pt x="152" y="132"/>
                      <a:pt x="152" y="132"/>
                      <a:pt x="152" y="132"/>
                    </a:cubicBezTo>
                    <a:close/>
                    <a:moveTo>
                      <a:pt x="151" y="154"/>
                    </a:moveTo>
                    <a:cubicBezTo>
                      <a:pt x="151" y="154"/>
                      <a:pt x="151" y="154"/>
                      <a:pt x="151" y="154"/>
                    </a:cubicBezTo>
                    <a:cubicBezTo>
                      <a:pt x="151" y="154"/>
                      <a:pt x="151" y="154"/>
                      <a:pt x="151" y="154"/>
                    </a:cubicBezTo>
                    <a:close/>
                    <a:moveTo>
                      <a:pt x="152" y="160"/>
                    </a:moveTo>
                    <a:cubicBezTo>
                      <a:pt x="152" y="160"/>
                      <a:pt x="152" y="160"/>
                      <a:pt x="152" y="160"/>
                    </a:cubicBezTo>
                    <a:cubicBezTo>
                      <a:pt x="150" y="160"/>
                      <a:pt x="150" y="160"/>
                      <a:pt x="150" y="160"/>
                    </a:cubicBezTo>
                    <a:cubicBezTo>
                      <a:pt x="150" y="160"/>
                      <a:pt x="150" y="160"/>
                      <a:pt x="150" y="160"/>
                    </a:cubicBezTo>
                    <a:lnTo>
                      <a:pt x="152" y="160"/>
                    </a:lnTo>
                    <a:close/>
                    <a:moveTo>
                      <a:pt x="151" y="167"/>
                    </a:moveTo>
                    <a:cubicBezTo>
                      <a:pt x="150" y="167"/>
                      <a:pt x="150" y="167"/>
                      <a:pt x="150" y="167"/>
                    </a:cubicBezTo>
                    <a:cubicBezTo>
                      <a:pt x="151" y="171"/>
                      <a:pt x="151" y="171"/>
                      <a:pt x="151" y="171"/>
                    </a:cubicBezTo>
                    <a:cubicBezTo>
                      <a:pt x="151" y="173"/>
                      <a:pt x="151" y="173"/>
                      <a:pt x="151" y="173"/>
                    </a:cubicBezTo>
                    <a:cubicBezTo>
                      <a:pt x="151" y="174"/>
                      <a:pt x="151" y="174"/>
                      <a:pt x="151" y="174"/>
                    </a:cubicBezTo>
                    <a:cubicBezTo>
                      <a:pt x="152" y="175"/>
                      <a:pt x="152" y="175"/>
                      <a:pt x="152" y="175"/>
                    </a:cubicBezTo>
                    <a:cubicBezTo>
                      <a:pt x="151" y="174"/>
                      <a:pt x="151" y="174"/>
                      <a:pt x="151" y="174"/>
                    </a:cubicBezTo>
                    <a:cubicBezTo>
                      <a:pt x="151" y="173"/>
                      <a:pt x="151" y="173"/>
                      <a:pt x="151" y="173"/>
                    </a:cubicBezTo>
                    <a:cubicBezTo>
                      <a:pt x="151" y="171"/>
                      <a:pt x="151" y="171"/>
                      <a:pt x="151" y="171"/>
                    </a:cubicBezTo>
                    <a:cubicBezTo>
                      <a:pt x="150" y="167"/>
                      <a:pt x="150" y="167"/>
                      <a:pt x="150" y="167"/>
                    </a:cubicBezTo>
                    <a:cubicBezTo>
                      <a:pt x="150" y="167"/>
                      <a:pt x="150" y="167"/>
                      <a:pt x="150" y="167"/>
                    </a:cubicBezTo>
                    <a:lnTo>
                      <a:pt x="151" y="167"/>
                    </a:lnTo>
                    <a:close/>
                    <a:moveTo>
                      <a:pt x="150" y="167"/>
                    </a:moveTo>
                    <a:cubicBezTo>
                      <a:pt x="150" y="166"/>
                      <a:pt x="150" y="166"/>
                      <a:pt x="150" y="166"/>
                    </a:cubicBezTo>
                    <a:cubicBezTo>
                      <a:pt x="150" y="165"/>
                      <a:pt x="150" y="165"/>
                      <a:pt x="150" y="165"/>
                    </a:cubicBezTo>
                    <a:cubicBezTo>
                      <a:pt x="150" y="166"/>
                      <a:pt x="150" y="166"/>
                      <a:pt x="150" y="166"/>
                    </a:cubicBezTo>
                    <a:lnTo>
                      <a:pt x="150" y="167"/>
                    </a:lnTo>
                    <a:close/>
                    <a:moveTo>
                      <a:pt x="149" y="159"/>
                    </a:moveTo>
                    <a:cubicBezTo>
                      <a:pt x="149" y="159"/>
                      <a:pt x="149" y="159"/>
                      <a:pt x="149" y="159"/>
                    </a:cubicBezTo>
                    <a:cubicBezTo>
                      <a:pt x="150" y="160"/>
                      <a:pt x="150" y="160"/>
                      <a:pt x="150" y="160"/>
                    </a:cubicBezTo>
                    <a:lnTo>
                      <a:pt x="149" y="159"/>
                    </a:lnTo>
                    <a:close/>
                    <a:moveTo>
                      <a:pt x="150" y="157"/>
                    </a:moveTo>
                    <a:cubicBezTo>
                      <a:pt x="150" y="157"/>
                      <a:pt x="150" y="157"/>
                      <a:pt x="150" y="157"/>
                    </a:cubicBezTo>
                    <a:cubicBezTo>
                      <a:pt x="150" y="157"/>
                      <a:pt x="150" y="157"/>
                      <a:pt x="150" y="157"/>
                    </a:cubicBezTo>
                    <a:cubicBezTo>
                      <a:pt x="150" y="157"/>
                      <a:pt x="150" y="157"/>
                      <a:pt x="150" y="157"/>
                    </a:cubicBezTo>
                    <a:close/>
                    <a:moveTo>
                      <a:pt x="149" y="132"/>
                    </a:moveTo>
                    <a:cubicBezTo>
                      <a:pt x="149" y="132"/>
                      <a:pt x="149" y="132"/>
                      <a:pt x="149" y="132"/>
                    </a:cubicBezTo>
                    <a:cubicBezTo>
                      <a:pt x="149" y="132"/>
                      <a:pt x="149" y="132"/>
                      <a:pt x="149" y="132"/>
                    </a:cubicBezTo>
                    <a:close/>
                    <a:moveTo>
                      <a:pt x="149" y="159"/>
                    </a:moveTo>
                    <a:cubicBezTo>
                      <a:pt x="149" y="159"/>
                      <a:pt x="149" y="159"/>
                      <a:pt x="149" y="159"/>
                    </a:cubicBezTo>
                    <a:cubicBezTo>
                      <a:pt x="149" y="159"/>
                      <a:pt x="149" y="159"/>
                      <a:pt x="149" y="159"/>
                    </a:cubicBezTo>
                    <a:cubicBezTo>
                      <a:pt x="149" y="159"/>
                      <a:pt x="149" y="159"/>
                      <a:pt x="149" y="159"/>
                    </a:cubicBezTo>
                    <a:close/>
                    <a:moveTo>
                      <a:pt x="148" y="132"/>
                    </a:moveTo>
                    <a:cubicBezTo>
                      <a:pt x="148" y="132"/>
                      <a:pt x="148" y="132"/>
                      <a:pt x="148" y="132"/>
                    </a:cubicBezTo>
                    <a:cubicBezTo>
                      <a:pt x="147" y="132"/>
                      <a:pt x="147" y="132"/>
                      <a:pt x="147" y="132"/>
                    </a:cubicBezTo>
                    <a:lnTo>
                      <a:pt x="148" y="132"/>
                    </a:lnTo>
                    <a:close/>
                    <a:moveTo>
                      <a:pt x="147" y="185"/>
                    </a:moveTo>
                    <a:cubicBezTo>
                      <a:pt x="148" y="188"/>
                      <a:pt x="148" y="188"/>
                      <a:pt x="148" y="188"/>
                    </a:cubicBezTo>
                    <a:cubicBezTo>
                      <a:pt x="147" y="185"/>
                      <a:pt x="147" y="185"/>
                      <a:pt x="147" y="185"/>
                    </a:cubicBezTo>
                    <a:close/>
                    <a:moveTo>
                      <a:pt x="147" y="192"/>
                    </a:moveTo>
                    <a:cubicBezTo>
                      <a:pt x="149" y="196"/>
                      <a:pt x="149" y="196"/>
                      <a:pt x="149" y="196"/>
                    </a:cubicBezTo>
                    <a:cubicBezTo>
                      <a:pt x="150" y="197"/>
                      <a:pt x="150" y="197"/>
                      <a:pt x="150" y="197"/>
                    </a:cubicBezTo>
                    <a:cubicBezTo>
                      <a:pt x="150" y="197"/>
                      <a:pt x="150" y="197"/>
                      <a:pt x="150" y="197"/>
                    </a:cubicBezTo>
                    <a:cubicBezTo>
                      <a:pt x="152" y="196"/>
                      <a:pt x="152" y="196"/>
                      <a:pt x="152" y="196"/>
                    </a:cubicBezTo>
                    <a:cubicBezTo>
                      <a:pt x="152" y="196"/>
                      <a:pt x="152" y="196"/>
                      <a:pt x="152" y="196"/>
                    </a:cubicBezTo>
                    <a:cubicBezTo>
                      <a:pt x="150" y="197"/>
                      <a:pt x="150" y="197"/>
                      <a:pt x="150" y="197"/>
                    </a:cubicBezTo>
                    <a:cubicBezTo>
                      <a:pt x="150" y="197"/>
                      <a:pt x="150" y="197"/>
                      <a:pt x="150" y="197"/>
                    </a:cubicBezTo>
                    <a:cubicBezTo>
                      <a:pt x="149" y="196"/>
                      <a:pt x="149" y="196"/>
                      <a:pt x="149" y="196"/>
                    </a:cubicBezTo>
                    <a:cubicBezTo>
                      <a:pt x="147" y="192"/>
                      <a:pt x="147" y="192"/>
                      <a:pt x="147" y="192"/>
                    </a:cubicBezTo>
                    <a:close/>
                    <a:moveTo>
                      <a:pt x="149" y="201"/>
                    </a:moveTo>
                    <a:cubicBezTo>
                      <a:pt x="149" y="201"/>
                      <a:pt x="149" y="201"/>
                      <a:pt x="149" y="201"/>
                    </a:cubicBezTo>
                    <a:cubicBezTo>
                      <a:pt x="149" y="200"/>
                      <a:pt x="149" y="200"/>
                      <a:pt x="149" y="200"/>
                    </a:cubicBezTo>
                    <a:cubicBezTo>
                      <a:pt x="149" y="200"/>
                      <a:pt x="149" y="200"/>
                      <a:pt x="149" y="200"/>
                    </a:cubicBezTo>
                    <a:lnTo>
                      <a:pt x="149" y="201"/>
                    </a:lnTo>
                    <a:close/>
                    <a:moveTo>
                      <a:pt x="148" y="199"/>
                    </a:moveTo>
                    <a:cubicBezTo>
                      <a:pt x="148" y="198"/>
                      <a:pt x="148" y="198"/>
                      <a:pt x="148" y="198"/>
                    </a:cubicBezTo>
                    <a:cubicBezTo>
                      <a:pt x="148" y="199"/>
                      <a:pt x="148" y="199"/>
                      <a:pt x="148" y="199"/>
                    </a:cubicBezTo>
                    <a:cubicBezTo>
                      <a:pt x="149" y="200"/>
                      <a:pt x="149" y="200"/>
                      <a:pt x="149" y="200"/>
                    </a:cubicBezTo>
                    <a:lnTo>
                      <a:pt x="148" y="199"/>
                    </a:lnTo>
                    <a:close/>
                    <a:moveTo>
                      <a:pt x="148" y="236"/>
                    </a:moveTo>
                    <a:cubicBezTo>
                      <a:pt x="148" y="236"/>
                      <a:pt x="148" y="236"/>
                      <a:pt x="148" y="236"/>
                    </a:cubicBezTo>
                    <a:cubicBezTo>
                      <a:pt x="148" y="236"/>
                      <a:pt x="148" y="236"/>
                      <a:pt x="148" y="236"/>
                    </a:cubicBezTo>
                    <a:close/>
                    <a:moveTo>
                      <a:pt x="147" y="198"/>
                    </a:moveTo>
                    <a:cubicBezTo>
                      <a:pt x="147" y="198"/>
                      <a:pt x="147" y="198"/>
                      <a:pt x="147" y="198"/>
                    </a:cubicBezTo>
                    <a:cubicBezTo>
                      <a:pt x="147" y="198"/>
                      <a:pt x="147" y="198"/>
                      <a:pt x="147" y="198"/>
                    </a:cubicBezTo>
                    <a:cubicBezTo>
                      <a:pt x="146" y="197"/>
                      <a:pt x="146" y="197"/>
                      <a:pt x="146" y="197"/>
                    </a:cubicBezTo>
                    <a:lnTo>
                      <a:pt x="147" y="198"/>
                    </a:lnTo>
                    <a:close/>
                    <a:moveTo>
                      <a:pt x="146" y="214"/>
                    </a:moveTo>
                    <a:cubicBezTo>
                      <a:pt x="146" y="214"/>
                      <a:pt x="146" y="214"/>
                      <a:pt x="146" y="214"/>
                    </a:cubicBezTo>
                    <a:cubicBezTo>
                      <a:pt x="145" y="217"/>
                      <a:pt x="145" y="217"/>
                      <a:pt x="145" y="217"/>
                    </a:cubicBezTo>
                    <a:cubicBezTo>
                      <a:pt x="144" y="218"/>
                      <a:pt x="144" y="218"/>
                      <a:pt x="144" y="218"/>
                    </a:cubicBezTo>
                    <a:cubicBezTo>
                      <a:pt x="145" y="217"/>
                      <a:pt x="145" y="217"/>
                      <a:pt x="145" y="217"/>
                    </a:cubicBezTo>
                    <a:cubicBezTo>
                      <a:pt x="146" y="214"/>
                      <a:pt x="146" y="214"/>
                      <a:pt x="146" y="214"/>
                    </a:cubicBezTo>
                    <a:close/>
                    <a:moveTo>
                      <a:pt x="146" y="233"/>
                    </a:moveTo>
                    <a:cubicBezTo>
                      <a:pt x="146" y="233"/>
                      <a:pt x="146" y="233"/>
                      <a:pt x="146" y="233"/>
                    </a:cubicBezTo>
                    <a:cubicBezTo>
                      <a:pt x="146" y="233"/>
                      <a:pt x="146" y="233"/>
                      <a:pt x="146" y="233"/>
                    </a:cubicBezTo>
                    <a:close/>
                    <a:moveTo>
                      <a:pt x="146" y="238"/>
                    </a:moveTo>
                    <a:cubicBezTo>
                      <a:pt x="146" y="238"/>
                      <a:pt x="146" y="238"/>
                      <a:pt x="146" y="238"/>
                    </a:cubicBezTo>
                    <a:cubicBezTo>
                      <a:pt x="146" y="238"/>
                      <a:pt x="146" y="238"/>
                      <a:pt x="146" y="238"/>
                    </a:cubicBezTo>
                    <a:close/>
                    <a:moveTo>
                      <a:pt x="145" y="228"/>
                    </a:moveTo>
                    <a:cubicBezTo>
                      <a:pt x="145" y="228"/>
                      <a:pt x="145" y="228"/>
                      <a:pt x="145" y="228"/>
                    </a:cubicBezTo>
                    <a:cubicBezTo>
                      <a:pt x="144" y="229"/>
                      <a:pt x="144" y="229"/>
                      <a:pt x="144" y="229"/>
                    </a:cubicBezTo>
                    <a:cubicBezTo>
                      <a:pt x="144" y="229"/>
                      <a:pt x="144" y="229"/>
                      <a:pt x="144" y="229"/>
                    </a:cubicBezTo>
                    <a:lnTo>
                      <a:pt x="145" y="228"/>
                    </a:lnTo>
                    <a:close/>
                    <a:moveTo>
                      <a:pt x="143" y="127"/>
                    </a:moveTo>
                    <a:cubicBezTo>
                      <a:pt x="144" y="129"/>
                      <a:pt x="144" y="129"/>
                      <a:pt x="144" y="129"/>
                    </a:cubicBezTo>
                    <a:cubicBezTo>
                      <a:pt x="144" y="129"/>
                      <a:pt x="144" y="129"/>
                      <a:pt x="144" y="129"/>
                    </a:cubicBezTo>
                    <a:cubicBezTo>
                      <a:pt x="145" y="130"/>
                      <a:pt x="145" y="130"/>
                      <a:pt x="145" y="130"/>
                    </a:cubicBezTo>
                    <a:cubicBezTo>
                      <a:pt x="144" y="129"/>
                      <a:pt x="144" y="129"/>
                      <a:pt x="144" y="129"/>
                    </a:cubicBezTo>
                    <a:cubicBezTo>
                      <a:pt x="144" y="129"/>
                      <a:pt x="144" y="129"/>
                      <a:pt x="144" y="129"/>
                    </a:cubicBezTo>
                    <a:cubicBezTo>
                      <a:pt x="143" y="129"/>
                      <a:pt x="143" y="129"/>
                      <a:pt x="143" y="129"/>
                    </a:cubicBezTo>
                    <a:cubicBezTo>
                      <a:pt x="144" y="129"/>
                      <a:pt x="144" y="129"/>
                      <a:pt x="144" y="129"/>
                    </a:cubicBezTo>
                    <a:cubicBezTo>
                      <a:pt x="144" y="129"/>
                      <a:pt x="144" y="129"/>
                      <a:pt x="144" y="129"/>
                    </a:cubicBezTo>
                    <a:cubicBezTo>
                      <a:pt x="144" y="129"/>
                      <a:pt x="144" y="129"/>
                      <a:pt x="144" y="129"/>
                    </a:cubicBezTo>
                    <a:cubicBezTo>
                      <a:pt x="143" y="127"/>
                      <a:pt x="143" y="127"/>
                      <a:pt x="143" y="127"/>
                    </a:cubicBezTo>
                    <a:cubicBezTo>
                      <a:pt x="143" y="126"/>
                      <a:pt x="143" y="126"/>
                      <a:pt x="143" y="126"/>
                    </a:cubicBezTo>
                    <a:lnTo>
                      <a:pt x="143" y="127"/>
                    </a:lnTo>
                    <a:close/>
                    <a:moveTo>
                      <a:pt x="143" y="194"/>
                    </a:moveTo>
                    <a:cubicBezTo>
                      <a:pt x="144" y="195"/>
                      <a:pt x="144" y="195"/>
                      <a:pt x="144" y="195"/>
                    </a:cubicBezTo>
                    <a:cubicBezTo>
                      <a:pt x="143" y="194"/>
                      <a:pt x="143" y="194"/>
                      <a:pt x="143" y="194"/>
                    </a:cubicBezTo>
                    <a:cubicBezTo>
                      <a:pt x="143" y="195"/>
                      <a:pt x="143" y="195"/>
                      <a:pt x="143" y="195"/>
                    </a:cubicBezTo>
                    <a:lnTo>
                      <a:pt x="143" y="194"/>
                    </a:lnTo>
                    <a:close/>
                    <a:moveTo>
                      <a:pt x="142" y="196"/>
                    </a:moveTo>
                    <a:cubicBezTo>
                      <a:pt x="141" y="195"/>
                      <a:pt x="141" y="195"/>
                      <a:pt x="141" y="195"/>
                    </a:cubicBezTo>
                    <a:cubicBezTo>
                      <a:pt x="140" y="195"/>
                      <a:pt x="140" y="195"/>
                      <a:pt x="140" y="195"/>
                    </a:cubicBezTo>
                    <a:cubicBezTo>
                      <a:pt x="139" y="195"/>
                      <a:pt x="139" y="195"/>
                      <a:pt x="139" y="195"/>
                    </a:cubicBezTo>
                    <a:cubicBezTo>
                      <a:pt x="138" y="195"/>
                      <a:pt x="138" y="195"/>
                      <a:pt x="138" y="195"/>
                    </a:cubicBezTo>
                    <a:cubicBezTo>
                      <a:pt x="139" y="195"/>
                      <a:pt x="139" y="195"/>
                      <a:pt x="139" y="195"/>
                    </a:cubicBezTo>
                    <a:cubicBezTo>
                      <a:pt x="140" y="195"/>
                      <a:pt x="140" y="195"/>
                      <a:pt x="140" y="195"/>
                    </a:cubicBezTo>
                    <a:cubicBezTo>
                      <a:pt x="141" y="195"/>
                      <a:pt x="141" y="195"/>
                      <a:pt x="141" y="195"/>
                    </a:cubicBezTo>
                    <a:lnTo>
                      <a:pt x="142" y="196"/>
                    </a:lnTo>
                    <a:close/>
                    <a:moveTo>
                      <a:pt x="141" y="219"/>
                    </a:moveTo>
                    <a:cubicBezTo>
                      <a:pt x="140" y="219"/>
                      <a:pt x="140" y="219"/>
                      <a:pt x="140" y="219"/>
                    </a:cubicBezTo>
                    <a:cubicBezTo>
                      <a:pt x="140" y="219"/>
                      <a:pt x="140" y="219"/>
                      <a:pt x="140" y="219"/>
                    </a:cubicBezTo>
                    <a:cubicBezTo>
                      <a:pt x="140" y="219"/>
                      <a:pt x="140" y="219"/>
                      <a:pt x="140" y="219"/>
                    </a:cubicBezTo>
                    <a:lnTo>
                      <a:pt x="141" y="219"/>
                    </a:lnTo>
                    <a:close/>
                    <a:moveTo>
                      <a:pt x="137" y="218"/>
                    </a:moveTo>
                    <a:cubicBezTo>
                      <a:pt x="137" y="218"/>
                      <a:pt x="137" y="218"/>
                      <a:pt x="137" y="218"/>
                    </a:cubicBezTo>
                    <a:cubicBezTo>
                      <a:pt x="137" y="218"/>
                      <a:pt x="137" y="218"/>
                      <a:pt x="137" y="218"/>
                    </a:cubicBezTo>
                    <a:close/>
                    <a:moveTo>
                      <a:pt x="137" y="218"/>
                    </a:moveTo>
                    <a:cubicBezTo>
                      <a:pt x="137" y="218"/>
                      <a:pt x="137" y="218"/>
                      <a:pt x="137" y="218"/>
                    </a:cubicBezTo>
                    <a:cubicBezTo>
                      <a:pt x="139" y="218"/>
                      <a:pt x="139" y="218"/>
                      <a:pt x="139" y="218"/>
                    </a:cubicBezTo>
                    <a:cubicBezTo>
                      <a:pt x="139" y="218"/>
                      <a:pt x="139" y="218"/>
                      <a:pt x="139" y="218"/>
                    </a:cubicBezTo>
                    <a:cubicBezTo>
                      <a:pt x="139" y="218"/>
                      <a:pt x="139" y="218"/>
                      <a:pt x="139" y="218"/>
                    </a:cubicBezTo>
                    <a:cubicBezTo>
                      <a:pt x="137" y="218"/>
                      <a:pt x="137" y="218"/>
                      <a:pt x="137" y="218"/>
                    </a:cubicBezTo>
                    <a:cubicBezTo>
                      <a:pt x="138" y="221"/>
                      <a:pt x="138" y="221"/>
                      <a:pt x="138" y="221"/>
                    </a:cubicBezTo>
                    <a:cubicBezTo>
                      <a:pt x="139" y="223"/>
                      <a:pt x="139" y="223"/>
                      <a:pt x="139" y="223"/>
                    </a:cubicBezTo>
                    <a:cubicBezTo>
                      <a:pt x="138" y="221"/>
                      <a:pt x="138" y="221"/>
                      <a:pt x="138" y="221"/>
                    </a:cubicBezTo>
                    <a:lnTo>
                      <a:pt x="137" y="218"/>
                    </a:lnTo>
                    <a:close/>
                    <a:moveTo>
                      <a:pt x="138" y="195"/>
                    </a:moveTo>
                    <a:cubicBezTo>
                      <a:pt x="138" y="193"/>
                      <a:pt x="138" y="193"/>
                      <a:pt x="138" y="193"/>
                    </a:cubicBezTo>
                    <a:cubicBezTo>
                      <a:pt x="138" y="195"/>
                      <a:pt x="138" y="195"/>
                      <a:pt x="138" y="195"/>
                    </a:cubicBezTo>
                    <a:close/>
                    <a:moveTo>
                      <a:pt x="141" y="122"/>
                    </a:moveTo>
                    <a:cubicBezTo>
                      <a:pt x="141" y="122"/>
                      <a:pt x="141" y="122"/>
                      <a:pt x="141" y="122"/>
                    </a:cubicBezTo>
                    <a:cubicBezTo>
                      <a:pt x="141" y="122"/>
                      <a:pt x="141" y="122"/>
                      <a:pt x="141" y="122"/>
                    </a:cubicBezTo>
                    <a:close/>
                    <a:moveTo>
                      <a:pt x="140" y="129"/>
                    </a:moveTo>
                    <a:cubicBezTo>
                      <a:pt x="140" y="129"/>
                      <a:pt x="140" y="129"/>
                      <a:pt x="140" y="129"/>
                    </a:cubicBezTo>
                    <a:cubicBezTo>
                      <a:pt x="138" y="128"/>
                      <a:pt x="138" y="128"/>
                      <a:pt x="138" y="128"/>
                    </a:cubicBezTo>
                    <a:cubicBezTo>
                      <a:pt x="138" y="128"/>
                      <a:pt x="138" y="128"/>
                      <a:pt x="138" y="128"/>
                    </a:cubicBezTo>
                    <a:cubicBezTo>
                      <a:pt x="138" y="128"/>
                      <a:pt x="138" y="128"/>
                      <a:pt x="138" y="128"/>
                    </a:cubicBezTo>
                    <a:cubicBezTo>
                      <a:pt x="140" y="129"/>
                      <a:pt x="140" y="129"/>
                      <a:pt x="140" y="129"/>
                    </a:cubicBezTo>
                    <a:close/>
                    <a:moveTo>
                      <a:pt x="138" y="120"/>
                    </a:moveTo>
                    <a:cubicBezTo>
                      <a:pt x="138" y="121"/>
                      <a:pt x="139" y="121"/>
                      <a:pt x="140" y="122"/>
                    </a:cubicBezTo>
                    <a:cubicBezTo>
                      <a:pt x="139" y="121"/>
                      <a:pt x="138" y="121"/>
                      <a:pt x="138" y="120"/>
                    </a:cubicBezTo>
                    <a:cubicBezTo>
                      <a:pt x="137" y="120"/>
                      <a:pt x="137" y="120"/>
                      <a:pt x="137" y="120"/>
                    </a:cubicBezTo>
                    <a:cubicBezTo>
                      <a:pt x="137" y="120"/>
                      <a:pt x="137" y="120"/>
                      <a:pt x="138" y="120"/>
                    </a:cubicBezTo>
                    <a:close/>
                    <a:moveTo>
                      <a:pt x="128" y="191"/>
                    </a:moveTo>
                    <a:cubicBezTo>
                      <a:pt x="127" y="192"/>
                      <a:pt x="127" y="192"/>
                      <a:pt x="127" y="192"/>
                    </a:cubicBezTo>
                    <a:cubicBezTo>
                      <a:pt x="129" y="192"/>
                      <a:pt x="129" y="192"/>
                      <a:pt x="129" y="192"/>
                    </a:cubicBezTo>
                    <a:cubicBezTo>
                      <a:pt x="130" y="192"/>
                      <a:pt x="130" y="192"/>
                      <a:pt x="130" y="192"/>
                    </a:cubicBezTo>
                    <a:cubicBezTo>
                      <a:pt x="133" y="192"/>
                      <a:pt x="133" y="192"/>
                      <a:pt x="133" y="192"/>
                    </a:cubicBezTo>
                    <a:cubicBezTo>
                      <a:pt x="133" y="196"/>
                      <a:pt x="133" y="196"/>
                      <a:pt x="133" y="196"/>
                    </a:cubicBezTo>
                    <a:cubicBezTo>
                      <a:pt x="133" y="196"/>
                      <a:pt x="133" y="196"/>
                      <a:pt x="133" y="196"/>
                    </a:cubicBezTo>
                    <a:cubicBezTo>
                      <a:pt x="133" y="196"/>
                      <a:pt x="133" y="196"/>
                      <a:pt x="133" y="196"/>
                    </a:cubicBezTo>
                    <a:cubicBezTo>
                      <a:pt x="133" y="192"/>
                      <a:pt x="133" y="192"/>
                      <a:pt x="133" y="192"/>
                    </a:cubicBezTo>
                    <a:cubicBezTo>
                      <a:pt x="130" y="192"/>
                      <a:pt x="130" y="192"/>
                      <a:pt x="130" y="192"/>
                    </a:cubicBezTo>
                    <a:cubicBezTo>
                      <a:pt x="129" y="192"/>
                      <a:pt x="129" y="192"/>
                      <a:pt x="129" y="192"/>
                    </a:cubicBezTo>
                    <a:cubicBezTo>
                      <a:pt x="127" y="192"/>
                      <a:pt x="127" y="192"/>
                      <a:pt x="127" y="192"/>
                    </a:cubicBezTo>
                    <a:cubicBezTo>
                      <a:pt x="128" y="191"/>
                      <a:pt x="128" y="191"/>
                      <a:pt x="128" y="191"/>
                    </a:cubicBezTo>
                    <a:cubicBezTo>
                      <a:pt x="127" y="189"/>
                      <a:pt x="127" y="189"/>
                      <a:pt x="127" y="189"/>
                    </a:cubicBezTo>
                    <a:cubicBezTo>
                      <a:pt x="127" y="188"/>
                      <a:pt x="127" y="188"/>
                      <a:pt x="127" y="188"/>
                    </a:cubicBezTo>
                    <a:cubicBezTo>
                      <a:pt x="127" y="189"/>
                      <a:pt x="127" y="189"/>
                      <a:pt x="127" y="189"/>
                    </a:cubicBezTo>
                    <a:lnTo>
                      <a:pt x="128" y="191"/>
                    </a:lnTo>
                    <a:close/>
                    <a:moveTo>
                      <a:pt x="133" y="199"/>
                    </a:moveTo>
                    <a:cubicBezTo>
                      <a:pt x="133" y="199"/>
                      <a:pt x="133" y="199"/>
                      <a:pt x="133" y="199"/>
                    </a:cubicBezTo>
                    <a:cubicBezTo>
                      <a:pt x="132" y="198"/>
                      <a:pt x="132" y="198"/>
                      <a:pt x="132" y="198"/>
                    </a:cubicBezTo>
                    <a:cubicBezTo>
                      <a:pt x="132" y="198"/>
                      <a:pt x="132" y="198"/>
                      <a:pt x="132" y="198"/>
                    </a:cubicBezTo>
                    <a:lnTo>
                      <a:pt x="133" y="199"/>
                    </a:lnTo>
                    <a:close/>
                    <a:moveTo>
                      <a:pt x="130" y="199"/>
                    </a:moveTo>
                    <a:cubicBezTo>
                      <a:pt x="127" y="199"/>
                      <a:pt x="127" y="199"/>
                      <a:pt x="127" y="199"/>
                    </a:cubicBezTo>
                    <a:cubicBezTo>
                      <a:pt x="126" y="212"/>
                      <a:pt x="126" y="212"/>
                      <a:pt x="126" y="212"/>
                    </a:cubicBezTo>
                    <a:cubicBezTo>
                      <a:pt x="126" y="212"/>
                      <a:pt x="126" y="212"/>
                      <a:pt x="126" y="212"/>
                    </a:cubicBezTo>
                    <a:cubicBezTo>
                      <a:pt x="127" y="199"/>
                      <a:pt x="127" y="199"/>
                      <a:pt x="127" y="199"/>
                    </a:cubicBezTo>
                    <a:lnTo>
                      <a:pt x="130" y="199"/>
                    </a:lnTo>
                    <a:close/>
                    <a:moveTo>
                      <a:pt x="126" y="184"/>
                    </a:moveTo>
                    <a:cubicBezTo>
                      <a:pt x="126" y="183"/>
                      <a:pt x="126" y="183"/>
                      <a:pt x="126" y="183"/>
                    </a:cubicBezTo>
                    <a:cubicBezTo>
                      <a:pt x="126" y="183"/>
                      <a:pt x="127" y="180"/>
                      <a:pt x="126" y="180"/>
                    </a:cubicBezTo>
                    <a:cubicBezTo>
                      <a:pt x="126" y="180"/>
                      <a:pt x="126" y="179"/>
                      <a:pt x="126" y="179"/>
                    </a:cubicBezTo>
                    <a:cubicBezTo>
                      <a:pt x="126" y="179"/>
                      <a:pt x="126" y="180"/>
                      <a:pt x="126" y="180"/>
                    </a:cubicBezTo>
                    <a:cubicBezTo>
                      <a:pt x="127" y="180"/>
                      <a:pt x="126" y="183"/>
                      <a:pt x="126" y="183"/>
                    </a:cubicBezTo>
                    <a:lnTo>
                      <a:pt x="126" y="184"/>
                    </a:lnTo>
                    <a:close/>
                    <a:moveTo>
                      <a:pt x="127" y="218"/>
                    </a:moveTo>
                    <a:cubicBezTo>
                      <a:pt x="130" y="218"/>
                      <a:pt x="130" y="218"/>
                      <a:pt x="130" y="218"/>
                    </a:cubicBezTo>
                    <a:cubicBezTo>
                      <a:pt x="127" y="218"/>
                      <a:pt x="127" y="218"/>
                      <a:pt x="127" y="218"/>
                    </a:cubicBezTo>
                    <a:cubicBezTo>
                      <a:pt x="124" y="219"/>
                      <a:pt x="124" y="219"/>
                      <a:pt x="124" y="219"/>
                    </a:cubicBezTo>
                    <a:cubicBezTo>
                      <a:pt x="124" y="219"/>
                      <a:pt x="124" y="219"/>
                      <a:pt x="124" y="219"/>
                    </a:cubicBezTo>
                    <a:cubicBezTo>
                      <a:pt x="124" y="219"/>
                      <a:pt x="124" y="219"/>
                      <a:pt x="124" y="219"/>
                    </a:cubicBezTo>
                    <a:cubicBezTo>
                      <a:pt x="124" y="219"/>
                      <a:pt x="124" y="219"/>
                      <a:pt x="124" y="219"/>
                    </a:cubicBezTo>
                    <a:lnTo>
                      <a:pt x="127" y="218"/>
                    </a:lnTo>
                    <a:close/>
                    <a:moveTo>
                      <a:pt x="127" y="220"/>
                    </a:moveTo>
                    <a:cubicBezTo>
                      <a:pt x="131" y="220"/>
                      <a:pt x="131" y="220"/>
                      <a:pt x="131" y="220"/>
                    </a:cubicBezTo>
                    <a:cubicBezTo>
                      <a:pt x="131" y="221"/>
                      <a:pt x="131" y="221"/>
                      <a:pt x="131" y="221"/>
                    </a:cubicBezTo>
                    <a:cubicBezTo>
                      <a:pt x="131" y="221"/>
                      <a:pt x="131" y="221"/>
                      <a:pt x="131" y="221"/>
                    </a:cubicBezTo>
                    <a:cubicBezTo>
                      <a:pt x="131" y="220"/>
                      <a:pt x="131" y="220"/>
                      <a:pt x="131" y="220"/>
                    </a:cubicBezTo>
                    <a:cubicBezTo>
                      <a:pt x="127" y="220"/>
                      <a:pt x="127" y="220"/>
                      <a:pt x="127" y="220"/>
                    </a:cubicBezTo>
                    <a:cubicBezTo>
                      <a:pt x="124" y="221"/>
                      <a:pt x="124" y="221"/>
                      <a:pt x="124" y="221"/>
                    </a:cubicBezTo>
                    <a:cubicBezTo>
                      <a:pt x="124" y="221"/>
                      <a:pt x="124" y="221"/>
                      <a:pt x="124" y="221"/>
                    </a:cubicBezTo>
                    <a:lnTo>
                      <a:pt x="127" y="220"/>
                    </a:lnTo>
                    <a:close/>
                    <a:moveTo>
                      <a:pt x="131" y="218"/>
                    </a:moveTo>
                    <a:cubicBezTo>
                      <a:pt x="131" y="218"/>
                      <a:pt x="131" y="218"/>
                      <a:pt x="131" y="218"/>
                    </a:cubicBezTo>
                    <a:cubicBezTo>
                      <a:pt x="132" y="217"/>
                      <a:pt x="132" y="217"/>
                      <a:pt x="132" y="217"/>
                    </a:cubicBezTo>
                    <a:cubicBezTo>
                      <a:pt x="133" y="217"/>
                      <a:pt x="133" y="217"/>
                      <a:pt x="133" y="217"/>
                    </a:cubicBezTo>
                    <a:cubicBezTo>
                      <a:pt x="132" y="217"/>
                      <a:pt x="132" y="217"/>
                      <a:pt x="132" y="217"/>
                    </a:cubicBezTo>
                    <a:lnTo>
                      <a:pt x="131" y="218"/>
                    </a:lnTo>
                    <a:close/>
                    <a:moveTo>
                      <a:pt x="133" y="130"/>
                    </a:moveTo>
                    <a:cubicBezTo>
                      <a:pt x="132" y="130"/>
                      <a:pt x="131" y="131"/>
                      <a:pt x="131" y="131"/>
                    </a:cubicBezTo>
                    <a:cubicBezTo>
                      <a:pt x="130" y="130"/>
                      <a:pt x="130" y="130"/>
                      <a:pt x="130" y="130"/>
                    </a:cubicBezTo>
                    <a:cubicBezTo>
                      <a:pt x="129" y="131"/>
                      <a:pt x="129" y="131"/>
                      <a:pt x="129" y="131"/>
                    </a:cubicBezTo>
                    <a:cubicBezTo>
                      <a:pt x="129" y="131"/>
                      <a:pt x="129" y="131"/>
                      <a:pt x="129" y="131"/>
                    </a:cubicBezTo>
                    <a:cubicBezTo>
                      <a:pt x="129" y="131"/>
                      <a:pt x="129" y="131"/>
                      <a:pt x="129" y="131"/>
                    </a:cubicBezTo>
                    <a:cubicBezTo>
                      <a:pt x="130" y="130"/>
                      <a:pt x="130" y="130"/>
                      <a:pt x="130" y="130"/>
                    </a:cubicBezTo>
                    <a:cubicBezTo>
                      <a:pt x="131" y="131"/>
                      <a:pt x="131" y="131"/>
                      <a:pt x="131" y="131"/>
                    </a:cubicBezTo>
                    <a:cubicBezTo>
                      <a:pt x="131" y="131"/>
                      <a:pt x="132" y="130"/>
                      <a:pt x="133" y="130"/>
                    </a:cubicBezTo>
                    <a:cubicBezTo>
                      <a:pt x="133" y="130"/>
                      <a:pt x="133" y="130"/>
                      <a:pt x="134" y="130"/>
                    </a:cubicBezTo>
                    <a:cubicBezTo>
                      <a:pt x="133" y="130"/>
                      <a:pt x="133" y="130"/>
                      <a:pt x="133" y="130"/>
                    </a:cubicBezTo>
                    <a:close/>
                    <a:moveTo>
                      <a:pt x="131" y="109"/>
                    </a:moveTo>
                    <a:cubicBezTo>
                      <a:pt x="131" y="109"/>
                      <a:pt x="133" y="111"/>
                      <a:pt x="132" y="113"/>
                    </a:cubicBezTo>
                    <a:cubicBezTo>
                      <a:pt x="132" y="114"/>
                      <a:pt x="132" y="115"/>
                      <a:pt x="132" y="115"/>
                    </a:cubicBezTo>
                    <a:cubicBezTo>
                      <a:pt x="132" y="115"/>
                      <a:pt x="132" y="114"/>
                      <a:pt x="132" y="113"/>
                    </a:cubicBezTo>
                    <a:cubicBezTo>
                      <a:pt x="133" y="111"/>
                      <a:pt x="131" y="109"/>
                      <a:pt x="131" y="109"/>
                    </a:cubicBezTo>
                    <a:cubicBezTo>
                      <a:pt x="130" y="107"/>
                      <a:pt x="130" y="107"/>
                      <a:pt x="130" y="107"/>
                    </a:cubicBezTo>
                    <a:lnTo>
                      <a:pt x="131" y="109"/>
                    </a:lnTo>
                    <a:close/>
                    <a:moveTo>
                      <a:pt x="128" y="95"/>
                    </a:moveTo>
                    <a:cubicBezTo>
                      <a:pt x="128" y="95"/>
                      <a:pt x="128" y="95"/>
                      <a:pt x="128" y="95"/>
                    </a:cubicBezTo>
                    <a:cubicBezTo>
                      <a:pt x="128" y="94"/>
                      <a:pt x="128" y="94"/>
                      <a:pt x="128" y="94"/>
                    </a:cubicBezTo>
                    <a:lnTo>
                      <a:pt x="128" y="95"/>
                    </a:lnTo>
                    <a:close/>
                    <a:moveTo>
                      <a:pt x="130" y="106"/>
                    </a:moveTo>
                    <a:cubicBezTo>
                      <a:pt x="130" y="106"/>
                      <a:pt x="130" y="106"/>
                      <a:pt x="130" y="106"/>
                    </a:cubicBezTo>
                    <a:cubicBezTo>
                      <a:pt x="128" y="107"/>
                      <a:pt x="128" y="107"/>
                      <a:pt x="128" y="107"/>
                    </a:cubicBezTo>
                    <a:lnTo>
                      <a:pt x="130" y="106"/>
                    </a:lnTo>
                    <a:close/>
                    <a:moveTo>
                      <a:pt x="127" y="108"/>
                    </a:moveTo>
                    <a:cubicBezTo>
                      <a:pt x="127" y="108"/>
                      <a:pt x="127" y="108"/>
                      <a:pt x="127" y="108"/>
                    </a:cubicBezTo>
                    <a:cubicBezTo>
                      <a:pt x="126" y="108"/>
                      <a:pt x="126" y="108"/>
                      <a:pt x="126" y="108"/>
                    </a:cubicBezTo>
                    <a:lnTo>
                      <a:pt x="127" y="108"/>
                    </a:lnTo>
                    <a:close/>
                    <a:moveTo>
                      <a:pt x="124" y="131"/>
                    </a:moveTo>
                    <a:cubicBezTo>
                      <a:pt x="127" y="133"/>
                      <a:pt x="127" y="133"/>
                      <a:pt x="127" y="133"/>
                    </a:cubicBezTo>
                    <a:cubicBezTo>
                      <a:pt x="127" y="133"/>
                      <a:pt x="127" y="133"/>
                      <a:pt x="127" y="133"/>
                    </a:cubicBezTo>
                    <a:cubicBezTo>
                      <a:pt x="127" y="133"/>
                      <a:pt x="127" y="133"/>
                      <a:pt x="127" y="133"/>
                    </a:cubicBezTo>
                    <a:cubicBezTo>
                      <a:pt x="127" y="133"/>
                      <a:pt x="127" y="133"/>
                      <a:pt x="127" y="133"/>
                    </a:cubicBezTo>
                    <a:cubicBezTo>
                      <a:pt x="124" y="131"/>
                      <a:pt x="124" y="131"/>
                      <a:pt x="124" y="131"/>
                    </a:cubicBezTo>
                    <a:cubicBezTo>
                      <a:pt x="124" y="131"/>
                      <a:pt x="124" y="131"/>
                      <a:pt x="124" y="131"/>
                    </a:cubicBezTo>
                    <a:close/>
                    <a:moveTo>
                      <a:pt x="126" y="178"/>
                    </a:moveTo>
                    <a:cubicBezTo>
                      <a:pt x="126" y="178"/>
                      <a:pt x="126" y="178"/>
                      <a:pt x="126" y="178"/>
                    </a:cubicBezTo>
                    <a:cubicBezTo>
                      <a:pt x="122" y="177"/>
                      <a:pt x="122" y="177"/>
                      <a:pt x="122" y="177"/>
                    </a:cubicBezTo>
                    <a:cubicBezTo>
                      <a:pt x="122" y="176"/>
                      <a:pt x="122" y="176"/>
                      <a:pt x="122" y="176"/>
                    </a:cubicBezTo>
                    <a:cubicBezTo>
                      <a:pt x="122" y="177"/>
                      <a:pt x="122" y="177"/>
                      <a:pt x="122" y="177"/>
                    </a:cubicBezTo>
                    <a:lnTo>
                      <a:pt x="126" y="178"/>
                    </a:lnTo>
                    <a:close/>
                    <a:moveTo>
                      <a:pt x="122" y="130"/>
                    </a:moveTo>
                    <a:cubicBezTo>
                      <a:pt x="122" y="132"/>
                      <a:pt x="122" y="132"/>
                      <a:pt x="122" y="132"/>
                    </a:cubicBezTo>
                    <a:cubicBezTo>
                      <a:pt x="123" y="132"/>
                      <a:pt x="123" y="132"/>
                      <a:pt x="123" y="132"/>
                    </a:cubicBezTo>
                    <a:cubicBezTo>
                      <a:pt x="122" y="132"/>
                      <a:pt x="122" y="132"/>
                      <a:pt x="122" y="132"/>
                    </a:cubicBezTo>
                    <a:cubicBezTo>
                      <a:pt x="122" y="130"/>
                      <a:pt x="122" y="130"/>
                      <a:pt x="122" y="130"/>
                    </a:cubicBezTo>
                    <a:cubicBezTo>
                      <a:pt x="121" y="130"/>
                      <a:pt x="121" y="130"/>
                      <a:pt x="121" y="130"/>
                    </a:cubicBezTo>
                    <a:lnTo>
                      <a:pt x="122" y="130"/>
                    </a:lnTo>
                    <a:close/>
                    <a:moveTo>
                      <a:pt x="122" y="176"/>
                    </a:moveTo>
                    <a:cubicBezTo>
                      <a:pt x="122" y="176"/>
                      <a:pt x="122" y="176"/>
                      <a:pt x="122" y="176"/>
                    </a:cubicBezTo>
                    <a:cubicBezTo>
                      <a:pt x="122" y="176"/>
                      <a:pt x="122" y="176"/>
                      <a:pt x="122" y="176"/>
                    </a:cubicBezTo>
                    <a:close/>
                    <a:moveTo>
                      <a:pt x="119" y="176"/>
                    </a:moveTo>
                    <a:cubicBezTo>
                      <a:pt x="119" y="176"/>
                      <a:pt x="119" y="176"/>
                      <a:pt x="119" y="176"/>
                    </a:cubicBezTo>
                    <a:cubicBezTo>
                      <a:pt x="119" y="176"/>
                      <a:pt x="119" y="176"/>
                      <a:pt x="119" y="176"/>
                    </a:cubicBezTo>
                    <a:close/>
                    <a:moveTo>
                      <a:pt x="121" y="218"/>
                    </a:moveTo>
                    <a:cubicBezTo>
                      <a:pt x="123" y="219"/>
                      <a:pt x="123" y="219"/>
                      <a:pt x="123" y="219"/>
                    </a:cubicBezTo>
                    <a:cubicBezTo>
                      <a:pt x="121" y="218"/>
                      <a:pt x="121" y="218"/>
                      <a:pt x="121" y="218"/>
                    </a:cubicBezTo>
                    <a:cubicBezTo>
                      <a:pt x="119" y="219"/>
                      <a:pt x="119" y="219"/>
                      <a:pt x="119" y="219"/>
                    </a:cubicBezTo>
                    <a:lnTo>
                      <a:pt x="121" y="218"/>
                    </a:lnTo>
                    <a:close/>
                    <a:moveTo>
                      <a:pt x="117" y="130"/>
                    </a:moveTo>
                    <a:cubicBezTo>
                      <a:pt x="117" y="130"/>
                      <a:pt x="117" y="130"/>
                      <a:pt x="117" y="130"/>
                    </a:cubicBezTo>
                    <a:cubicBezTo>
                      <a:pt x="116" y="132"/>
                      <a:pt x="116" y="132"/>
                      <a:pt x="116" y="132"/>
                    </a:cubicBezTo>
                    <a:cubicBezTo>
                      <a:pt x="116" y="132"/>
                      <a:pt x="116" y="132"/>
                      <a:pt x="116" y="132"/>
                    </a:cubicBezTo>
                    <a:cubicBezTo>
                      <a:pt x="116" y="132"/>
                      <a:pt x="116" y="132"/>
                      <a:pt x="116" y="132"/>
                    </a:cubicBezTo>
                    <a:cubicBezTo>
                      <a:pt x="116" y="132"/>
                      <a:pt x="116" y="132"/>
                      <a:pt x="116" y="132"/>
                    </a:cubicBezTo>
                    <a:cubicBezTo>
                      <a:pt x="117" y="130"/>
                      <a:pt x="117" y="130"/>
                      <a:pt x="117" y="130"/>
                    </a:cubicBezTo>
                    <a:close/>
                    <a:moveTo>
                      <a:pt x="116" y="133"/>
                    </a:moveTo>
                    <a:cubicBezTo>
                      <a:pt x="116" y="133"/>
                      <a:pt x="116" y="133"/>
                      <a:pt x="116" y="133"/>
                    </a:cubicBezTo>
                    <a:cubicBezTo>
                      <a:pt x="116" y="134"/>
                      <a:pt x="116" y="134"/>
                      <a:pt x="116" y="134"/>
                    </a:cubicBezTo>
                    <a:lnTo>
                      <a:pt x="116" y="133"/>
                    </a:lnTo>
                    <a:close/>
                    <a:moveTo>
                      <a:pt x="116" y="117"/>
                    </a:moveTo>
                    <a:cubicBezTo>
                      <a:pt x="116" y="117"/>
                      <a:pt x="117" y="117"/>
                      <a:pt x="117" y="116"/>
                    </a:cubicBezTo>
                    <a:cubicBezTo>
                      <a:pt x="117" y="115"/>
                      <a:pt x="117" y="115"/>
                      <a:pt x="117" y="115"/>
                    </a:cubicBezTo>
                    <a:cubicBezTo>
                      <a:pt x="117" y="116"/>
                      <a:pt x="117" y="116"/>
                      <a:pt x="117" y="116"/>
                    </a:cubicBezTo>
                    <a:cubicBezTo>
                      <a:pt x="117" y="117"/>
                      <a:pt x="116" y="117"/>
                      <a:pt x="116" y="117"/>
                    </a:cubicBezTo>
                    <a:cubicBezTo>
                      <a:pt x="114" y="118"/>
                      <a:pt x="114" y="118"/>
                      <a:pt x="114" y="118"/>
                    </a:cubicBezTo>
                    <a:cubicBezTo>
                      <a:pt x="114" y="118"/>
                      <a:pt x="114" y="118"/>
                      <a:pt x="114" y="118"/>
                    </a:cubicBezTo>
                    <a:lnTo>
                      <a:pt x="116" y="117"/>
                    </a:lnTo>
                    <a:close/>
                    <a:moveTo>
                      <a:pt x="112" y="119"/>
                    </a:moveTo>
                    <a:cubicBezTo>
                      <a:pt x="112" y="119"/>
                      <a:pt x="112" y="119"/>
                      <a:pt x="112" y="119"/>
                    </a:cubicBezTo>
                    <a:cubicBezTo>
                      <a:pt x="112" y="119"/>
                      <a:pt x="112" y="119"/>
                      <a:pt x="112" y="119"/>
                    </a:cubicBezTo>
                    <a:cubicBezTo>
                      <a:pt x="111" y="119"/>
                      <a:pt x="111" y="119"/>
                      <a:pt x="111" y="119"/>
                    </a:cubicBezTo>
                    <a:lnTo>
                      <a:pt x="112" y="119"/>
                    </a:lnTo>
                    <a:close/>
                    <a:moveTo>
                      <a:pt x="109" y="119"/>
                    </a:moveTo>
                    <a:cubicBezTo>
                      <a:pt x="111" y="120"/>
                      <a:pt x="111" y="120"/>
                      <a:pt x="111" y="120"/>
                    </a:cubicBezTo>
                    <a:cubicBezTo>
                      <a:pt x="111" y="120"/>
                      <a:pt x="111" y="120"/>
                      <a:pt x="111" y="120"/>
                    </a:cubicBezTo>
                    <a:cubicBezTo>
                      <a:pt x="109" y="119"/>
                      <a:pt x="109" y="119"/>
                      <a:pt x="109" y="119"/>
                    </a:cubicBezTo>
                    <a:close/>
                    <a:moveTo>
                      <a:pt x="108" y="71"/>
                    </a:moveTo>
                    <a:cubicBezTo>
                      <a:pt x="108" y="71"/>
                      <a:pt x="108" y="71"/>
                      <a:pt x="108" y="71"/>
                    </a:cubicBezTo>
                    <a:cubicBezTo>
                      <a:pt x="106" y="68"/>
                      <a:pt x="106" y="68"/>
                      <a:pt x="106" y="68"/>
                    </a:cubicBezTo>
                    <a:cubicBezTo>
                      <a:pt x="106" y="68"/>
                      <a:pt x="106" y="68"/>
                      <a:pt x="106" y="68"/>
                    </a:cubicBezTo>
                    <a:lnTo>
                      <a:pt x="108" y="71"/>
                    </a:lnTo>
                    <a:close/>
                    <a:moveTo>
                      <a:pt x="107" y="72"/>
                    </a:moveTo>
                    <a:cubicBezTo>
                      <a:pt x="107" y="72"/>
                      <a:pt x="107" y="72"/>
                      <a:pt x="107" y="72"/>
                    </a:cubicBezTo>
                    <a:cubicBezTo>
                      <a:pt x="108" y="71"/>
                      <a:pt x="108" y="71"/>
                      <a:pt x="108" y="71"/>
                    </a:cubicBezTo>
                    <a:lnTo>
                      <a:pt x="107" y="72"/>
                    </a:lnTo>
                    <a:close/>
                    <a:moveTo>
                      <a:pt x="108" y="120"/>
                    </a:moveTo>
                    <a:cubicBezTo>
                      <a:pt x="107" y="120"/>
                      <a:pt x="107" y="120"/>
                      <a:pt x="107" y="120"/>
                    </a:cubicBezTo>
                    <a:cubicBezTo>
                      <a:pt x="107" y="120"/>
                      <a:pt x="107" y="120"/>
                      <a:pt x="107" y="120"/>
                    </a:cubicBezTo>
                    <a:lnTo>
                      <a:pt x="108" y="120"/>
                    </a:lnTo>
                    <a:close/>
                    <a:moveTo>
                      <a:pt x="107" y="77"/>
                    </a:moveTo>
                    <a:cubicBezTo>
                      <a:pt x="107" y="72"/>
                      <a:pt x="107" y="72"/>
                      <a:pt x="107" y="72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6" y="82"/>
                      <a:pt x="106" y="82"/>
                      <a:pt x="106" y="82"/>
                    </a:cubicBezTo>
                    <a:lnTo>
                      <a:pt x="107" y="77"/>
                    </a:lnTo>
                    <a:close/>
                    <a:moveTo>
                      <a:pt x="107" y="111"/>
                    </a:moveTo>
                    <a:cubicBezTo>
                      <a:pt x="107" y="111"/>
                      <a:pt x="107" y="111"/>
                      <a:pt x="107" y="111"/>
                    </a:cubicBezTo>
                    <a:cubicBezTo>
                      <a:pt x="103" y="111"/>
                      <a:pt x="103" y="111"/>
                      <a:pt x="103" y="111"/>
                    </a:cubicBezTo>
                    <a:cubicBezTo>
                      <a:pt x="103" y="111"/>
                      <a:pt x="103" y="111"/>
                      <a:pt x="103" y="111"/>
                    </a:cubicBezTo>
                    <a:cubicBezTo>
                      <a:pt x="103" y="111"/>
                      <a:pt x="103" y="111"/>
                      <a:pt x="103" y="111"/>
                    </a:cubicBezTo>
                    <a:lnTo>
                      <a:pt x="107" y="111"/>
                    </a:lnTo>
                    <a:close/>
                    <a:moveTo>
                      <a:pt x="105" y="101"/>
                    </a:moveTo>
                    <a:cubicBezTo>
                      <a:pt x="105" y="102"/>
                      <a:pt x="105" y="102"/>
                      <a:pt x="105" y="102"/>
                    </a:cubicBezTo>
                    <a:cubicBezTo>
                      <a:pt x="105" y="102"/>
                      <a:pt x="105" y="102"/>
                      <a:pt x="105" y="102"/>
                    </a:cubicBezTo>
                    <a:lnTo>
                      <a:pt x="105" y="101"/>
                    </a:lnTo>
                    <a:close/>
                    <a:moveTo>
                      <a:pt x="103" y="100"/>
                    </a:moveTo>
                    <a:cubicBezTo>
                      <a:pt x="104" y="100"/>
                      <a:pt x="105" y="100"/>
                      <a:pt x="105" y="101"/>
                    </a:cubicBezTo>
                    <a:cubicBezTo>
                      <a:pt x="105" y="100"/>
                      <a:pt x="104" y="100"/>
                      <a:pt x="103" y="100"/>
                    </a:cubicBezTo>
                    <a:close/>
                    <a:moveTo>
                      <a:pt x="103" y="99"/>
                    </a:moveTo>
                    <a:cubicBezTo>
                      <a:pt x="103" y="99"/>
                      <a:pt x="103" y="99"/>
                      <a:pt x="103" y="99"/>
                    </a:cubicBezTo>
                    <a:cubicBezTo>
                      <a:pt x="103" y="99"/>
                      <a:pt x="103" y="99"/>
                      <a:pt x="103" y="99"/>
                    </a:cubicBezTo>
                    <a:cubicBezTo>
                      <a:pt x="103" y="99"/>
                      <a:pt x="103" y="99"/>
                      <a:pt x="103" y="99"/>
                    </a:cubicBezTo>
                    <a:close/>
                    <a:moveTo>
                      <a:pt x="105" y="84"/>
                    </a:moveTo>
                    <a:cubicBezTo>
                      <a:pt x="104" y="86"/>
                      <a:pt x="101" y="90"/>
                      <a:pt x="101" y="91"/>
                    </a:cubicBezTo>
                    <a:cubicBezTo>
                      <a:pt x="101" y="90"/>
                      <a:pt x="104" y="86"/>
                      <a:pt x="105" y="84"/>
                    </a:cubicBezTo>
                    <a:close/>
                    <a:moveTo>
                      <a:pt x="102" y="101"/>
                    </a:moveTo>
                    <a:cubicBezTo>
                      <a:pt x="101" y="98"/>
                      <a:pt x="101" y="98"/>
                      <a:pt x="101" y="98"/>
                    </a:cubicBezTo>
                    <a:cubicBezTo>
                      <a:pt x="102" y="101"/>
                      <a:pt x="102" y="101"/>
                      <a:pt x="102" y="101"/>
                    </a:cubicBezTo>
                    <a:cubicBezTo>
                      <a:pt x="103" y="102"/>
                      <a:pt x="103" y="102"/>
                      <a:pt x="103" y="102"/>
                    </a:cubicBezTo>
                    <a:lnTo>
                      <a:pt x="102" y="101"/>
                    </a:lnTo>
                    <a:close/>
                    <a:moveTo>
                      <a:pt x="103" y="110"/>
                    </a:moveTo>
                    <a:cubicBezTo>
                      <a:pt x="102" y="110"/>
                      <a:pt x="102" y="110"/>
                      <a:pt x="102" y="110"/>
                    </a:cubicBezTo>
                    <a:cubicBezTo>
                      <a:pt x="102" y="110"/>
                      <a:pt x="102" y="110"/>
                      <a:pt x="102" y="110"/>
                    </a:cubicBezTo>
                    <a:cubicBezTo>
                      <a:pt x="102" y="110"/>
                      <a:pt x="102" y="110"/>
                      <a:pt x="103" y="110"/>
                    </a:cubicBezTo>
                    <a:close/>
                    <a:moveTo>
                      <a:pt x="94" y="120"/>
                    </a:moveTo>
                    <a:cubicBezTo>
                      <a:pt x="94" y="121"/>
                      <a:pt x="94" y="121"/>
                      <a:pt x="94" y="121"/>
                    </a:cubicBezTo>
                    <a:cubicBezTo>
                      <a:pt x="94" y="120"/>
                      <a:pt x="94" y="120"/>
                      <a:pt x="94" y="120"/>
                    </a:cubicBezTo>
                    <a:close/>
                    <a:moveTo>
                      <a:pt x="93" y="20"/>
                    </a:moveTo>
                    <a:cubicBezTo>
                      <a:pt x="93" y="18"/>
                      <a:pt x="93" y="18"/>
                      <a:pt x="93" y="18"/>
                    </a:cubicBezTo>
                    <a:cubicBezTo>
                      <a:pt x="93" y="20"/>
                      <a:pt x="93" y="20"/>
                      <a:pt x="93" y="20"/>
                    </a:cubicBezTo>
                    <a:cubicBezTo>
                      <a:pt x="92" y="21"/>
                      <a:pt x="92" y="21"/>
                      <a:pt x="92" y="21"/>
                    </a:cubicBezTo>
                    <a:lnTo>
                      <a:pt x="93" y="20"/>
                    </a:lnTo>
                    <a:close/>
                    <a:moveTo>
                      <a:pt x="93" y="145"/>
                    </a:moveTo>
                    <a:cubicBezTo>
                      <a:pt x="93" y="145"/>
                      <a:pt x="93" y="145"/>
                      <a:pt x="93" y="145"/>
                    </a:cubicBezTo>
                    <a:cubicBezTo>
                      <a:pt x="93" y="140"/>
                      <a:pt x="93" y="140"/>
                      <a:pt x="93" y="140"/>
                    </a:cubicBezTo>
                    <a:cubicBezTo>
                      <a:pt x="93" y="140"/>
                      <a:pt x="93" y="140"/>
                      <a:pt x="93" y="140"/>
                    </a:cubicBezTo>
                    <a:cubicBezTo>
                      <a:pt x="93" y="140"/>
                      <a:pt x="93" y="140"/>
                      <a:pt x="93" y="140"/>
                    </a:cubicBezTo>
                    <a:lnTo>
                      <a:pt x="93" y="145"/>
                    </a:lnTo>
                    <a:close/>
                    <a:moveTo>
                      <a:pt x="91" y="97"/>
                    </a:moveTo>
                    <a:cubicBezTo>
                      <a:pt x="92" y="97"/>
                      <a:pt x="93" y="97"/>
                      <a:pt x="94" y="98"/>
                    </a:cubicBezTo>
                    <a:cubicBezTo>
                      <a:pt x="93" y="97"/>
                      <a:pt x="92" y="97"/>
                      <a:pt x="91" y="97"/>
                    </a:cubicBezTo>
                    <a:close/>
                    <a:moveTo>
                      <a:pt x="94" y="159"/>
                    </a:moveTo>
                    <a:cubicBezTo>
                      <a:pt x="94" y="159"/>
                      <a:pt x="94" y="159"/>
                      <a:pt x="94" y="159"/>
                    </a:cubicBezTo>
                    <a:cubicBezTo>
                      <a:pt x="95" y="158"/>
                      <a:pt x="95" y="158"/>
                      <a:pt x="95" y="158"/>
                    </a:cubicBezTo>
                    <a:lnTo>
                      <a:pt x="94" y="159"/>
                    </a:lnTo>
                    <a:close/>
                    <a:moveTo>
                      <a:pt x="95" y="118"/>
                    </a:moveTo>
                    <a:cubicBezTo>
                      <a:pt x="95" y="118"/>
                      <a:pt x="95" y="118"/>
                      <a:pt x="95" y="118"/>
                    </a:cubicBezTo>
                    <a:cubicBezTo>
                      <a:pt x="95" y="118"/>
                      <a:pt x="95" y="118"/>
                      <a:pt x="96" y="118"/>
                    </a:cubicBezTo>
                    <a:cubicBezTo>
                      <a:pt x="95" y="118"/>
                      <a:pt x="95" y="118"/>
                      <a:pt x="95" y="118"/>
                    </a:cubicBezTo>
                    <a:close/>
                    <a:moveTo>
                      <a:pt x="96" y="167"/>
                    </a:moveTo>
                    <a:cubicBezTo>
                      <a:pt x="96" y="167"/>
                      <a:pt x="96" y="167"/>
                      <a:pt x="96" y="167"/>
                    </a:cubicBezTo>
                    <a:cubicBezTo>
                      <a:pt x="96" y="166"/>
                      <a:pt x="96" y="166"/>
                      <a:pt x="96" y="166"/>
                    </a:cubicBezTo>
                    <a:cubicBezTo>
                      <a:pt x="96" y="166"/>
                      <a:pt x="96" y="166"/>
                      <a:pt x="96" y="166"/>
                    </a:cubicBezTo>
                    <a:lnTo>
                      <a:pt x="96" y="167"/>
                    </a:lnTo>
                    <a:close/>
                    <a:moveTo>
                      <a:pt x="97" y="172"/>
                    </a:moveTo>
                    <a:cubicBezTo>
                      <a:pt x="96" y="172"/>
                      <a:pt x="96" y="172"/>
                      <a:pt x="96" y="172"/>
                    </a:cubicBezTo>
                    <a:cubicBezTo>
                      <a:pt x="97" y="172"/>
                      <a:pt x="97" y="172"/>
                      <a:pt x="97" y="172"/>
                    </a:cubicBezTo>
                    <a:close/>
                    <a:moveTo>
                      <a:pt x="96" y="157"/>
                    </a:moveTo>
                    <a:cubicBezTo>
                      <a:pt x="97" y="158"/>
                      <a:pt x="97" y="158"/>
                      <a:pt x="97" y="158"/>
                    </a:cubicBezTo>
                    <a:cubicBezTo>
                      <a:pt x="97" y="158"/>
                      <a:pt x="97" y="158"/>
                      <a:pt x="97" y="158"/>
                    </a:cubicBezTo>
                    <a:lnTo>
                      <a:pt x="96" y="157"/>
                    </a:lnTo>
                    <a:close/>
                    <a:moveTo>
                      <a:pt x="98" y="171"/>
                    </a:moveTo>
                    <a:cubicBezTo>
                      <a:pt x="98" y="171"/>
                      <a:pt x="98" y="171"/>
                      <a:pt x="98" y="171"/>
                    </a:cubicBezTo>
                    <a:cubicBezTo>
                      <a:pt x="98" y="171"/>
                      <a:pt x="98" y="171"/>
                      <a:pt x="98" y="171"/>
                    </a:cubicBezTo>
                    <a:close/>
                    <a:moveTo>
                      <a:pt x="97" y="168"/>
                    </a:moveTo>
                    <a:cubicBezTo>
                      <a:pt x="98" y="166"/>
                      <a:pt x="98" y="166"/>
                      <a:pt x="98" y="166"/>
                    </a:cubicBezTo>
                    <a:cubicBezTo>
                      <a:pt x="98" y="166"/>
                      <a:pt x="98" y="166"/>
                      <a:pt x="98" y="166"/>
                    </a:cubicBezTo>
                    <a:lnTo>
                      <a:pt x="97" y="168"/>
                    </a:lnTo>
                    <a:close/>
                    <a:moveTo>
                      <a:pt x="97" y="156"/>
                    </a:moveTo>
                    <a:cubicBezTo>
                      <a:pt x="97" y="156"/>
                      <a:pt x="97" y="156"/>
                      <a:pt x="97" y="156"/>
                    </a:cubicBezTo>
                    <a:cubicBezTo>
                      <a:pt x="97" y="156"/>
                      <a:pt x="97" y="156"/>
                      <a:pt x="97" y="156"/>
                    </a:cubicBezTo>
                    <a:close/>
                    <a:moveTo>
                      <a:pt x="100" y="144"/>
                    </a:moveTo>
                    <a:cubicBezTo>
                      <a:pt x="100" y="144"/>
                      <a:pt x="100" y="144"/>
                      <a:pt x="100" y="144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99" y="142"/>
                      <a:pt x="99" y="142"/>
                      <a:pt x="99" y="142"/>
                    </a:cubicBezTo>
                    <a:cubicBezTo>
                      <a:pt x="99" y="143"/>
                      <a:pt x="99" y="143"/>
                      <a:pt x="99" y="143"/>
                    </a:cubicBezTo>
                    <a:lnTo>
                      <a:pt x="100" y="144"/>
                    </a:lnTo>
                    <a:close/>
                    <a:moveTo>
                      <a:pt x="98" y="112"/>
                    </a:moveTo>
                    <a:cubicBezTo>
                      <a:pt x="98" y="113"/>
                      <a:pt x="98" y="113"/>
                      <a:pt x="98" y="113"/>
                    </a:cubicBezTo>
                    <a:cubicBezTo>
                      <a:pt x="98" y="112"/>
                      <a:pt x="98" y="112"/>
                      <a:pt x="98" y="112"/>
                    </a:cubicBezTo>
                    <a:cubicBezTo>
                      <a:pt x="99" y="111"/>
                      <a:pt x="99" y="111"/>
                      <a:pt x="99" y="111"/>
                    </a:cubicBezTo>
                    <a:lnTo>
                      <a:pt x="98" y="112"/>
                    </a:lnTo>
                    <a:close/>
                    <a:moveTo>
                      <a:pt x="99" y="158"/>
                    </a:moveTo>
                    <a:cubicBezTo>
                      <a:pt x="98" y="156"/>
                      <a:pt x="98" y="156"/>
                      <a:pt x="98" y="156"/>
                    </a:cubicBezTo>
                    <a:cubicBezTo>
                      <a:pt x="99" y="158"/>
                      <a:pt x="99" y="158"/>
                      <a:pt x="99" y="158"/>
                    </a:cubicBezTo>
                    <a:cubicBezTo>
                      <a:pt x="100" y="157"/>
                      <a:pt x="100" y="157"/>
                      <a:pt x="100" y="157"/>
                    </a:cubicBezTo>
                    <a:lnTo>
                      <a:pt x="99" y="158"/>
                    </a:lnTo>
                    <a:close/>
                    <a:moveTo>
                      <a:pt x="100" y="59"/>
                    </a:moveTo>
                    <a:cubicBezTo>
                      <a:pt x="95" y="57"/>
                      <a:pt x="95" y="57"/>
                      <a:pt x="95" y="57"/>
                    </a:cubicBezTo>
                    <a:cubicBezTo>
                      <a:pt x="95" y="57"/>
                      <a:pt x="95" y="57"/>
                      <a:pt x="95" y="57"/>
                    </a:cubicBezTo>
                    <a:cubicBezTo>
                      <a:pt x="95" y="57"/>
                      <a:pt x="95" y="57"/>
                      <a:pt x="95" y="57"/>
                    </a:cubicBezTo>
                    <a:cubicBezTo>
                      <a:pt x="100" y="59"/>
                      <a:pt x="100" y="59"/>
                      <a:pt x="100" y="59"/>
                    </a:cubicBezTo>
                    <a:cubicBezTo>
                      <a:pt x="102" y="61"/>
                      <a:pt x="102" y="61"/>
                      <a:pt x="102" y="61"/>
                    </a:cubicBezTo>
                    <a:cubicBezTo>
                      <a:pt x="102" y="61"/>
                      <a:pt x="102" y="61"/>
                      <a:pt x="102" y="61"/>
                    </a:cubicBezTo>
                    <a:lnTo>
                      <a:pt x="100" y="59"/>
                    </a:lnTo>
                    <a:close/>
                    <a:moveTo>
                      <a:pt x="100" y="148"/>
                    </a:moveTo>
                    <a:cubicBezTo>
                      <a:pt x="101" y="147"/>
                      <a:pt x="101" y="147"/>
                      <a:pt x="101" y="147"/>
                    </a:cubicBezTo>
                    <a:cubicBezTo>
                      <a:pt x="100" y="148"/>
                      <a:pt x="100" y="148"/>
                      <a:pt x="100" y="148"/>
                    </a:cubicBezTo>
                    <a:cubicBezTo>
                      <a:pt x="101" y="150"/>
                      <a:pt x="101" y="150"/>
                      <a:pt x="101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1" y="150"/>
                      <a:pt x="101" y="150"/>
                      <a:pt x="101" y="150"/>
                    </a:cubicBezTo>
                    <a:lnTo>
                      <a:pt x="100" y="148"/>
                    </a:lnTo>
                    <a:close/>
                    <a:moveTo>
                      <a:pt x="101" y="143"/>
                    </a:moveTo>
                    <a:cubicBezTo>
                      <a:pt x="101" y="143"/>
                      <a:pt x="101" y="143"/>
                      <a:pt x="101" y="143"/>
                    </a:cubicBezTo>
                    <a:cubicBezTo>
                      <a:pt x="101" y="143"/>
                      <a:pt x="101" y="143"/>
                      <a:pt x="101" y="143"/>
                    </a:cubicBezTo>
                    <a:cubicBezTo>
                      <a:pt x="101" y="143"/>
                      <a:pt x="101" y="143"/>
                      <a:pt x="101" y="143"/>
                    </a:cubicBezTo>
                    <a:close/>
                    <a:moveTo>
                      <a:pt x="102" y="146"/>
                    </a:moveTo>
                    <a:cubicBezTo>
                      <a:pt x="102" y="144"/>
                      <a:pt x="102" y="144"/>
                      <a:pt x="102" y="144"/>
                    </a:cubicBezTo>
                    <a:cubicBezTo>
                      <a:pt x="102" y="144"/>
                      <a:pt x="102" y="143"/>
                      <a:pt x="102" y="142"/>
                    </a:cubicBezTo>
                    <a:cubicBezTo>
                      <a:pt x="102" y="143"/>
                      <a:pt x="102" y="144"/>
                      <a:pt x="102" y="144"/>
                    </a:cubicBezTo>
                    <a:cubicBezTo>
                      <a:pt x="102" y="146"/>
                      <a:pt x="102" y="146"/>
                      <a:pt x="102" y="146"/>
                    </a:cubicBezTo>
                    <a:cubicBezTo>
                      <a:pt x="101" y="147"/>
                      <a:pt x="101" y="147"/>
                      <a:pt x="101" y="147"/>
                    </a:cubicBezTo>
                    <a:lnTo>
                      <a:pt x="102" y="146"/>
                    </a:lnTo>
                    <a:close/>
                    <a:moveTo>
                      <a:pt x="101" y="217"/>
                    </a:moveTo>
                    <a:cubicBezTo>
                      <a:pt x="101" y="217"/>
                      <a:pt x="101" y="217"/>
                      <a:pt x="101" y="217"/>
                    </a:cubicBezTo>
                    <a:cubicBezTo>
                      <a:pt x="101" y="217"/>
                      <a:pt x="101" y="217"/>
                      <a:pt x="101" y="217"/>
                    </a:cubicBezTo>
                    <a:close/>
                    <a:moveTo>
                      <a:pt x="102" y="217"/>
                    </a:moveTo>
                    <a:cubicBezTo>
                      <a:pt x="102" y="217"/>
                      <a:pt x="102" y="217"/>
                      <a:pt x="102" y="217"/>
                    </a:cubicBezTo>
                    <a:cubicBezTo>
                      <a:pt x="102" y="217"/>
                      <a:pt x="102" y="217"/>
                      <a:pt x="102" y="217"/>
                    </a:cubicBezTo>
                    <a:close/>
                    <a:moveTo>
                      <a:pt x="102" y="156"/>
                    </a:moveTo>
                    <a:cubicBezTo>
                      <a:pt x="101" y="159"/>
                      <a:pt x="101" y="159"/>
                      <a:pt x="101" y="159"/>
                    </a:cubicBezTo>
                    <a:cubicBezTo>
                      <a:pt x="101" y="159"/>
                      <a:pt x="101" y="159"/>
                      <a:pt x="101" y="159"/>
                    </a:cubicBezTo>
                    <a:cubicBezTo>
                      <a:pt x="102" y="156"/>
                      <a:pt x="102" y="156"/>
                      <a:pt x="102" y="156"/>
                    </a:cubicBezTo>
                    <a:cubicBezTo>
                      <a:pt x="103" y="155"/>
                      <a:pt x="103" y="155"/>
                      <a:pt x="103" y="155"/>
                    </a:cubicBezTo>
                    <a:lnTo>
                      <a:pt x="102" y="156"/>
                    </a:lnTo>
                    <a:close/>
                    <a:moveTo>
                      <a:pt x="103" y="155"/>
                    </a:moveTo>
                    <a:cubicBezTo>
                      <a:pt x="102" y="154"/>
                      <a:pt x="102" y="154"/>
                      <a:pt x="102" y="154"/>
                    </a:cubicBezTo>
                    <a:cubicBezTo>
                      <a:pt x="103" y="153"/>
                      <a:pt x="103" y="153"/>
                      <a:pt x="103" y="153"/>
                    </a:cubicBezTo>
                    <a:cubicBezTo>
                      <a:pt x="102" y="154"/>
                      <a:pt x="102" y="154"/>
                      <a:pt x="102" y="154"/>
                    </a:cubicBezTo>
                    <a:lnTo>
                      <a:pt x="103" y="155"/>
                    </a:lnTo>
                    <a:close/>
                    <a:moveTo>
                      <a:pt x="102" y="150"/>
                    </a:move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3" y="152"/>
                      <a:pt x="103" y="152"/>
                      <a:pt x="103" y="152"/>
                    </a:cubicBezTo>
                    <a:lnTo>
                      <a:pt x="102" y="150"/>
                    </a:lnTo>
                    <a:close/>
                    <a:moveTo>
                      <a:pt x="102" y="129"/>
                    </a:moveTo>
                    <a:cubicBezTo>
                      <a:pt x="103" y="127"/>
                      <a:pt x="103" y="127"/>
                      <a:pt x="103" y="127"/>
                    </a:cubicBezTo>
                    <a:cubicBezTo>
                      <a:pt x="103" y="126"/>
                      <a:pt x="103" y="126"/>
                      <a:pt x="103" y="126"/>
                    </a:cubicBezTo>
                    <a:cubicBezTo>
                      <a:pt x="103" y="127"/>
                      <a:pt x="103" y="127"/>
                      <a:pt x="103" y="127"/>
                    </a:cubicBezTo>
                    <a:cubicBezTo>
                      <a:pt x="102" y="129"/>
                      <a:pt x="102" y="129"/>
                      <a:pt x="102" y="129"/>
                    </a:cubicBezTo>
                    <a:cubicBezTo>
                      <a:pt x="103" y="129"/>
                      <a:pt x="103" y="129"/>
                      <a:pt x="103" y="129"/>
                    </a:cubicBezTo>
                    <a:cubicBezTo>
                      <a:pt x="104" y="131"/>
                      <a:pt x="104" y="131"/>
                      <a:pt x="104" y="131"/>
                    </a:cubicBezTo>
                    <a:cubicBezTo>
                      <a:pt x="104" y="132"/>
                      <a:pt x="104" y="132"/>
                      <a:pt x="104" y="132"/>
                    </a:cubicBezTo>
                    <a:cubicBezTo>
                      <a:pt x="104" y="131"/>
                      <a:pt x="104" y="131"/>
                      <a:pt x="104" y="131"/>
                    </a:cubicBezTo>
                    <a:cubicBezTo>
                      <a:pt x="103" y="129"/>
                      <a:pt x="103" y="129"/>
                      <a:pt x="103" y="129"/>
                    </a:cubicBezTo>
                    <a:lnTo>
                      <a:pt x="102" y="129"/>
                    </a:lnTo>
                    <a:close/>
                    <a:moveTo>
                      <a:pt x="103" y="125"/>
                    </a:moveTo>
                    <a:cubicBezTo>
                      <a:pt x="103" y="125"/>
                      <a:pt x="103" y="125"/>
                      <a:pt x="103" y="125"/>
                    </a:cubicBezTo>
                    <a:cubicBezTo>
                      <a:pt x="103" y="125"/>
                      <a:pt x="103" y="125"/>
                      <a:pt x="103" y="125"/>
                    </a:cubicBezTo>
                    <a:cubicBezTo>
                      <a:pt x="103" y="125"/>
                      <a:pt x="103" y="125"/>
                      <a:pt x="103" y="125"/>
                    </a:cubicBezTo>
                    <a:close/>
                    <a:moveTo>
                      <a:pt x="104" y="172"/>
                    </a:moveTo>
                    <a:cubicBezTo>
                      <a:pt x="103" y="172"/>
                      <a:pt x="103" y="172"/>
                      <a:pt x="103" y="172"/>
                    </a:cubicBezTo>
                    <a:cubicBezTo>
                      <a:pt x="104" y="172"/>
                      <a:pt x="104" y="172"/>
                      <a:pt x="104" y="172"/>
                    </a:cubicBezTo>
                    <a:cubicBezTo>
                      <a:pt x="105" y="172"/>
                      <a:pt x="105" y="172"/>
                      <a:pt x="105" y="172"/>
                    </a:cubicBezTo>
                    <a:lnTo>
                      <a:pt x="104" y="172"/>
                    </a:lnTo>
                    <a:close/>
                    <a:moveTo>
                      <a:pt x="105" y="116"/>
                    </a:moveTo>
                    <a:cubicBezTo>
                      <a:pt x="102" y="114"/>
                      <a:pt x="102" y="114"/>
                      <a:pt x="102" y="114"/>
                    </a:cubicBezTo>
                    <a:cubicBezTo>
                      <a:pt x="100" y="112"/>
                      <a:pt x="100" y="112"/>
                      <a:pt x="100" y="112"/>
                    </a:cubicBezTo>
                    <a:cubicBezTo>
                      <a:pt x="100" y="112"/>
                      <a:pt x="101" y="111"/>
                      <a:pt x="102" y="110"/>
                    </a:cubicBezTo>
                    <a:cubicBezTo>
                      <a:pt x="101" y="111"/>
                      <a:pt x="100" y="112"/>
                      <a:pt x="100" y="112"/>
                    </a:cubicBezTo>
                    <a:cubicBezTo>
                      <a:pt x="102" y="114"/>
                      <a:pt x="102" y="114"/>
                      <a:pt x="102" y="114"/>
                    </a:cubicBezTo>
                    <a:cubicBezTo>
                      <a:pt x="105" y="116"/>
                      <a:pt x="105" y="116"/>
                      <a:pt x="105" y="116"/>
                    </a:cubicBezTo>
                    <a:cubicBezTo>
                      <a:pt x="105" y="118"/>
                      <a:pt x="105" y="118"/>
                      <a:pt x="105" y="118"/>
                    </a:cubicBezTo>
                    <a:lnTo>
                      <a:pt x="105" y="116"/>
                    </a:lnTo>
                    <a:close/>
                    <a:moveTo>
                      <a:pt x="106" y="120"/>
                    </a:moveTo>
                    <a:cubicBezTo>
                      <a:pt x="106" y="120"/>
                      <a:pt x="106" y="120"/>
                      <a:pt x="106" y="120"/>
                    </a:cubicBezTo>
                    <a:cubicBezTo>
                      <a:pt x="105" y="121"/>
                      <a:pt x="105" y="121"/>
                      <a:pt x="105" y="121"/>
                    </a:cubicBezTo>
                    <a:lnTo>
                      <a:pt x="106" y="120"/>
                    </a:lnTo>
                    <a:close/>
                    <a:moveTo>
                      <a:pt x="108" y="162"/>
                    </a:moveTo>
                    <a:cubicBezTo>
                      <a:pt x="108" y="162"/>
                      <a:pt x="108" y="162"/>
                      <a:pt x="108" y="162"/>
                    </a:cubicBezTo>
                    <a:cubicBezTo>
                      <a:pt x="108" y="162"/>
                      <a:pt x="108" y="163"/>
                      <a:pt x="108" y="163"/>
                    </a:cubicBezTo>
                    <a:cubicBezTo>
                      <a:pt x="108" y="163"/>
                      <a:pt x="108" y="162"/>
                      <a:pt x="108" y="162"/>
                    </a:cubicBezTo>
                    <a:close/>
                    <a:moveTo>
                      <a:pt x="109" y="140"/>
                    </a:moveTo>
                    <a:cubicBezTo>
                      <a:pt x="109" y="140"/>
                      <a:pt x="109" y="140"/>
                      <a:pt x="109" y="140"/>
                    </a:cubicBezTo>
                    <a:cubicBezTo>
                      <a:pt x="107" y="136"/>
                      <a:pt x="107" y="136"/>
                      <a:pt x="107" y="136"/>
                    </a:cubicBezTo>
                    <a:cubicBezTo>
                      <a:pt x="105" y="135"/>
                      <a:pt x="105" y="135"/>
                      <a:pt x="105" y="135"/>
                    </a:cubicBezTo>
                    <a:cubicBezTo>
                      <a:pt x="107" y="136"/>
                      <a:pt x="107" y="136"/>
                      <a:pt x="107" y="136"/>
                    </a:cubicBezTo>
                    <a:cubicBezTo>
                      <a:pt x="109" y="140"/>
                      <a:pt x="109" y="140"/>
                      <a:pt x="109" y="140"/>
                    </a:cubicBezTo>
                    <a:close/>
                    <a:moveTo>
                      <a:pt x="110" y="174"/>
                    </a:moveTo>
                    <a:cubicBezTo>
                      <a:pt x="110" y="173"/>
                      <a:pt x="110" y="172"/>
                      <a:pt x="110" y="172"/>
                    </a:cubicBezTo>
                    <a:cubicBezTo>
                      <a:pt x="109" y="172"/>
                      <a:pt x="109" y="172"/>
                      <a:pt x="109" y="172"/>
                    </a:cubicBezTo>
                    <a:cubicBezTo>
                      <a:pt x="110" y="172"/>
                      <a:pt x="110" y="172"/>
                      <a:pt x="110" y="172"/>
                    </a:cubicBezTo>
                    <a:cubicBezTo>
                      <a:pt x="110" y="172"/>
                      <a:pt x="110" y="173"/>
                      <a:pt x="110" y="174"/>
                    </a:cubicBezTo>
                    <a:cubicBezTo>
                      <a:pt x="110" y="174"/>
                      <a:pt x="110" y="175"/>
                      <a:pt x="110" y="175"/>
                    </a:cubicBezTo>
                    <a:cubicBezTo>
                      <a:pt x="110" y="175"/>
                      <a:pt x="110" y="174"/>
                      <a:pt x="110" y="174"/>
                    </a:cubicBezTo>
                    <a:close/>
                    <a:moveTo>
                      <a:pt x="110" y="136"/>
                    </a:moveTo>
                    <a:cubicBezTo>
                      <a:pt x="111" y="135"/>
                      <a:pt x="111" y="135"/>
                      <a:pt x="111" y="135"/>
                    </a:cubicBezTo>
                    <a:cubicBezTo>
                      <a:pt x="111" y="135"/>
                      <a:pt x="111" y="135"/>
                      <a:pt x="111" y="135"/>
                    </a:cubicBezTo>
                    <a:lnTo>
                      <a:pt x="110" y="136"/>
                    </a:lnTo>
                    <a:close/>
                    <a:moveTo>
                      <a:pt x="111" y="259"/>
                    </a:moveTo>
                    <a:cubicBezTo>
                      <a:pt x="110" y="260"/>
                      <a:pt x="110" y="260"/>
                      <a:pt x="110" y="260"/>
                    </a:cubicBezTo>
                    <a:cubicBezTo>
                      <a:pt x="110" y="260"/>
                      <a:pt x="110" y="260"/>
                      <a:pt x="110" y="260"/>
                    </a:cubicBezTo>
                    <a:cubicBezTo>
                      <a:pt x="111" y="259"/>
                      <a:pt x="111" y="259"/>
                      <a:pt x="111" y="259"/>
                    </a:cubicBezTo>
                    <a:cubicBezTo>
                      <a:pt x="111" y="259"/>
                      <a:pt x="111" y="259"/>
                      <a:pt x="111" y="259"/>
                    </a:cubicBezTo>
                    <a:close/>
                    <a:moveTo>
                      <a:pt x="112" y="260"/>
                    </a:moveTo>
                    <a:cubicBezTo>
                      <a:pt x="112" y="260"/>
                      <a:pt x="112" y="260"/>
                      <a:pt x="112" y="260"/>
                    </a:cubicBezTo>
                    <a:cubicBezTo>
                      <a:pt x="112" y="261"/>
                      <a:pt x="112" y="261"/>
                      <a:pt x="112" y="261"/>
                    </a:cubicBezTo>
                    <a:lnTo>
                      <a:pt x="112" y="260"/>
                    </a:lnTo>
                    <a:close/>
                    <a:moveTo>
                      <a:pt x="113" y="181"/>
                    </a:moveTo>
                    <a:cubicBezTo>
                      <a:pt x="112" y="179"/>
                      <a:pt x="112" y="179"/>
                      <a:pt x="112" y="179"/>
                    </a:cubicBezTo>
                    <a:cubicBezTo>
                      <a:pt x="112" y="179"/>
                      <a:pt x="111" y="178"/>
                      <a:pt x="110" y="176"/>
                    </a:cubicBezTo>
                    <a:cubicBezTo>
                      <a:pt x="111" y="178"/>
                      <a:pt x="112" y="179"/>
                      <a:pt x="112" y="179"/>
                    </a:cubicBezTo>
                    <a:cubicBezTo>
                      <a:pt x="113" y="181"/>
                      <a:pt x="113" y="181"/>
                      <a:pt x="113" y="181"/>
                    </a:cubicBezTo>
                    <a:close/>
                    <a:moveTo>
                      <a:pt x="113" y="136"/>
                    </a:moveTo>
                    <a:cubicBezTo>
                      <a:pt x="112" y="135"/>
                      <a:pt x="112" y="135"/>
                      <a:pt x="112" y="135"/>
                    </a:cubicBezTo>
                    <a:cubicBezTo>
                      <a:pt x="113" y="135"/>
                      <a:pt x="113" y="135"/>
                      <a:pt x="113" y="135"/>
                    </a:cubicBezTo>
                    <a:cubicBezTo>
                      <a:pt x="113" y="135"/>
                      <a:pt x="113" y="135"/>
                      <a:pt x="113" y="135"/>
                    </a:cubicBezTo>
                    <a:cubicBezTo>
                      <a:pt x="114" y="135"/>
                      <a:pt x="114" y="135"/>
                      <a:pt x="114" y="135"/>
                    </a:cubicBezTo>
                    <a:cubicBezTo>
                      <a:pt x="113" y="135"/>
                      <a:pt x="113" y="135"/>
                      <a:pt x="113" y="135"/>
                    </a:cubicBezTo>
                    <a:lnTo>
                      <a:pt x="113" y="136"/>
                    </a:lnTo>
                    <a:close/>
                    <a:moveTo>
                      <a:pt x="115" y="263"/>
                    </a:moveTo>
                    <a:cubicBezTo>
                      <a:pt x="114" y="263"/>
                      <a:pt x="114" y="263"/>
                      <a:pt x="114" y="263"/>
                    </a:cubicBezTo>
                    <a:cubicBezTo>
                      <a:pt x="113" y="263"/>
                      <a:pt x="113" y="263"/>
                      <a:pt x="113" y="263"/>
                    </a:cubicBezTo>
                    <a:cubicBezTo>
                      <a:pt x="114" y="263"/>
                      <a:pt x="114" y="263"/>
                      <a:pt x="114" y="263"/>
                    </a:cubicBezTo>
                    <a:cubicBezTo>
                      <a:pt x="115" y="263"/>
                      <a:pt x="115" y="263"/>
                      <a:pt x="115" y="263"/>
                    </a:cubicBezTo>
                    <a:cubicBezTo>
                      <a:pt x="116" y="263"/>
                      <a:pt x="116" y="263"/>
                      <a:pt x="116" y="263"/>
                    </a:cubicBezTo>
                    <a:lnTo>
                      <a:pt x="115" y="263"/>
                    </a:lnTo>
                    <a:close/>
                    <a:moveTo>
                      <a:pt x="117" y="218"/>
                    </a:moveTo>
                    <a:cubicBezTo>
                      <a:pt x="116" y="217"/>
                      <a:pt x="116" y="217"/>
                      <a:pt x="116" y="217"/>
                    </a:cubicBezTo>
                    <a:cubicBezTo>
                      <a:pt x="116" y="217"/>
                      <a:pt x="116" y="217"/>
                      <a:pt x="116" y="217"/>
                    </a:cubicBezTo>
                    <a:cubicBezTo>
                      <a:pt x="117" y="218"/>
                      <a:pt x="117" y="218"/>
                      <a:pt x="117" y="218"/>
                    </a:cubicBezTo>
                    <a:cubicBezTo>
                      <a:pt x="118" y="219"/>
                      <a:pt x="118" y="219"/>
                      <a:pt x="118" y="219"/>
                    </a:cubicBezTo>
                    <a:lnTo>
                      <a:pt x="117" y="218"/>
                    </a:lnTo>
                    <a:close/>
                    <a:moveTo>
                      <a:pt x="117" y="180"/>
                    </a:moveTo>
                    <a:cubicBezTo>
                      <a:pt x="115" y="180"/>
                      <a:pt x="115" y="180"/>
                      <a:pt x="115" y="180"/>
                    </a:cubicBezTo>
                    <a:cubicBezTo>
                      <a:pt x="115" y="180"/>
                      <a:pt x="115" y="180"/>
                      <a:pt x="115" y="180"/>
                    </a:cubicBezTo>
                    <a:cubicBezTo>
                      <a:pt x="117" y="180"/>
                      <a:pt x="117" y="180"/>
                      <a:pt x="117" y="180"/>
                    </a:cubicBezTo>
                    <a:cubicBezTo>
                      <a:pt x="118" y="180"/>
                      <a:pt x="118" y="180"/>
                      <a:pt x="118" y="180"/>
                    </a:cubicBezTo>
                    <a:cubicBezTo>
                      <a:pt x="118" y="180"/>
                      <a:pt x="118" y="180"/>
                      <a:pt x="118" y="180"/>
                    </a:cubicBezTo>
                    <a:lnTo>
                      <a:pt x="117" y="180"/>
                    </a:lnTo>
                    <a:close/>
                    <a:moveTo>
                      <a:pt x="121" y="261"/>
                    </a:moveTo>
                    <a:cubicBezTo>
                      <a:pt x="118" y="262"/>
                      <a:pt x="118" y="262"/>
                      <a:pt x="118" y="262"/>
                    </a:cubicBezTo>
                    <a:cubicBezTo>
                      <a:pt x="118" y="263"/>
                      <a:pt x="118" y="263"/>
                      <a:pt x="118" y="263"/>
                    </a:cubicBezTo>
                    <a:cubicBezTo>
                      <a:pt x="118" y="263"/>
                      <a:pt x="118" y="263"/>
                      <a:pt x="118" y="263"/>
                    </a:cubicBezTo>
                    <a:cubicBezTo>
                      <a:pt x="118" y="262"/>
                      <a:pt x="118" y="262"/>
                      <a:pt x="118" y="262"/>
                    </a:cubicBezTo>
                    <a:cubicBezTo>
                      <a:pt x="121" y="261"/>
                      <a:pt x="121" y="261"/>
                      <a:pt x="121" y="261"/>
                    </a:cubicBezTo>
                    <a:close/>
                    <a:moveTo>
                      <a:pt x="121" y="246"/>
                    </a:moveTo>
                    <a:cubicBezTo>
                      <a:pt x="121" y="246"/>
                      <a:pt x="121" y="246"/>
                      <a:pt x="121" y="246"/>
                    </a:cubicBezTo>
                    <a:cubicBezTo>
                      <a:pt x="122" y="248"/>
                      <a:pt x="122" y="248"/>
                      <a:pt x="122" y="248"/>
                    </a:cubicBezTo>
                    <a:cubicBezTo>
                      <a:pt x="123" y="250"/>
                      <a:pt x="123" y="250"/>
                      <a:pt x="123" y="250"/>
                    </a:cubicBezTo>
                    <a:cubicBezTo>
                      <a:pt x="122" y="248"/>
                      <a:pt x="122" y="248"/>
                      <a:pt x="122" y="248"/>
                    </a:cubicBezTo>
                    <a:lnTo>
                      <a:pt x="121" y="246"/>
                    </a:lnTo>
                    <a:close/>
                    <a:moveTo>
                      <a:pt x="122" y="252"/>
                    </a:moveTo>
                    <a:cubicBezTo>
                      <a:pt x="122" y="251"/>
                      <a:pt x="123" y="251"/>
                      <a:pt x="123" y="251"/>
                    </a:cubicBezTo>
                    <a:cubicBezTo>
                      <a:pt x="123" y="251"/>
                      <a:pt x="123" y="251"/>
                      <a:pt x="123" y="251"/>
                    </a:cubicBezTo>
                    <a:cubicBezTo>
                      <a:pt x="123" y="251"/>
                      <a:pt x="122" y="251"/>
                      <a:pt x="122" y="252"/>
                    </a:cubicBezTo>
                    <a:close/>
                    <a:moveTo>
                      <a:pt x="125" y="254"/>
                    </a:moveTo>
                    <a:cubicBezTo>
                      <a:pt x="123" y="254"/>
                      <a:pt x="123" y="254"/>
                      <a:pt x="123" y="254"/>
                    </a:cubicBezTo>
                    <a:cubicBezTo>
                      <a:pt x="123" y="254"/>
                      <a:pt x="123" y="254"/>
                      <a:pt x="123" y="253"/>
                    </a:cubicBezTo>
                    <a:cubicBezTo>
                      <a:pt x="123" y="254"/>
                      <a:pt x="123" y="254"/>
                      <a:pt x="123" y="254"/>
                    </a:cubicBezTo>
                    <a:cubicBezTo>
                      <a:pt x="125" y="254"/>
                      <a:pt x="125" y="254"/>
                      <a:pt x="125" y="254"/>
                    </a:cubicBezTo>
                    <a:cubicBezTo>
                      <a:pt x="127" y="252"/>
                      <a:pt x="127" y="252"/>
                      <a:pt x="127" y="252"/>
                    </a:cubicBezTo>
                    <a:cubicBezTo>
                      <a:pt x="127" y="252"/>
                      <a:pt x="127" y="252"/>
                      <a:pt x="127" y="252"/>
                    </a:cubicBezTo>
                    <a:lnTo>
                      <a:pt x="125" y="254"/>
                    </a:lnTo>
                    <a:close/>
                    <a:moveTo>
                      <a:pt x="131" y="248"/>
                    </a:moveTo>
                    <a:cubicBezTo>
                      <a:pt x="130" y="248"/>
                      <a:pt x="129" y="249"/>
                      <a:pt x="129" y="249"/>
                    </a:cubicBezTo>
                    <a:cubicBezTo>
                      <a:pt x="129" y="250"/>
                      <a:pt x="129" y="250"/>
                      <a:pt x="129" y="250"/>
                    </a:cubicBezTo>
                    <a:cubicBezTo>
                      <a:pt x="129" y="249"/>
                      <a:pt x="129" y="249"/>
                      <a:pt x="129" y="249"/>
                    </a:cubicBezTo>
                    <a:cubicBezTo>
                      <a:pt x="129" y="249"/>
                      <a:pt x="130" y="248"/>
                      <a:pt x="131" y="248"/>
                    </a:cubicBezTo>
                    <a:cubicBezTo>
                      <a:pt x="131" y="248"/>
                      <a:pt x="132" y="248"/>
                      <a:pt x="133" y="248"/>
                    </a:cubicBezTo>
                    <a:cubicBezTo>
                      <a:pt x="132" y="248"/>
                      <a:pt x="131" y="248"/>
                      <a:pt x="131" y="248"/>
                    </a:cubicBezTo>
                    <a:close/>
                    <a:moveTo>
                      <a:pt x="132" y="221"/>
                    </a:moveTo>
                    <a:cubicBezTo>
                      <a:pt x="133" y="220"/>
                      <a:pt x="133" y="220"/>
                      <a:pt x="133" y="220"/>
                    </a:cubicBezTo>
                    <a:cubicBezTo>
                      <a:pt x="134" y="220"/>
                      <a:pt x="134" y="220"/>
                      <a:pt x="134" y="220"/>
                    </a:cubicBezTo>
                    <a:cubicBezTo>
                      <a:pt x="133" y="220"/>
                      <a:pt x="133" y="220"/>
                      <a:pt x="133" y="220"/>
                    </a:cubicBezTo>
                    <a:lnTo>
                      <a:pt x="132" y="221"/>
                    </a:lnTo>
                    <a:close/>
                    <a:moveTo>
                      <a:pt x="133" y="71"/>
                    </a:moveTo>
                    <a:cubicBezTo>
                      <a:pt x="133" y="71"/>
                      <a:pt x="133" y="71"/>
                      <a:pt x="133" y="71"/>
                    </a:cubicBezTo>
                    <a:cubicBezTo>
                      <a:pt x="136" y="71"/>
                      <a:pt x="136" y="71"/>
                      <a:pt x="136" y="71"/>
                    </a:cubicBezTo>
                    <a:cubicBezTo>
                      <a:pt x="136" y="71"/>
                      <a:pt x="136" y="71"/>
                      <a:pt x="136" y="71"/>
                    </a:cubicBezTo>
                    <a:lnTo>
                      <a:pt x="133" y="71"/>
                    </a:lnTo>
                    <a:close/>
                    <a:moveTo>
                      <a:pt x="135" y="117"/>
                    </a:moveTo>
                    <a:cubicBezTo>
                      <a:pt x="135" y="117"/>
                      <a:pt x="135" y="117"/>
                      <a:pt x="135" y="117"/>
                    </a:cubicBezTo>
                    <a:cubicBezTo>
                      <a:pt x="135" y="117"/>
                      <a:pt x="135" y="117"/>
                      <a:pt x="135" y="117"/>
                    </a:cubicBezTo>
                    <a:cubicBezTo>
                      <a:pt x="136" y="118"/>
                      <a:pt x="136" y="118"/>
                      <a:pt x="136" y="118"/>
                    </a:cubicBezTo>
                    <a:cubicBezTo>
                      <a:pt x="136" y="118"/>
                      <a:pt x="136" y="118"/>
                      <a:pt x="136" y="118"/>
                    </a:cubicBezTo>
                    <a:lnTo>
                      <a:pt x="135" y="117"/>
                    </a:lnTo>
                    <a:close/>
                    <a:moveTo>
                      <a:pt x="138" y="193"/>
                    </a:moveTo>
                    <a:cubicBezTo>
                      <a:pt x="138" y="193"/>
                      <a:pt x="138" y="193"/>
                      <a:pt x="138" y="193"/>
                    </a:cubicBezTo>
                    <a:cubicBezTo>
                      <a:pt x="136" y="193"/>
                      <a:pt x="136" y="193"/>
                      <a:pt x="136" y="193"/>
                    </a:cubicBezTo>
                    <a:lnTo>
                      <a:pt x="138" y="193"/>
                    </a:lnTo>
                    <a:close/>
                    <a:moveTo>
                      <a:pt x="139" y="246"/>
                    </a:moveTo>
                    <a:cubicBezTo>
                      <a:pt x="138" y="246"/>
                      <a:pt x="139" y="247"/>
                      <a:pt x="139" y="247"/>
                    </a:cubicBezTo>
                    <a:cubicBezTo>
                      <a:pt x="138" y="249"/>
                      <a:pt x="138" y="249"/>
                      <a:pt x="138" y="249"/>
                    </a:cubicBezTo>
                    <a:cubicBezTo>
                      <a:pt x="138" y="249"/>
                      <a:pt x="138" y="249"/>
                      <a:pt x="138" y="249"/>
                    </a:cubicBezTo>
                    <a:cubicBezTo>
                      <a:pt x="139" y="247"/>
                      <a:pt x="139" y="247"/>
                      <a:pt x="139" y="247"/>
                    </a:cubicBezTo>
                    <a:cubicBezTo>
                      <a:pt x="139" y="247"/>
                      <a:pt x="138" y="246"/>
                      <a:pt x="139" y="246"/>
                    </a:cubicBezTo>
                    <a:cubicBezTo>
                      <a:pt x="139" y="246"/>
                      <a:pt x="140" y="246"/>
                      <a:pt x="141" y="246"/>
                    </a:cubicBezTo>
                    <a:cubicBezTo>
                      <a:pt x="140" y="246"/>
                      <a:pt x="139" y="246"/>
                      <a:pt x="139" y="246"/>
                    </a:cubicBezTo>
                    <a:close/>
                    <a:moveTo>
                      <a:pt x="141" y="226"/>
                    </a:moveTo>
                    <a:cubicBezTo>
                      <a:pt x="140" y="224"/>
                      <a:pt x="140" y="224"/>
                      <a:pt x="140" y="224"/>
                    </a:cubicBezTo>
                    <a:cubicBezTo>
                      <a:pt x="140" y="224"/>
                      <a:pt x="140" y="224"/>
                      <a:pt x="140" y="224"/>
                    </a:cubicBezTo>
                    <a:cubicBezTo>
                      <a:pt x="141" y="226"/>
                      <a:pt x="141" y="226"/>
                      <a:pt x="141" y="226"/>
                    </a:cubicBezTo>
                    <a:cubicBezTo>
                      <a:pt x="143" y="227"/>
                      <a:pt x="143" y="227"/>
                      <a:pt x="143" y="227"/>
                    </a:cubicBezTo>
                    <a:lnTo>
                      <a:pt x="141" y="226"/>
                    </a:lnTo>
                    <a:close/>
                    <a:moveTo>
                      <a:pt x="142" y="244"/>
                    </a:moveTo>
                    <a:cubicBezTo>
                      <a:pt x="142" y="244"/>
                      <a:pt x="142" y="244"/>
                      <a:pt x="142" y="244"/>
                    </a:cubicBezTo>
                    <a:cubicBezTo>
                      <a:pt x="142" y="244"/>
                      <a:pt x="142" y="244"/>
                      <a:pt x="142" y="244"/>
                    </a:cubicBezTo>
                    <a:cubicBezTo>
                      <a:pt x="142" y="244"/>
                      <a:pt x="142" y="244"/>
                      <a:pt x="142" y="244"/>
                    </a:cubicBezTo>
                    <a:cubicBezTo>
                      <a:pt x="142" y="244"/>
                      <a:pt x="142" y="244"/>
                      <a:pt x="142" y="244"/>
                    </a:cubicBezTo>
                    <a:cubicBezTo>
                      <a:pt x="143" y="242"/>
                      <a:pt x="143" y="242"/>
                      <a:pt x="143" y="242"/>
                    </a:cubicBezTo>
                    <a:cubicBezTo>
                      <a:pt x="144" y="240"/>
                      <a:pt x="144" y="240"/>
                      <a:pt x="144" y="240"/>
                    </a:cubicBezTo>
                    <a:cubicBezTo>
                      <a:pt x="144" y="240"/>
                      <a:pt x="144" y="240"/>
                      <a:pt x="144" y="240"/>
                    </a:cubicBezTo>
                    <a:cubicBezTo>
                      <a:pt x="144" y="240"/>
                      <a:pt x="144" y="240"/>
                      <a:pt x="144" y="240"/>
                    </a:cubicBezTo>
                    <a:cubicBezTo>
                      <a:pt x="143" y="242"/>
                      <a:pt x="143" y="242"/>
                      <a:pt x="143" y="242"/>
                    </a:cubicBezTo>
                    <a:lnTo>
                      <a:pt x="142" y="244"/>
                    </a:lnTo>
                    <a:close/>
                    <a:moveTo>
                      <a:pt x="150" y="266"/>
                    </a:moveTo>
                    <a:cubicBezTo>
                      <a:pt x="149" y="268"/>
                      <a:pt x="149" y="268"/>
                      <a:pt x="149" y="268"/>
                    </a:cubicBezTo>
                    <a:cubicBezTo>
                      <a:pt x="147" y="269"/>
                      <a:pt x="147" y="269"/>
                      <a:pt x="147" y="269"/>
                    </a:cubicBezTo>
                    <a:cubicBezTo>
                      <a:pt x="147" y="270"/>
                      <a:pt x="147" y="270"/>
                      <a:pt x="147" y="270"/>
                    </a:cubicBezTo>
                    <a:cubicBezTo>
                      <a:pt x="146" y="269"/>
                      <a:pt x="146" y="269"/>
                      <a:pt x="146" y="269"/>
                    </a:cubicBezTo>
                    <a:cubicBezTo>
                      <a:pt x="144" y="268"/>
                      <a:pt x="144" y="268"/>
                      <a:pt x="144" y="268"/>
                    </a:cubicBezTo>
                    <a:cubicBezTo>
                      <a:pt x="143" y="267"/>
                      <a:pt x="143" y="267"/>
                      <a:pt x="143" y="267"/>
                    </a:cubicBezTo>
                    <a:cubicBezTo>
                      <a:pt x="144" y="265"/>
                      <a:pt x="144" y="265"/>
                      <a:pt x="144" y="265"/>
                    </a:cubicBezTo>
                    <a:cubicBezTo>
                      <a:pt x="145" y="264"/>
                      <a:pt x="145" y="264"/>
                      <a:pt x="145" y="264"/>
                    </a:cubicBezTo>
                    <a:cubicBezTo>
                      <a:pt x="147" y="262"/>
                      <a:pt x="147" y="262"/>
                      <a:pt x="147" y="262"/>
                    </a:cubicBezTo>
                    <a:cubicBezTo>
                      <a:pt x="148" y="261"/>
                      <a:pt x="148" y="261"/>
                      <a:pt x="148" y="261"/>
                    </a:cubicBezTo>
                    <a:cubicBezTo>
                      <a:pt x="149" y="263"/>
                      <a:pt x="149" y="263"/>
                      <a:pt x="149" y="263"/>
                    </a:cubicBezTo>
                    <a:cubicBezTo>
                      <a:pt x="150" y="264"/>
                      <a:pt x="150" y="264"/>
                      <a:pt x="150" y="264"/>
                    </a:cubicBezTo>
                    <a:cubicBezTo>
                      <a:pt x="150" y="265"/>
                      <a:pt x="150" y="265"/>
                      <a:pt x="150" y="265"/>
                    </a:cubicBezTo>
                    <a:lnTo>
                      <a:pt x="150" y="266"/>
                    </a:lnTo>
                    <a:close/>
                    <a:moveTo>
                      <a:pt x="151" y="235"/>
                    </a:moveTo>
                    <a:cubicBezTo>
                      <a:pt x="150" y="235"/>
                      <a:pt x="150" y="236"/>
                      <a:pt x="150" y="236"/>
                    </a:cubicBezTo>
                    <a:cubicBezTo>
                      <a:pt x="150" y="236"/>
                      <a:pt x="150" y="236"/>
                      <a:pt x="150" y="236"/>
                    </a:cubicBezTo>
                    <a:cubicBezTo>
                      <a:pt x="150" y="236"/>
                      <a:pt x="150" y="235"/>
                      <a:pt x="151" y="235"/>
                    </a:cubicBezTo>
                    <a:cubicBezTo>
                      <a:pt x="151" y="235"/>
                      <a:pt x="153" y="236"/>
                      <a:pt x="153" y="236"/>
                    </a:cubicBezTo>
                    <a:cubicBezTo>
                      <a:pt x="153" y="236"/>
                      <a:pt x="153" y="236"/>
                      <a:pt x="153" y="236"/>
                    </a:cubicBezTo>
                    <a:cubicBezTo>
                      <a:pt x="153" y="236"/>
                      <a:pt x="151" y="235"/>
                      <a:pt x="151" y="235"/>
                    </a:cubicBezTo>
                    <a:close/>
                    <a:moveTo>
                      <a:pt x="152" y="236"/>
                    </a:moveTo>
                    <a:cubicBezTo>
                      <a:pt x="153" y="235"/>
                      <a:pt x="153" y="235"/>
                      <a:pt x="153" y="236"/>
                    </a:cubicBezTo>
                    <a:cubicBezTo>
                      <a:pt x="153" y="235"/>
                      <a:pt x="153" y="235"/>
                      <a:pt x="152" y="236"/>
                    </a:cubicBezTo>
                    <a:close/>
                    <a:moveTo>
                      <a:pt x="154" y="211"/>
                    </a:moveTo>
                    <a:cubicBezTo>
                      <a:pt x="154" y="210"/>
                      <a:pt x="154" y="210"/>
                      <a:pt x="154" y="210"/>
                    </a:cubicBezTo>
                    <a:cubicBezTo>
                      <a:pt x="152" y="210"/>
                      <a:pt x="152" y="210"/>
                      <a:pt x="152" y="210"/>
                    </a:cubicBezTo>
                    <a:cubicBezTo>
                      <a:pt x="149" y="211"/>
                      <a:pt x="149" y="211"/>
                      <a:pt x="149" y="211"/>
                    </a:cubicBezTo>
                    <a:cubicBezTo>
                      <a:pt x="149" y="211"/>
                      <a:pt x="149" y="211"/>
                      <a:pt x="149" y="211"/>
                    </a:cubicBezTo>
                    <a:cubicBezTo>
                      <a:pt x="149" y="211"/>
                      <a:pt x="149" y="211"/>
                      <a:pt x="149" y="211"/>
                    </a:cubicBezTo>
                    <a:cubicBezTo>
                      <a:pt x="152" y="210"/>
                      <a:pt x="152" y="210"/>
                      <a:pt x="152" y="210"/>
                    </a:cubicBezTo>
                    <a:cubicBezTo>
                      <a:pt x="154" y="210"/>
                      <a:pt x="154" y="210"/>
                      <a:pt x="154" y="210"/>
                    </a:cubicBezTo>
                    <a:cubicBezTo>
                      <a:pt x="153" y="207"/>
                      <a:pt x="153" y="207"/>
                      <a:pt x="153" y="207"/>
                    </a:cubicBezTo>
                    <a:cubicBezTo>
                      <a:pt x="154" y="211"/>
                      <a:pt x="154" y="211"/>
                      <a:pt x="154" y="211"/>
                    </a:cubicBezTo>
                    <a:close/>
                    <a:moveTo>
                      <a:pt x="151" y="181"/>
                    </a:moveTo>
                    <a:cubicBezTo>
                      <a:pt x="154" y="180"/>
                      <a:pt x="154" y="180"/>
                      <a:pt x="154" y="180"/>
                    </a:cubicBezTo>
                    <a:cubicBezTo>
                      <a:pt x="154" y="180"/>
                      <a:pt x="154" y="180"/>
                      <a:pt x="154" y="180"/>
                    </a:cubicBezTo>
                    <a:cubicBezTo>
                      <a:pt x="154" y="180"/>
                      <a:pt x="154" y="180"/>
                      <a:pt x="154" y="180"/>
                    </a:cubicBezTo>
                    <a:lnTo>
                      <a:pt x="151" y="181"/>
                    </a:lnTo>
                    <a:close/>
                    <a:moveTo>
                      <a:pt x="156" y="211"/>
                    </a:moveTo>
                    <a:cubicBezTo>
                      <a:pt x="154" y="211"/>
                      <a:pt x="154" y="211"/>
                      <a:pt x="154" y="211"/>
                    </a:cubicBezTo>
                    <a:cubicBezTo>
                      <a:pt x="156" y="211"/>
                      <a:pt x="156" y="211"/>
                      <a:pt x="156" y="211"/>
                    </a:cubicBezTo>
                    <a:cubicBezTo>
                      <a:pt x="156" y="212"/>
                      <a:pt x="156" y="212"/>
                      <a:pt x="156" y="212"/>
                    </a:cubicBezTo>
                    <a:lnTo>
                      <a:pt x="156" y="211"/>
                    </a:lnTo>
                    <a:close/>
                    <a:moveTo>
                      <a:pt x="156" y="212"/>
                    </a:moveTo>
                    <a:cubicBezTo>
                      <a:pt x="157" y="211"/>
                      <a:pt x="157" y="211"/>
                      <a:pt x="157" y="211"/>
                    </a:cubicBezTo>
                    <a:cubicBezTo>
                      <a:pt x="158" y="212"/>
                      <a:pt x="158" y="212"/>
                      <a:pt x="158" y="212"/>
                    </a:cubicBezTo>
                    <a:cubicBezTo>
                      <a:pt x="159" y="213"/>
                      <a:pt x="159" y="213"/>
                      <a:pt x="159" y="213"/>
                    </a:cubicBezTo>
                    <a:cubicBezTo>
                      <a:pt x="158" y="212"/>
                      <a:pt x="158" y="212"/>
                      <a:pt x="158" y="212"/>
                    </a:cubicBezTo>
                    <a:cubicBezTo>
                      <a:pt x="157" y="212"/>
                      <a:pt x="157" y="212"/>
                      <a:pt x="157" y="212"/>
                    </a:cubicBezTo>
                    <a:lnTo>
                      <a:pt x="156" y="212"/>
                    </a:lnTo>
                    <a:close/>
                    <a:moveTo>
                      <a:pt x="156" y="182"/>
                    </a:moveTo>
                    <a:cubicBezTo>
                      <a:pt x="157" y="183"/>
                      <a:pt x="157" y="183"/>
                      <a:pt x="157" y="183"/>
                    </a:cubicBezTo>
                    <a:cubicBezTo>
                      <a:pt x="158" y="183"/>
                      <a:pt x="158" y="183"/>
                      <a:pt x="158" y="183"/>
                    </a:cubicBezTo>
                    <a:cubicBezTo>
                      <a:pt x="157" y="183"/>
                      <a:pt x="157" y="183"/>
                      <a:pt x="157" y="183"/>
                    </a:cubicBezTo>
                    <a:lnTo>
                      <a:pt x="156" y="182"/>
                    </a:lnTo>
                    <a:close/>
                    <a:moveTo>
                      <a:pt x="158" y="248"/>
                    </a:moveTo>
                    <a:cubicBezTo>
                      <a:pt x="158" y="248"/>
                      <a:pt x="158" y="248"/>
                      <a:pt x="158" y="248"/>
                    </a:cubicBezTo>
                    <a:cubicBezTo>
                      <a:pt x="158" y="248"/>
                      <a:pt x="158" y="248"/>
                      <a:pt x="158" y="248"/>
                    </a:cubicBezTo>
                    <a:cubicBezTo>
                      <a:pt x="158" y="248"/>
                      <a:pt x="158" y="248"/>
                      <a:pt x="158" y="248"/>
                    </a:cubicBezTo>
                    <a:close/>
                    <a:moveTo>
                      <a:pt x="159" y="234"/>
                    </a:moveTo>
                    <a:cubicBezTo>
                      <a:pt x="157" y="236"/>
                      <a:pt x="157" y="236"/>
                      <a:pt x="157" y="236"/>
                    </a:cubicBezTo>
                    <a:cubicBezTo>
                      <a:pt x="159" y="234"/>
                      <a:pt x="159" y="234"/>
                      <a:pt x="159" y="234"/>
                    </a:cubicBezTo>
                    <a:cubicBezTo>
                      <a:pt x="160" y="233"/>
                      <a:pt x="160" y="233"/>
                      <a:pt x="160" y="233"/>
                    </a:cubicBezTo>
                    <a:lnTo>
                      <a:pt x="159" y="234"/>
                    </a:lnTo>
                    <a:close/>
                    <a:moveTo>
                      <a:pt x="162" y="216"/>
                    </a:moveTo>
                    <a:cubicBezTo>
                      <a:pt x="162" y="215"/>
                      <a:pt x="162" y="215"/>
                      <a:pt x="162" y="215"/>
                    </a:cubicBezTo>
                    <a:cubicBezTo>
                      <a:pt x="162" y="215"/>
                      <a:pt x="162" y="215"/>
                      <a:pt x="162" y="215"/>
                    </a:cubicBezTo>
                    <a:cubicBezTo>
                      <a:pt x="162" y="215"/>
                      <a:pt x="162" y="215"/>
                      <a:pt x="162" y="215"/>
                    </a:cubicBezTo>
                    <a:lnTo>
                      <a:pt x="162" y="216"/>
                    </a:lnTo>
                    <a:close/>
                    <a:moveTo>
                      <a:pt x="162" y="218"/>
                    </a:moveTo>
                    <a:cubicBezTo>
                      <a:pt x="162" y="218"/>
                      <a:pt x="162" y="218"/>
                      <a:pt x="162" y="218"/>
                    </a:cubicBezTo>
                    <a:cubicBezTo>
                      <a:pt x="162" y="218"/>
                      <a:pt x="162" y="218"/>
                      <a:pt x="162" y="218"/>
                    </a:cubicBezTo>
                    <a:close/>
                    <a:moveTo>
                      <a:pt x="161" y="214"/>
                    </a:moveTo>
                    <a:cubicBezTo>
                      <a:pt x="160" y="213"/>
                      <a:pt x="160" y="213"/>
                      <a:pt x="160" y="213"/>
                    </a:cubicBezTo>
                    <a:cubicBezTo>
                      <a:pt x="161" y="214"/>
                      <a:pt x="161" y="214"/>
                      <a:pt x="161" y="214"/>
                    </a:cubicBezTo>
                    <a:cubicBezTo>
                      <a:pt x="162" y="215"/>
                      <a:pt x="162" y="215"/>
                      <a:pt x="162" y="215"/>
                    </a:cubicBezTo>
                    <a:lnTo>
                      <a:pt x="161" y="214"/>
                    </a:lnTo>
                    <a:close/>
                    <a:moveTo>
                      <a:pt x="161" y="223"/>
                    </a:moveTo>
                    <a:cubicBezTo>
                      <a:pt x="161" y="223"/>
                      <a:pt x="161" y="223"/>
                      <a:pt x="161" y="223"/>
                    </a:cubicBezTo>
                    <a:cubicBezTo>
                      <a:pt x="161" y="223"/>
                      <a:pt x="161" y="223"/>
                      <a:pt x="161" y="223"/>
                    </a:cubicBezTo>
                    <a:close/>
                    <a:moveTo>
                      <a:pt x="161" y="227"/>
                    </a:moveTo>
                    <a:cubicBezTo>
                      <a:pt x="161" y="229"/>
                      <a:pt x="161" y="229"/>
                      <a:pt x="161" y="229"/>
                    </a:cubicBezTo>
                    <a:cubicBezTo>
                      <a:pt x="161" y="230"/>
                      <a:pt x="161" y="230"/>
                      <a:pt x="161" y="230"/>
                    </a:cubicBezTo>
                    <a:cubicBezTo>
                      <a:pt x="161" y="229"/>
                      <a:pt x="161" y="229"/>
                      <a:pt x="161" y="229"/>
                    </a:cubicBezTo>
                    <a:cubicBezTo>
                      <a:pt x="161" y="227"/>
                      <a:pt x="161" y="227"/>
                      <a:pt x="161" y="227"/>
                    </a:cubicBezTo>
                    <a:cubicBezTo>
                      <a:pt x="161" y="227"/>
                      <a:pt x="161" y="227"/>
                      <a:pt x="162" y="227"/>
                    </a:cubicBezTo>
                    <a:cubicBezTo>
                      <a:pt x="161" y="227"/>
                      <a:pt x="161" y="227"/>
                      <a:pt x="161" y="227"/>
                    </a:cubicBezTo>
                    <a:close/>
                    <a:moveTo>
                      <a:pt x="161" y="225"/>
                    </a:moveTo>
                    <a:cubicBezTo>
                      <a:pt x="161" y="224"/>
                      <a:pt x="161" y="224"/>
                      <a:pt x="161" y="224"/>
                    </a:cubicBezTo>
                    <a:cubicBezTo>
                      <a:pt x="161" y="225"/>
                      <a:pt x="161" y="225"/>
                      <a:pt x="161" y="225"/>
                    </a:cubicBezTo>
                    <a:cubicBezTo>
                      <a:pt x="161" y="225"/>
                      <a:pt x="162" y="225"/>
                      <a:pt x="162" y="226"/>
                    </a:cubicBezTo>
                    <a:cubicBezTo>
                      <a:pt x="162" y="225"/>
                      <a:pt x="161" y="225"/>
                      <a:pt x="161" y="225"/>
                    </a:cubicBezTo>
                    <a:close/>
                    <a:moveTo>
                      <a:pt x="162" y="217"/>
                    </a:moveTo>
                    <a:cubicBezTo>
                      <a:pt x="162" y="217"/>
                      <a:pt x="162" y="217"/>
                      <a:pt x="162" y="217"/>
                    </a:cubicBezTo>
                    <a:cubicBezTo>
                      <a:pt x="162" y="217"/>
                      <a:pt x="162" y="217"/>
                      <a:pt x="162" y="217"/>
                    </a:cubicBezTo>
                    <a:cubicBezTo>
                      <a:pt x="162" y="217"/>
                      <a:pt x="162" y="217"/>
                      <a:pt x="162" y="217"/>
                    </a:cubicBezTo>
                    <a:close/>
                    <a:moveTo>
                      <a:pt x="162" y="204"/>
                    </a:moveTo>
                    <a:cubicBezTo>
                      <a:pt x="158" y="205"/>
                      <a:pt x="158" y="205"/>
                      <a:pt x="158" y="205"/>
                    </a:cubicBezTo>
                    <a:cubicBezTo>
                      <a:pt x="162" y="204"/>
                      <a:pt x="162" y="204"/>
                      <a:pt x="162" y="204"/>
                    </a:cubicBezTo>
                    <a:cubicBezTo>
                      <a:pt x="162" y="203"/>
                      <a:pt x="162" y="203"/>
                      <a:pt x="162" y="203"/>
                    </a:cubicBezTo>
                    <a:cubicBezTo>
                      <a:pt x="162" y="203"/>
                      <a:pt x="162" y="203"/>
                      <a:pt x="162" y="203"/>
                    </a:cubicBezTo>
                    <a:cubicBezTo>
                      <a:pt x="164" y="205"/>
                      <a:pt x="164" y="205"/>
                      <a:pt x="164" y="205"/>
                    </a:cubicBezTo>
                    <a:lnTo>
                      <a:pt x="162" y="204"/>
                    </a:lnTo>
                    <a:close/>
                    <a:moveTo>
                      <a:pt x="163" y="193"/>
                    </a:moveTo>
                    <a:cubicBezTo>
                      <a:pt x="163" y="193"/>
                      <a:pt x="163" y="193"/>
                      <a:pt x="163" y="193"/>
                    </a:cubicBezTo>
                    <a:cubicBezTo>
                      <a:pt x="163" y="192"/>
                      <a:pt x="163" y="192"/>
                      <a:pt x="163" y="192"/>
                    </a:cubicBezTo>
                    <a:lnTo>
                      <a:pt x="163" y="193"/>
                    </a:lnTo>
                    <a:close/>
                    <a:moveTo>
                      <a:pt x="163" y="195"/>
                    </a:moveTo>
                    <a:cubicBezTo>
                      <a:pt x="163" y="195"/>
                      <a:pt x="163" y="195"/>
                      <a:pt x="163" y="195"/>
                    </a:cubicBezTo>
                    <a:cubicBezTo>
                      <a:pt x="163" y="194"/>
                      <a:pt x="163" y="194"/>
                      <a:pt x="163" y="194"/>
                    </a:cubicBezTo>
                    <a:lnTo>
                      <a:pt x="163" y="195"/>
                    </a:lnTo>
                    <a:close/>
                    <a:moveTo>
                      <a:pt x="163" y="197"/>
                    </a:moveTo>
                    <a:cubicBezTo>
                      <a:pt x="162" y="198"/>
                      <a:pt x="162" y="198"/>
                      <a:pt x="162" y="198"/>
                    </a:cubicBezTo>
                    <a:cubicBezTo>
                      <a:pt x="162" y="199"/>
                      <a:pt x="162" y="199"/>
                      <a:pt x="162" y="199"/>
                    </a:cubicBezTo>
                    <a:cubicBezTo>
                      <a:pt x="162" y="198"/>
                      <a:pt x="162" y="198"/>
                      <a:pt x="162" y="198"/>
                    </a:cubicBezTo>
                    <a:lnTo>
                      <a:pt x="163" y="197"/>
                    </a:lnTo>
                    <a:close/>
                    <a:moveTo>
                      <a:pt x="163" y="196"/>
                    </a:moveTo>
                    <a:cubicBezTo>
                      <a:pt x="163" y="196"/>
                      <a:pt x="163" y="196"/>
                      <a:pt x="163" y="196"/>
                    </a:cubicBezTo>
                    <a:cubicBezTo>
                      <a:pt x="163" y="197"/>
                      <a:pt x="163" y="197"/>
                      <a:pt x="163" y="197"/>
                    </a:cubicBezTo>
                    <a:cubicBezTo>
                      <a:pt x="163" y="197"/>
                      <a:pt x="163" y="197"/>
                      <a:pt x="163" y="197"/>
                    </a:cubicBezTo>
                    <a:lnTo>
                      <a:pt x="163" y="196"/>
                    </a:lnTo>
                    <a:close/>
                    <a:moveTo>
                      <a:pt x="163" y="192"/>
                    </a:moveTo>
                    <a:cubicBezTo>
                      <a:pt x="162" y="190"/>
                      <a:pt x="162" y="190"/>
                      <a:pt x="162" y="190"/>
                    </a:cubicBezTo>
                    <a:cubicBezTo>
                      <a:pt x="162" y="190"/>
                      <a:pt x="162" y="190"/>
                      <a:pt x="162" y="190"/>
                    </a:cubicBezTo>
                    <a:cubicBezTo>
                      <a:pt x="163" y="192"/>
                      <a:pt x="163" y="192"/>
                      <a:pt x="163" y="192"/>
                    </a:cubicBezTo>
                    <a:close/>
                    <a:moveTo>
                      <a:pt x="163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161" y="185"/>
                      <a:pt x="161" y="185"/>
                      <a:pt x="161" y="185"/>
                    </a:cubicBezTo>
                    <a:cubicBezTo>
                      <a:pt x="161" y="185"/>
                      <a:pt x="161" y="185"/>
                      <a:pt x="161" y="185"/>
                    </a:cubicBezTo>
                    <a:cubicBezTo>
                      <a:pt x="161" y="185"/>
                      <a:pt x="161" y="185"/>
                      <a:pt x="161" y="185"/>
                    </a:cubicBezTo>
                    <a:cubicBezTo>
                      <a:pt x="162" y="186"/>
                      <a:pt x="162" y="186"/>
                      <a:pt x="162" y="186"/>
                    </a:cubicBezTo>
                    <a:cubicBezTo>
                      <a:pt x="164" y="186"/>
                      <a:pt x="164" y="186"/>
                      <a:pt x="164" y="186"/>
                    </a:cubicBezTo>
                    <a:cubicBezTo>
                      <a:pt x="164" y="186"/>
                      <a:pt x="164" y="186"/>
                      <a:pt x="164" y="186"/>
                    </a:cubicBezTo>
                    <a:cubicBezTo>
                      <a:pt x="162" y="186"/>
                      <a:pt x="162" y="186"/>
                      <a:pt x="162" y="186"/>
                    </a:cubicBezTo>
                    <a:cubicBezTo>
                      <a:pt x="161" y="185"/>
                      <a:pt x="161" y="185"/>
                      <a:pt x="161" y="185"/>
                    </a:cubicBezTo>
                    <a:lnTo>
                      <a:pt x="163" y="188"/>
                    </a:lnTo>
                    <a:close/>
                    <a:moveTo>
                      <a:pt x="165" y="153"/>
                    </a:moveTo>
                    <a:cubicBezTo>
                      <a:pt x="165" y="153"/>
                      <a:pt x="165" y="153"/>
                      <a:pt x="165" y="153"/>
                    </a:cubicBezTo>
                    <a:cubicBezTo>
                      <a:pt x="154" y="153"/>
                      <a:pt x="154" y="153"/>
                      <a:pt x="154" y="153"/>
                    </a:cubicBezTo>
                    <a:cubicBezTo>
                      <a:pt x="154" y="153"/>
                      <a:pt x="154" y="153"/>
                      <a:pt x="154" y="153"/>
                    </a:cubicBezTo>
                    <a:cubicBezTo>
                      <a:pt x="165" y="153"/>
                      <a:pt x="165" y="153"/>
                      <a:pt x="165" y="153"/>
                    </a:cubicBezTo>
                    <a:cubicBezTo>
                      <a:pt x="165" y="151"/>
                      <a:pt x="165" y="151"/>
                      <a:pt x="165" y="151"/>
                    </a:cubicBezTo>
                    <a:lnTo>
                      <a:pt x="165" y="153"/>
                    </a:lnTo>
                    <a:close/>
                    <a:moveTo>
                      <a:pt x="165" y="205"/>
                    </a:moveTo>
                    <a:cubicBezTo>
                      <a:pt x="165" y="205"/>
                      <a:pt x="165" y="205"/>
                      <a:pt x="165" y="205"/>
                    </a:cubicBezTo>
                    <a:cubicBezTo>
                      <a:pt x="165" y="205"/>
                      <a:pt x="165" y="205"/>
                      <a:pt x="165" y="205"/>
                    </a:cubicBezTo>
                    <a:cubicBezTo>
                      <a:pt x="165" y="205"/>
                      <a:pt x="165" y="205"/>
                      <a:pt x="165" y="205"/>
                    </a:cubicBezTo>
                    <a:close/>
                    <a:moveTo>
                      <a:pt x="165" y="134"/>
                    </a:moveTo>
                    <a:cubicBezTo>
                      <a:pt x="166" y="133"/>
                      <a:pt x="166" y="133"/>
                      <a:pt x="166" y="133"/>
                    </a:cubicBezTo>
                    <a:cubicBezTo>
                      <a:pt x="166" y="133"/>
                      <a:pt x="166" y="133"/>
                      <a:pt x="166" y="133"/>
                    </a:cubicBezTo>
                    <a:cubicBezTo>
                      <a:pt x="166" y="133"/>
                      <a:pt x="166" y="133"/>
                      <a:pt x="166" y="133"/>
                    </a:cubicBezTo>
                    <a:lnTo>
                      <a:pt x="165" y="134"/>
                    </a:lnTo>
                    <a:close/>
                    <a:moveTo>
                      <a:pt x="166" y="136"/>
                    </a:moveTo>
                    <a:cubicBezTo>
                      <a:pt x="166" y="136"/>
                      <a:pt x="167" y="138"/>
                      <a:pt x="167" y="138"/>
                    </a:cubicBezTo>
                    <a:cubicBezTo>
                      <a:pt x="167" y="138"/>
                      <a:pt x="167" y="139"/>
                      <a:pt x="167" y="140"/>
                    </a:cubicBezTo>
                    <a:cubicBezTo>
                      <a:pt x="167" y="139"/>
                      <a:pt x="167" y="138"/>
                      <a:pt x="167" y="138"/>
                    </a:cubicBezTo>
                    <a:cubicBezTo>
                      <a:pt x="167" y="138"/>
                      <a:pt x="166" y="136"/>
                      <a:pt x="166" y="136"/>
                    </a:cubicBezTo>
                    <a:cubicBezTo>
                      <a:pt x="166" y="136"/>
                      <a:pt x="166" y="135"/>
                      <a:pt x="166" y="134"/>
                    </a:cubicBezTo>
                    <a:cubicBezTo>
                      <a:pt x="166" y="135"/>
                      <a:pt x="166" y="136"/>
                      <a:pt x="166" y="136"/>
                    </a:cubicBezTo>
                    <a:close/>
                    <a:moveTo>
                      <a:pt x="166" y="211"/>
                    </a:moveTo>
                    <a:cubicBezTo>
                      <a:pt x="166" y="211"/>
                      <a:pt x="166" y="211"/>
                      <a:pt x="166" y="211"/>
                    </a:cubicBezTo>
                    <a:cubicBezTo>
                      <a:pt x="166" y="211"/>
                      <a:pt x="166" y="211"/>
                      <a:pt x="166" y="211"/>
                    </a:cubicBezTo>
                    <a:cubicBezTo>
                      <a:pt x="166" y="211"/>
                      <a:pt x="166" y="211"/>
                      <a:pt x="166" y="211"/>
                    </a:cubicBezTo>
                    <a:close/>
                    <a:moveTo>
                      <a:pt x="169" y="214"/>
                    </a:moveTo>
                    <a:cubicBezTo>
                      <a:pt x="169" y="214"/>
                      <a:pt x="169" y="214"/>
                      <a:pt x="169" y="214"/>
                    </a:cubicBezTo>
                    <a:cubicBezTo>
                      <a:pt x="169" y="213"/>
                      <a:pt x="169" y="213"/>
                      <a:pt x="169" y="213"/>
                    </a:cubicBezTo>
                    <a:lnTo>
                      <a:pt x="169" y="214"/>
                    </a:lnTo>
                    <a:close/>
                    <a:moveTo>
                      <a:pt x="169" y="203"/>
                    </a:moveTo>
                    <a:cubicBezTo>
                      <a:pt x="168" y="202"/>
                      <a:pt x="168" y="202"/>
                      <a:pt x="168" y="202"/>
                    </a:cubicBezTo>
                    <a:cubicBezTo>
                      <a:pt x="167" y="201"/>
                      <a:pt x="167" y="201"/>
                      <a:pt x="167" y="201"/>
                    </a:cubicBezTo>
                    <a:cubicBezTo>
                      <a:pt x="166" y="200"/>
                      <a:pt x="166" y="200"/>
                      <a:pt x="166" y="200"/>
                    </a:cubicBezTo>
                    <a:cubicBezTo>
                      <a:pt x="166" y="200"/>
                      <a:pt x="167" y="199"/>
                      <a:pt x="168" y="199"/>
                    </a:cubicBezTo>
                    <a:cubicBezTo>
                      <a:pt x="168" y="199"/>
                      <a:pt x="168" y="198"/>
                      <a:pt x="168" y="198"/>
                    </a:cubicBezTo>
                    <a:cubicBezTo>
                      <a:pt x="168" y="198"/>
                      <a:pt x="168" y="199"/>
                      <a:pt x="168" y="199"/>
                    </a:cubicBezTo>
                    <a:cubicBezTo>
                      <a:pt x="167" y="199"/>
                      <a:pt x="166" y="200"/>
                      <a:pt x="166" y="200"/>
                    </a:cubicBezTo>
                    <a:cubicBezTo>
                      <a:pt x="167" y="201"/>
                      <a:pt x="167" y="201"/>
                      <a:pt x="167" y="201"/>
                    </a:cubicBezTo>
                    <a:cubicBezTo>
                      <a:pt x="168" y="202"/>
                      <a:pt x="168" y="202"/>
                      <a:pt x="168" y="202"/>
                    </a:cubicBezTo>
                    <a:cubicBezTo>
                      <a:pt x="169" y="203"/>
                      <a:pt x="169" y="203"/>
                      <a:pt x="169" y="203"/>
                    </a:cubicBezTo>
                    <a:cubicBezTo>
                      <a:pt x="170" y="205"/>
                      <a:pt x="170" y="205"/>
                      <a:pt x="170" y="205"/>
                    </a:cubicBezTo>
                    <a:lnTo>
                      <a:pt x="169" y="203"/>
                    </a:lnTo>
                    <a:close/>
                    <a:moveTo>
                      <a:pt x="171" y="194"/>
                    </a:moveTo>
                    <a:cubicBezTo>
                      <a:pt x="169" y="194"/>
                      <a:pt x="169" y="194"/>
                      <a:pt x="169" y="194"/>
                    </a:cubicBezTo>
                    <a:cubicBezTo>
                      <a:pt x="171" y="194"/>
                      <a:pt x="171" y="194"/>
                      <a:pt x="171" y="194"/>
                    </a:cubicBezTo>
                    <a:cubicBezTo>
                      <a:pt x="171" y="193"/>
                      <a:pt x="171" y="193"/>
                      <a:pt x="171" y="193"/>
                    </a:cubicBezTo>
                    <a:cubicBezTo>
                      <a:pt x="171" y="193"/>
                      <a:pt x="171" y="193"/>
                      <a:pt x="171" y="193"/>
                    </a:cubicBezTo>
                    <a:lnTo>
                      <a:pt x="171" y="194"/>
                    </a:lnTo>
                    <a:close/>
                    <a:moveTo>
                      <a:pt x="172" y="194"/>
                    </a:moveTo>
                    <a:cubicBezTo>
                      <a:pt x="172" y="194"/>
                      <a:pt x="172" y="194"/>
                      <a:pt x="172" y="194"/>
                    </a:cubicBezTo>
                    <a:cubicBezTo>
                      <a:pt x="172" y="194"/>
                      <a:pt x="172" y="194"/>
                      <a:pt x="172" y="194"/>
                    </a:cubicBezTo>
                    <a:close/>
                    <a:moveTo>
                      <a:pt x="175" y="195"/>
                    </a:moveTo>
                    <a:cubicBezTo>
                      <a:pt x="175" y="194"/>
                      <a:pt x="175" y="194"/>
                      <a:pt x="175" y="194"/>
                    </a:cubicBezTo>
                    <a:cubicBezTo>
                      <a:pt x="175" y="195"/>
                      <a:pt x="175" y="195"/>
                      <a:pt x="175" y="195"/>
                    </a:cubicBezTo>
                    <a:close/>
                    <a:moveTo>
                      <a:pt x="170" y="156"/>
                    </a:moveTo>
                    <a:cubicBezTo>
                      <a:pt x="169" y="156"/>
                      <a:pt x="169" y="156"/>
                      <a:pt x="169" y="156"/>
                    </a:cubicBezTo>
                    <a:cubicBezTo>
                      <a:pt x="169" y="156"/>
                      <a:pt x="169" y="156"/>
                      <a:pt x="170" y="156"/>
                    </a:cubicBezTo>
                    <a:cubicBezTo>
                      <a:pt x="170" y="157"/>
                      <a:pt x="175" y="160"/>
                      <a:pt x="177" y="161"/>
                    </a:cubicBezTo>
                    <a:cubicBezTo>
                      <a:pt x="177" y="162"/>
                      <a:pt x="177" y="162"/>
                      <a:pt x="177" y="162"/>
                    </a:cubicBezTo>
                    <a:cubicBezTo>
                      <a:pt x="177" y="162"/>
                      <a:pt x="177" y="162"/>
                      <a:pt x="177" y="161"/>
                    </a:cubicBezTo>
                    <a:cubicBezTo>
                      <a:pt x="175" y="160"/>
                      <a:pt x="170" y="157"/>
                      <a:pt x="170" y="156"/>
                    </a:cubicBezTo>
                    <a:close/>
                    <a:moveTo>
                      <a:pt x="177" y="194"/>
                    </a:moveTo>
                    <a:cubicBezTo>
                      <a:pt x="177" y="194"/>
                      <a:pt x="177" y="194"/>
                      <a:pt x="177" y="194"/>
                    </a:cubicBezTo>
                    <a:cubicBezTo>
                      <a:pt x="177" y="194"/>
                      <a:pt x="177" y="194"/>
                      <a:pt x="177" y="194"/>
                    </a:cubicBezTo>
                    <a:cubicBezTo>
                      <a:pt x="177" y="194"/>
                      <a:pt x="177" y="193"/>
                      <a:pt x="178" y="193"/>
                    </a:cubicBezTo>
                    <a:cubicBezTo>
                      <a:pt x="178" y="193"/>
                      <a:pt x="178" y="193"/>
                      <a:pt x="178" y="193"/>
                    </a:cubicBezTo>
                    <a:cubicBezTo>
                      <a:pt x="177" y="193"/>
                      <a:pt x="177" y="194"/>
                      <a:pt x="177" y="194"/>
                    </a:cubicBezTo>
                    <a:close/>
                    <a:moveTo>
                      <a:pt x="177" y="163"/>
                    </a:moveTo>
                    <a:cubicBezTo>
                      <a:pt x="177" y="163"/>
                      <a:pt x="177" y="163"/>
                      <a:pt x="177" y="163"/>
                    </a:cubicBezTo>
                    <a:cubicBezTo>
                      <a:pt x="180" y="166"/>
                      <a:pt x="180" y="166"/>
                      <a:pt x="180" y="166"/>
                    </a:cubicBezTo>
                    <a:lnTo>
                      <a:pt x="177" y="163"/>
                    </a:lnTo>
                    <a:close/>
                    <a:moveTo>
                      <a:pt x="179" y="93"/>
                    </a:moveTo>
                    <a:cubicBezTo>
                      <a:pt x="178" y="92"/>
                      <a:pt x="178" y="92"/>
                      <a:pt x="178" y="92"/>
                    </a:cubicBezTo>
                    <a:cubicBezTo>
                      <a:pt x="179" y="93"/>
                      <a:pt x="179" y="93"/>
                      <a:pt x="179" y="93"/>
                    </a:cubicBezTo>
                    <a:cubicBezTo>
                      <a:pt x="181" y="93"/>
                      <a:pt x="181" y="93"/>
                      <a:pt x="181" y="93"/>
                    </a:cubicBezTo>
                    <a:lnTo>
                      <a:pt x="179" y="93"/>
                    </a:lnTo>
                    <a:close/>
                    <a:moveTo>
                      <a:pt x="184" y="134"/>
                    </a:moveTo>
                    <a:cubicBezTo>
                      <a:pt x="183" y="136"/>
                      <a:pt x="183" y="136"/>
                      <a:pt x="183" y="136"/>
                    </a:cubicBezTo>
                    <a:cubicBezTo>
                      <a:pt x="182" y="135"/>
                      <a:pt x="182" y="135"/>
                      <a:pt x="182" y="135"/>
                    </a:cubicBezTo>
                    <a:cubicBezTo>
                      <a:pt x="183" y="135"/>
                      <a:pt x="183" y="135"/>
                      <a:pt x="183" y="135"/>
                    </a:cubicBezTo>
                    <a:cubicBezTo>
                      <a:pt x="184" y="134"/>
                      <a:pt x="184" y="134"/>
                      <a:pt x="184" y="134"/>
                    </a:cubicBezTo>
                    <a:cubicBezTo>
                      <a:pt x="185" y="133"/>
                      <a:pt x="185" y="133"/>
                      <a:pt x="185" y="133"/>
                    </a:cubicBezTo>
                    <a:lnTo>
                      <a:pt x="184" y="134"/>
                    </a:lnTo>
                    <a:close/>
                    <a:moveTo>
                      <a:pt x="194" y="106"/>
                    </a:moveTo>
                    <a:cubicBezTo>
                      <a:pt x="193" y="107"/>
                      <a:pt x="193" y="107"/>
                      <a:pt x="193" y="107"/>
                    </a:cubicBezTo>
                    <a:cubicBezTo>
                      <a:pt x="194" y="112"/>
                      <a:pt x="194" y="112"/>
                      <a:pt x="194" y="112"/>
                    </a:cubicBezTo>
                    <a:cubicBezTo>
                      <a:pt x="197" y="114"/>
                      <a:pt x="197" y="114"/>
                      <a:pt x="197" y="114"/>
                    </a:cubicBezTo>
                    <a:cubicBezTo>
                      <a:pt x="204" y="116"/>
                      <a:pt x="204" y="116"/>
                      <a:pt x="204" y="116"/>
                    </a:cubicBezTo>
                    <a:cubicBezTo>
                      <a:pt x="207" y="118"/>
                      <a:pt x="207" y="118"/>
                      <a:pt x="207" y="118"/>
                    </a:cubicBezTo>
                    <a:cubicBezTo>
                      <a:pt x="207" y="118"/>
                      <a:pt x="207" y="118"/>
                      <a:pt x="207" y="118"/>
                    </a:cubicBezTo>
                    <a:cubicBezTo>
                      <a:pt x="204" y="116"/>
                      <a:pt x="204" y="116"/>
                      <a:pt x="204" y="116"/>
                    </a:cubicBezTo>
                    <a:cubicBezTo>
                      <a:pt x="197" y="114"/>
                      <a:pt x="197" y="114"/>
                      <a:pt x="197" y="114"/>
                    </a:cubicBezTo>
                    <a:cubicBezTo>
                      <a:pt x="194" y="112"/>
                      <a:pt x="194" y="112"/>
                      <a:pt x="194" y="112"/>
                    </a:cubicBezTo>
                    <a:cubicBezTo>
                      <a:pt x="193" y="107"/>
                      <a:pt x="193" y="107"/>
                      <a:pt x="193" y="107"/>
                    </a:cubicBezTo>
                    <a:cubicBezTo>
                      <a:pt x="193" y="107"/>
                      <a:pt x="193" y="107"/>
                      <a:pt x="193" y="107"/>
                    </a:cubicBezTo>
                    <a:cubicBezTo>
                      <a:pt x="193" y="107"/>
                      <a:pt x="193" y="107"/>
                      <a:pt x="193" y="107"/>
                    </a:cubicBezTo>
                    <a:lnTo>
                      <a:pt x="194" y="106"/>
                    </a:lnTo>
                    <a:close/>
                    <a:moveTo>
                      <a:pt x="189" y="97"/>
                    </a:moveTo>
                    <a:cubicBezTo>
                      <a:pt x="190" y="99"/>
                      <a:pt x="190" y="99"/>
                      <a:pt x="190" y="99"/>
                    </a:cubicBezTo>
                    <a:cubicBezTo>
                      <a:pt x="192" y="100"/>
                      <a:pt x="192" y="100"/>
                      <a:pt x="192" y="100"/>
                    </a:cubicBezTo>
                    <a:cubicBezTo>
                      <a:pt x="192" y="100"/>
                      <a:pt x="192" y="100"/>
                      <a:pt x="192" y="100"/>
                    </a:cubicBezTo>
                    <a:cubicBezTo>
                      <a:pt x="190" y="99"/>
                      <a:pt x="190" y="99"/>
                      <a:pt x="190" y="99"/>
                    </a:cubicBezTo>
                    <a:cubicBezTo>
                      <a:pt x="189" y="97"/>
                      <a:pt x="189" y="97"/>
                      <a:pt x="189" y="97"/>
                    </a:cubicBezTo>
                    <a:close/>
                    <a:moveTo>
                      <a:pt x="191" y="106"/>
                    </a:moveTo>
                    <a:cubicBezTo>
                      <a:pt x="190" y="106"/>
                      <a:pt x="190" y="106"/>
                      <a:pt x="190" y="106"/>
                    </a:cubicBezTo>
                    <a:cubicBezTo>
                      <a:pt x="190" y="105"/>
                      <a:pt x="190" y="105"/>
                      <a:pt x="190" y="105"/>
                    </a:cubicBezTo>
                    <a:cubicBezTo>
                      <a:pt x="190" y="104"/>
                      <a:pt x="190" y="104"/>
                      <a:pt x="190" y="104"/>
                    </a:cubicBezTo>
                    <a:cubicBezTo>
                      <a:pt x="191" y="102"/>
                      <a:pt x="191" y="102"/>
                      <a:pt x="191" y="102"/>
                    </a:cubicBezTo>
                    <a:cubicBezTo>
                      <a:pt x="190" y="104"/>
                      <a:pt x="190" y="104"/>
                      <a:pt x="190" y="104"/>
                    </a:cubicBezTo>
                    <a:cubicBezTo>
                      <a:pt x="190" y="105"/>
                      <a:pt x="190" y="105"/>
                      <a:pt x="190" y="105"/>
                    </a:cubicBezTo>
                    <a:cubicBezTo>
                      <a:pt x="190" y="106"/>
                      <a:pt x="190" y="106"/>
                      <a:pt x="190" y="106"/>
                    </a:cubicBezTo>
                    <a:lnTo>
                      <a:pt x="191" y="106"/>
                    </a:lnTo>
                    <a:close/>
                    <a:moveTo>
                      <a:pt x="201" y="130"/>
                    </a:moveTo>
                    <a:cubicBezTo>
                      <a:pt x="196" y="130"/>
                      <a:pt x="196" y="130"/>
                      <a:pt x="196" y="130"/>
                    </a:cubicBezTo>
                    <a:cubicBezTo>
                      <a:pt x="194" y="132"/>
                      <a:pt x="194" y="132"/>
                      <a:pt x="194" y="132"/>
                    </a:cubicBezTo>
                    <a:cubicBezTo>
                      <a:pt x="191" y="133"/>
                      <a:pt x="191" y="133"/>
                      <a:pt x="191" y="133"/>
                    </a:cubicBezTo>
                    <a:cubicBezTo>
                      <a:pt x="190" y="134"/>
                      <a:pt x="190" y="134"/>
                      <a:pt x="190" y="134"/>
                    </a:cubicBezTo>
                    <a:cubicBezTo>
                      <a:pt x="188" y="137"/>
                      <a:pt x="188" y="137"/>
                      <a:pt x="188" y="137"/>
                    </a:cubicBezTo>
                    <a:cubicBezTo>
                      <a:pt x="188" y="152"/>
                      <a:pt x="188" y="152"/>
                      <a:pt x="188" y="152"/>
                    </a:cubicBezTo>
                    <a:cubicBezTo>
                      <a:pt x="189" y="155"/>
                      <a:pt x="189" y="155"/>
                      <a:pt x="189" y="155"/>
                    </a:cubicBezTo>
                    <a:cubicBezTo>
                      <a:pt x="188" y="152"/>
                      <a:pt x="188" y="152"/>
                      <a:pt x="188" y="152"/>
                    </a:cubicBezTo>
                    <a:cubicBezTo>
                      <a:pt x="188" y="137"/>
                      <a:pt x="188" y="137"/>
                      <a:pt x="188" y="137"/>
                    </a:cubicBezTo>
                    <a:cubicBezTo>
                      <a:pt x="190" y="134"/>
                      <a:pt x="190" y="134"/>
                      <a:pt x="190" y="134"/>
                    </a:cubicBezTo>
                    <a:cubicBezTo>
                      <a:pt x="187" y="134"/>
                      <a:pt x="187" y="134"/>
                      <a:pt x="187" y="134"/>
                    </a:cubicBezTo>
                    <a:cubicBezTo>
                      <a:pt x="187" y="132"/>
                      <a:pt x="187" y="132"/>
                      <a:pt x="187" y="132"/>
                    </a:cubicBezTo>
                    <a:cubicBezTo>
                      <a:pt x="187" y="134"/>
                      <a:pt x="187" y="134"/>
                      <a:pt x="187" y="134"/>
                    </a:cubicBezTo>
                    <a:cubicBezTo>
                      <a:pt x="190" y="134"/>
                      <a:pt x="190" y="134"/>
                      <a:pt x="190" y="134"/>
                    </a:cubicBezTo>
                    <a:cubicBezTo>
                      <a:pt x="191" y="133"/>
                      <a:pt x="191" y="133"/>
                      <a:pt x="191" y="133"/>
                    </a:cubicBezTo>
                    <a:cubicBezTo>
                      <a:pt x="194" y="132"/>
                      <a:pt x="194" y="132"/>
                      <a:pt x="194" y="132"/>
                    </a:cubicBezTo>
                    <a:cubicBezTo>
                      <a:pt x="196" y="130"/>
                      <a:pt x="196" y="130"/>
                      <a:pt x="196" y="130"/>
                    </a:cubicBezTo>
                    <a:cubicBezTo>
                      <a:pt x="201" y="130"/>
                      <a:pt x="201" y="130"/>
                      <a:pt x="201" y="130"/>
                    </a:cubicBezTo>
                    <a:cubicBezTo>
                      <a:pt x="210" y="118"/>
                      <a:pt x="210" y="118"/>
                      <a:pt x="210" y="118"/>
                    </a:cubicBezTo>
                    <a:cubicBezTo>
                      <a:pt x="210" y="118"/>
                      <a:pt x="210" y="118"/>
                      <a:pt x="210" y="118"/>
                    </a:cubicBezTo>
                    <a:lnTo>
                      <a:pt x="201" y="13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34" name="Freeform 69">
                <a:extLst>
                  <a:ext uri="{FF2B5EF4-FFF2-40B4-BE49-F238E27FC236}">
                    <a16:creationId xmlns:a16="http://schemas.microsoft.com/office/drawing/2014/main" id="{425D0E2D-379A-4481-AE8C-6E90E58A49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7" y="2684"/>
                <a:ext cx="55" cy="128"/>
              </a:xfrm>
              <a:custGeom>
                <a:avLst/>
                <a:gdLst>
                  <a:gd name="T0" fmla="*/ 21 w 23"/>
                  <a:gd name="T1" fmla="*/ 3 h 54"/>
                  <a:gd name="T2" fmla="*/ 20 w 23"/>
                  <a:gd name="T3" fmla="*/ 0 h 54"/>
                  <a:gd name="T4" fmla="*/ 18 w 23"/>
                  <a:gd name="T5" fmla="*/ 1 h 54"/>
                  <a:gd name="T6" fmla="*/ 18 w 23"/>
                  <a:gd name="T7" fmla="*/ 3 h 54"/>
                  <a:gd name="T8" fmla="*/ 17 w 23"/>
                  <a:gd name="T9" fmla="*/ 5 h 54"/>
                  <a:gd name="T10" fmla="*/ 15 w 23"/>
                  <a:gd name="T11" fmla="*/ 6 h 54"/>
                  <a:gd name="T12" fmla="*/ 15 w 23"/>
                  <a:gd name="T13" fmla="*/ 7 h 54"/>
                  <a:gd name="T14" fmla="*/ 13 w 23"/>
                  <a:gd name="T15" fmla="*/ 9 h 54"/>
                  <a:gd name="T16" fmla="*/ 14 w 23"/>
                  <a:gd name="T17" fmla="*/ 10 h 54"/>
                  <a:gd name="T18" fmla="*/ 12 w 23"/>
                  <a:gd name="T19" fmla="*/ 10 h 54"/>
                  <a:gd name="T20" fmla="*/ 12 w 23"/>
                  <a:gd name="T21" fmla="*/ 12 h 54"/>
                  <a:gd name="T22" fmla="*/ 11 w 23"/>
                  <a:gd name="T23" fmla="*/ 12 h 54"/>
                  <a:gd name="T24" fmla="*/ 10 w 23"/>
                  <a:gd name="T25" fmla="*/ 14 h 54"/>
                  <a:gd name="T26" fmla="*/ 8 w 23"/>
                  <a:gd name="T27" fmla="*/ 15 h 54"/>
                  <a:gd name="T28" fmla="*/ 6 w 23"/>
                  <a:gd name="T29" fmla="*/ 15 h 54"/>
                  <a:gd name="T30" fmla="*/ 4 w 23"/>
                  <a:gd name="T31" fmla="*/ 16 h 54"/>
                  <a:gd name="T32" fmla="*/ 4 w 23"/>
                  <a:gd name="T33" fmla="*/ 18 h 54"/>
                  <a:gd name="T34" fmla="*/ 3 w 23"/>
                  <a:gd name="T35" fmla="*/ 19 h 54"/>
                  <a:gd name="T36" fmla="*/ 2 w 23"/>
                  <a:gd name="T37" fmla="*/ 21 h 54"/>
                  <a:gd name="T38" fmla="*/ 2 w 23"/>
                  <a:gd name="T39" fmla="*/ 24 h 54"/>
                  <a:gd name="T40" fmla="*/ 3 w 23"/>
                  <a:gd name="T41" fmla="*/ 27 h 54"/>
                  <a:gd name="T42" fmla="*/ 3 w 23"/>
                  <a:gd name="T43" fmla="*/ 28 h 54"/>
                  <a:gd name="T44" fmla="*/ 3 w 23"/>
                  <a:gd name="T45" fmla="*/ 31 h 54"/>
                  <a:gd name="T46" fmla="*/ 1 w 23"/>
                  <a:gd name="T47" fmla="*/ 35 h 54"/>
                  <a:gd name="T48" fmla="*/ 0 w 23"/>
                  <a:gd name="T49" fmla="*/ 39 h 54"/>
                  <a:gd name="T50" fmla="*/ 1 w 23"/>
                  <a:gd name="T51" fmla="*/ 43 h 54"/>
                  <a:gd name="T52" fmla="*/ 2 w 23"/>
                  <a:gd name="T53" fmla="*/ 44 h 54"/>
                  <a:gd name="T54" fmla="*/ 1 w 23"/>
                  <a:gd name="T55" fmla="*/ 45 h 54"/>
                  <a:gd name="T56" fmla="*/ 2 w 23"/>
                  <a:gd name="T57" fmla="*/ 50 h 54"/>
                  <a:gd name="T58" fmla="*/ 3 w 23"/>
                  <a:gd name="T59" fmla="*/ 51 h 54"/>
                  <a:gd name="T60" fmla="*/ 4 w 23"/>
                  <a:gd name="T61" fmla="*/ 52 h 54"/>
                  <a:gd name="T62" fmla="*/ 6 w 23"/>
                  <a:gd name="T63" fmla="*/ 53 h 54"/>
                  <a:gd name="T64" fmla="*/ 7 w 23"/>
                  <a:gd name="T65" fmla="*/ 53 h 54"/>
                  <a:gd name="T66" fmla="*/ 9 w 23"/>
                  <a:gd name="T67" fmla="*/ 52 h 54"/>
                  <a:gd name="T68" fmla="*/ 12 w 23"/>
                  <a:gd name="T69" fmla="*/ 51 h 54"/>
                  <a:gd name="T70" fmla="*/ 14 w 23"/>
                  <a:gd name="T71" fmla="*/ 45 h 54"/>
                  <a:gd name="T72" fmla="*/ 17 w 23"/>
                  <a:gd name="T73" fmla="*/ 34 h 54"/>
                  <a:gd name="T74" fmla="*/ 20 w 23"/>
                  <a:gd name="T75" fmla="*/ 23 h 54"/>
                  <a:gd name="T76" fmla="*/ 19 w 23"/>
                  <a:gd name="T77" fmla="*/ 20 h 54"/>
                  <a:gd name="T78" fmla="*/ 20 w 23"/>
                  <a:gd name="T79" fmla="*/ 17 h 54"/>
                  <a:gd name="T80" fmla="*/ 20 w 23"/>
                  <a:gd name="T81" fmla="*/ 14 h 54"/>
                  <a:gd name="T82" fmla="*/ 22 w 23"/>
                  <a:gd name="T83" fmla="*/ 13 h 54"/>
                  <a:gd name="T84" fmla="*/ 23 w 23"/>
                  <a:gd name="T85" fmla="*/ 14 h 54"/>
                  <a:gd name="T86" fmla="*/ 22 w 23"/>
                  <a:gd name="T87" fmla="*/ 7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" h="54">
                    <a:moveTo>
                      <a:pt x="22" y="7"/>
                    </a:moveTo>
                    <a:cubicBezTo>
                      <a:pt x="21" y="5"/>
                      <a:pt x="21" y="3"/>
                      <a:pt x="21" y="3"/>
                    </a:cubicBezTo>
                    <a:cubicBezTo>
                      <a:pt x="21" y="2"/>
                      <a:pt x="20" y="2"/>
                      <a:pt x="20" y="2"/>
                    </a:cubicBezTo>
                    <a:cubicBezTo>
                      <a:pt x="20" y="1"/>
                      <a:pt x="20" y="1"/>
                      <a:pt x="20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8" y="0"/>
                      <a:pt x="18" y="1"/>
                    </a:cubicBezTo>
                    <a:cubicBezTo>
                      <a:pt x="18" y="1"/>
                      <a:pt x="18" y="1"/>
                      <a:pt x="18" y="2"/>
                    </a:cubicBezTo>
                    <a:cubicBezTo>
                      <a:pt x="18" y="2"/>
                      <a:pt x="18" y="3"/>
                      <a:pt x="18" y="3"/>
                    </a:cubicBezTo>
                    <a:cubicBezTo>
                      <a:pt x="18" y="3"/>
                      <a:pt x="17" y="4"/>
                      <a:pt x="17" y="4"/>
                    </a:cubicBezTo>
                    <a:cubicBezTo>
                      <a:pt x="17" y="4"/>
                      <a:pt x="17" y="5"/>
                      <a:pt x="17" y="5"/>
                    </a:cubicBezTo>
                    <a:cubicBezTo>
                      <a:pt x="17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5" y="6"/>
                    </a:cubicBezTo>
                    <a:cubicBezTo>
                      <a:pt x="15" y="5"/>
                      <a:pt x="14" y="5"/>
                      <a:pt x="14" y="6"/>
                    </a:cubicBezTo>
                    <a:cubicBezTo>
                      <a:pt x="14" y="6"/>
                      <a:pt x="15" y="6"/>
                      <a:pt x="15" y="7"/>
                    </a:cubicBezTo>
                    <a:cubicBezTo>
                      <a:pt x="15" y="7"/>
                      <a:pt x="15" y="8"/>
                      <a:pt x="14" y="8"/>
                    </a:cubicBezTo>
                    <a:cubicBezTo>
                      <a:pt x="14" y="8"/>
                      <a:pt x="13" y="9"/>
                      <a:pt x="13" y="9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11"/>
                      <a:pt x="13" y="11"/>
                      <a:pt x="13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1"/>
                      <a:pt x="12" y="12"/>
                      <a:pt x="13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1" y="13"/>
                      <a:pt x="11" y="13"/>
                      <a:pt x="11" y="12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10" y="14"/>
                      <a:pt x="9" y="14"/>
                      <a:pt x="8" y="15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4" y="16"/>
                      <a:pt x="3" y="17"/>
                      <a:pt x="4" y="17"/>
                    </a:cubicBezTo>
                    <a:cubicBezTo>
                      <a:pt x="4" y="17"/>
                      <a:pt x="4" y="18"/>
                      <a:pt x="4" y="18"/>
                    </a:cubicBezTo>
                    <a:cubicBezTo>
                      <a:pt x="4" y="18"/>
                      <a:pt x="4" y="18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20"/>
                      <a:pt x="2" y="20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2" y="22"/>
                      <a:pt x="2" y="22"/>
                      <a:pt x="2" y="22"/>
                    </a:cubicBezTo>
                    <a:cubicBezTo>
                      <a:pt x="2" y="23"/>
                      <a:pt x="2" y="23"/>
                      <a:pt x="2" y="24"/>
                    </a:cubicBezTo>
                    <a:cubicBezTo>
                      <a:pt x="2" y="24"/>
                      <a:pt x="2" y="25"/>
                      <a:pt x="2" y="25"/>
                    </a:cubicBezTo>
                    <a:cubicBezTo>
                      <a:pt x="3" y="25"/>
                      <a:pt x="3" y="26"/>
                      <a:pt x="3" y="27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3" y="27"/>
                      <a:pt x="3" y="28"/>
                      <a:pt x="3" y="28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30"/>
                      <a:pt x="3" y="30"/>
                      <a:pt x="3" y="31"/>
                    </a:cubicBezTo>
                    <a:cubicBezTo>
                      <a:pt x="3" y="31"/>
                      <a:pt x="3" y="32"/>
                      <a:pt x="3" y="32"/>
                    </a:cubicBezTo>
                    <a:cubicBezTo>
                      <a:pt x="2" y="33"/>
                      <a:pt x="2" y="34"/>
                      <a:pt x="1" y="35"/>
                    </a:cubicBezTo>
                    <a:cubicBezTo>
                      <a:pt x="1" y="36"/>
                      <a:pt x="1" y="36"/>
                      <a:pt x="0" y="37"/>
                    </a:cubicBezTo>
                    <a:cubicBezTo>
                      <a:pt x="0" y="37"/>
                      <a:pt x="0" y="38"/>
                      <a:pt x="0" y="39"/>
                    </a:cubicBezTo>
                    <a:cubicBezTo>
                      <a:pt x="0" y="39"/>
                      <a:pt x="0" y="41"/>
                      <a:pt x="0" y="41"/>
                    </a:cubicBezTo>
                    <a:cubicBezTo>
                      <a:pt x="1" y="42"/>
                      <a:pt x="1" y="43"/>
                      <a:pt x="1" y="43"/>
                    </a:cubicBezTo>
                    <a:cubicBezTo>
                      <a:pt x="1" y="43"/>
                      <a:pt x="1" y="43"/>
                      <a:pt x="1" y="44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1" y="46"/>
                      <a:pt x="1" y="47"/>
                      <a:pt x="1" y="48"/>
                    </a:cubicBezTo>
                    <a:cubicBezTo>
                      <a:pt x="2" y="49"/>
                      <a:pt x="2" y="49"/>
                      <a:pt x="2" y="50"/>
                    </a:cubicBezTo>
                    <a:cubicBezTo>
                      <a:pt x="2" y="50"/>
                      <a:pt x="2" y="50"/>
                      <a:pt x="2" y="50"/>
                    </a:cubicBezTo>
                    <a:cubicBezTo>
                      <a:pt x="2" y="50"/>
                      <a:pt x="2" y="51"/>
                      <a:pt x="3" y="51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5" y="53"/>
                      <a:pt x="5" y="53"/>
                      <a:pt x="6" y="53"/>
                    </a:cubicBezTo>
                    <a:cubicBezTo>
                      <a:pt x="6" y="53"/>
                      <a:pt x="6" y="53"/>
                      <a:pt x="6" y="54"/>
                    </a:cubicBezTo>
                    <a:cubicBezTo>
                      <a:pt x="7" y="53"/>
                      <a:pt x="7" y="53"/>
                      <a:pt x="7" y="53"/>
                    </a:cubicBezTo>
                    <a:cubicBezTo>
                      <a:pt x="8" y="53"/>
                      <a:pt x="8" y="53"/>
                      <a:pt x="9" y="52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10" y="52"/>
                      <a:pt x="11" y="52"/>
                      <a:pt x="11" y="52"/>
                    </a:cubicBezTo>
                    <a:cubicBezTo>
                      <a:pt x="11" y="52"/>
                      <a:pt x="12" y="51"/>
                      <a:pt x="12" y="51"/>
                    </a:cubicBezTo>
                    <a:cubicBezTo>
                      <a:pt x="12" y="51"/>
                      <a:pt x="13" y="50"/>
                      <a:pt x="13" y="49"/>
                    </a:cubicBezTo>
                    <a:cubicBezTo>
                      <a:pt x="13" y="48"/>
                      <a:pt x="14" y="46"/>
                      <a:pt x="14" y="45"/>
                    </a:cubicBezTo>
                    <a:cubicBezTo>
                      <a:pt x="14" y="43"/>
                      <a:pt x="15" y="41"/>
                      <a:pt x="15" y="40"/>
                    </a:cubicBezTo>
                    <a:cubicBezTo>
                      <a:pt x="16" y="38"/>
                      <a:pt x="16" y="36"/>
                      <a:pt x="17" y="34"/>
                    </a:cubicBezTo>
                    <a:cubicBezTo>
                      <a:pt x="17" y="32"/>
                      <a:pt x="18" y="30"/>
                      <a:pt x="18" y="29"/>
                    </a:cubicBezTo>
                    <a:cubicBezTo>
                      <a:pt x="18" y="28"/>
                      <a:pt x="19" y="25"/>
                      <a:pt x="20" y="23"/>
                    </a:cubicBezTo>
                    <a:cubicBezTo>
                      <a:pt x="20" y="23"/>
                      <a:pt x="20" y="22"/>
                      <a:pt x="20" y="22"/>
                    </a:cubicBezTo>
                    <a:cubicBezTo>
                      <a:pt x="20" y="22"/>
                      <a:pt x="19" y="21"/>
                      <a:pt x="19" y="20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20" y="19"/>
                      <a:pt x="20" y="18"/>
                      <a:pt x="20" y="17"/>
                    </a:cubicBezTo>
                    <a:cubicBezTo>
                      <a:pt x="21" y="17"/>
                      <a:pt x="21" y="16"/>
                      <a:pt x="21" y="16"/>
                    </a:cubicBezTo>
                    <a:cubicBezTo>
                      <a:pt x="20" y="16"/>
                      <a:pt x="20" y="15"/>
                      <a:pt x="20" y="14"/>
                    </a:cubicBezTo>
                    <a:cubicBezTo>
                      <a:pt x="21" y="13"/>
                      <a:pt x="21" y="12"/>
                      <a:pt x="21" y="12"/>
                    </a:cubicBezTo>
                    <a:cubicBezTo>
                      <a:pt x="21" y="12"/>
                      <a:pt x="21" y="13"/>
                      <a:pt x="22" y="13"/>
                    </a:cubicBezTo>
                    <a:cubicBezTo>
                      <a:pt x="22" y="14"/>
                      <a:pt x="22" y="14"/>
                      <a:pt x="22" y="15"/>
                    </a:cubicBezTo>
                    <a:cubicBezTo>
                      <a:pt x="22" y="15"/>
                      <a:pt x="23" y="14"/>
                      <a:pt x="23" y="14"/>
                    </a:cubicBezTo>
                    <a:cubicBezTo>
                      <a:pt x="23" y="13"/>
                      <a:pt x="23" y="12"/>
                      <a:pt x="23" y="12"/>
                    </a:cubicBezTo>
                    <a:cubicBezTo>
                      <a:pt x="22" y="11"/>
                      <a:pt x="22" y="9"/>
                      <a:pt x="22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35" name="Freeform 70">
                <a:extLst>
                  <a:ext uri="{FF2B5EF4-FFF2-40B4-BE49-F238E27FC236}">
                    <a16:creationId xmlns:a16="http://schemas.microsoft.com/office/drawing/2014/main" id="{C990A307-7F1F-4DF1-881F-2B63DD99D3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8" y="2200"/>
                <a:ext cx="2" cy="2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0 h 1"/>
                  <a:gd name="T4" fmla="*/ 0 w 1"/>
                  <a:gd name="T5" fmla="*/ 0 h 1"/>
                  <a:gd name="T6" fmla="*/ 0 w 1"/>
                  <a:gd name="T7" fmla="*/ 1 h 1"/>
                  <a:gd name="T8" fmla="*/ 1 w 1"/>
                  <a:gd name="T9" fmla="*/ 1 h 1"/>
                  <a:gd name="T10" fmla="*/ 1 w 1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36" name="Freeform 71">
                <a:extLst>
                  <a:ext uri="{FF2B5EF4-FFF2-40B4-BE49-F238E27FC236}">
                    <a16:creationId xmlns:a16="http://schemas.microsoft.com/office/drawing/2014/main" id="{A742CEFC-8D90-4F15-9417-1A4F8A155A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7" y="2190"/>
                <a:ext cx="7" cy="7"/>
              </a:xfrm>
              <a:custGeom>
                <a:avLst/>
                <a:gdLst>
                  <a:gd name="T0" fmla="*/ 2 w 3"/>
                  <a:gd name="T1" fmla="*/ 0 h 3"/>
                  <a:gd name="T2" fmla="*/ 1 w 3"/>
                  <a:gd name="T3" fmla="*/ 0 h 3"/>
                  <a:gd name="T4" fmla="*/ 0 w 3"/>
                  <a:gd name="T5" fmla="*/ 1 h 3"/>
                  <a:gd name="T6" fmla="*/ 0 w 3"/>
                  <a:gd name="T7" fmla="*/ 2 h 3"/>
                  <a:gd name="T8" fmla="*/ 0 w 3"/>
                  <a:gd name="T9" fmla="*/ 2 h 3"/>
                  <a:gd name="T10" fmla="*/ 1 w 3"/>
                  <a:gd name="T11" fmla="*/ 2 h 3"/>
                  <a:gd name="T12" fmla="*/ 1 w 3"/>
                  <a:gd name="T13" fmla="*/ 3 h 3"/>
                  <a:gd name="T14" fmla="*/ 2 w 3"/>
                  <a:gd name="T15" fmla="*/ 3 h 3"/>
                  <a:gd name="T16" fmla="*/ 3 w 3"/>
                  <a:gd name="T17" fmla="*/ 3 h 3"/>
                  <a:gd name="T18" fmla="*/ 3 w 3"/>
                  <a:gd name="T19" fmla="*/ 2 h 3"/>
                  <a:gd name="T20" fmla="*/ 3 w 3"/>
                  <a:gd name="T21" fmla="*/ 2 h 3"/>
                  <a:gd name="T22" fmla="*/ 3 w 3"/>
                  <a:gd name="T23" fmla="*/ 1 h 3"/>
                  <a:gd name="T24" fmla="*/ 3 w 3"/>
                  <a:gd name="T25" fmla="*/ 1 h 3"/>
                  <a:gd name="T26" fmla="*/ 2 w 3"/>
                  <a:gd name="T27" fmla="*/ 0 h 3"/>
                  <a:gd name="T28" fmla="*/ 2 w 3"/>
                  <a:gd name="T2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3"/>
                    </a:cubicBezTo>
                    <a:cubicBezTo>
                      <a:pt x="1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3" y="3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37" name="Freeform 72">
                <a:extLst>
                  <a:ext uri="{FF2B5EF4-FFF2-40B4-BE49-F238E27FC236}">
                    <a16:creationId xmlns:a16="http://schemas.microsoft.com/office/drawing/2014/main" id="{661E1C70-F3E5-48F9-96E9-D92B4B3F1E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7" y="2190"/>
                <a:ext cx="4" cy="2"/>
              </a:xfrm>
              <a:custGeom>
                <a:avLst/>
                <a:gdLst>
                  <a:gd name="T0" fmla="*/ 1 w 2"/>
                  <a:gd name="T1" fmla="*/ 1 h 1"/>
                  <a:gd name="T2" fmla="*/ 2 w 2"/>
                  <a:gd name="T3" fmla="*/ 1 h 1"/>
                  <a:gd name="T4" fmla="*/ 2 w 2"/>
                  <a:gd name="T5" fmla="*/ 0 h 1"/>
                  <a:gd name="T6" fmla="*/ 1 w 2"/>
                  <a:gd name="T7" fmla="*/ 0 h 1"/>
                  <a:gd name="T8" fmla="*/ 1 w 2"/>
                  <a:gd name="T9" fmla="*/ 0 h 1"/>
                  <a:gd name="T10" fmla="*/ 0 w 2"/>
                  <a:gd name="T11" fmla="*/ 0 h 1"/>
                  <a:gd name="T12" fmla="*/ 0 w 2"/>
                  <a:gd name="T13" fmla="*/ 0 h 1"/>
                  <a:gd name="T14" fmla="*/ 1 w 2"/>
                  <a:gd name="T1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">
                    <a:moveTo>
                      <a:pt x="1" y="1"/>
                    </a:moveTo>
                    <a:cubicBezTo>
                      <a:pt x="1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38" name="Freeform 73">
                <a:extLst>
                  <a:ext uri="{FF2B5EF4-FFF2-40B4-BE49-F238E27FC236}">
                    <a16:creationId xmlns:a16="http://schemas.microsoft.com/office/drawing/2014/main" id="{D1567B41-D558-45A6-AA90-4B67A41107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0" y="2178"/>
                <a:ext cx="14" cy="24"/>
              </a:xfrm>
              <a:custGeom>
                <a:avLst/>
                <a:gdLst>
                  <a:gd name="T0" fmla="*/ 1 w 6"/>
                  <a:gd name="T1" fmla="*/ 1 h 10"/>
                  <a:gd name="T2" fmla="*/ 0 w 6"/>
                  <a:gd name="T3" fmla="*/ 2 h 10"/>
                  <a:gd name="T4" fmla="*/ 1 w 6"/>
                  <a:gd name="T5" fmla="*/ 3 h 10"/>
                  <a:gd name="T6" fmla="*/ 1 w 6"/>
                  <a:gd name="T7" fmla="*/ 4 h 10"/>
                  <a:gd name="T8" fmla="*/ 1 w 6"/>
                  <a:gd name="T9" fmla="*/ 4 h 10"/>
                  <a:gd name="T10" fmla="*/ 1 w 6"/>
                  <a:gd name="T11" fmla="*/ 5 h 10"/>
                  <a:gd name="T12" fmla="*/ 1 w 6"/>
                  <a:gd name="T13" fmla="*/ 7 h 10"/>
                  <a:gd name="T14" fmla="*/ 1 w 6"/>
                  <a:gd name="T15" fmla="*/ 8 h 10"/>
                  <a:gd name="T16" fmla="*/ 2 w 6"/>
                  <a:gd name="T17" fmla="*/ 9 h 10"/>
                  <a:gd name="T18" fmla="*/ 2 w 6"/>
                  <a:gd name="T19" fmla="*/ 10 h 10"/>
                  <a:gd name="T20" fmla="*/ 2 w 6"/>
                  <a:gd name="T21" fmla="*/ 10 h 10"/>
                  <a:gd name="T22" fmla="*/ 3 w 6"/>
                  <a:gd name="T23" fmla="*/ 9 h 10"/>
                  <a:gd name="T24" fmla="*/ 3 w 6"/>
                  <a:gd name="T25" fmla="*/ 9 h 10"/>
                  <a:gd name="T26" fmla="*/ 4 w 6"/>
                  <a:gd name="T27" fmla="*/ 8 h 10"/>
                  <a:gd name="T28" fmla="*/ 5 w 6"/>
                  <a:gd name="T29" fmla="*/ 8 h 10"/>
                  <a:gd name="T30" fmla="*/ 5 w 6"/>
                  <a:gd name="T31" fmla="*/ 8 h 10"/>
                  <a:gd name="T32" fmla="*/ 5 w 6"/>
                  <a:gd name="T33" fmla="*/ 7 h 10"/>
                  <a:gd name="T34" fmla="*/ 5 w 6"/>
                  <a:gd name="T35" fmla="*/ 5 h 10"/>
                  <a:gd name="T36" fmla="*/ 5 w 6"/>
                  <a:gd name="T37" fmla="*/ 4 h 10"/>
                  <a:gd name="T38" fmla="*/ 5 w 6"/>
                  <a:gd name="T39" fmla="*/ 4 h 10"/>
                  <a:gd name="T40" fmla="*/ 5 w 6"/>
                  <a:gd name="T41" fmla="*/ 3 h 10"/>
                  <a:gd name="T42" fmla="*/ 6 w 6"/>
                  <a:gd name="T43" fmla="*/ 2 h 10"/>
                  <a:gd name="T44" fmla="*/ 5 w 6"/>
                  <a:gd name="T45" fmla="*/ 1 h 10"/>
                  <a:gd name="T46" fmla="*/ 5 w 6"/>
                  <a:gd name="T47" fmla="*/ 0 h 10"/>
                  <a:gd name="T48" fmla="*/ 4 w 6"/>
                  <a:gd name="T49" fmla="*/ 0 h 10"/>
                  <a:gd name="T50" fmla="*/ 3 w 6"/>
                  <a:gd name="T51" fmla="*/ 0 h 10"/>
                  <a:gd name="T52" fmla="*/ 2 w 6"/>
                  <a:gd name="T53" fmla="*/ 1 h 10"/>
                  <a:gd name="T54" fmla="*/ 2 w 6"/>
                  <a:gd name="T55" fmla="*/ 1 h 10"/>
                  <a:gd name="T56" fmla="*/ 1 w 6"/>
                  <a:gd name="T57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" h="10">
                    <a:moveTo>
                      <a:pt x="1" y="1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1" y="3"/>
                      <a:pt x="1" y="3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5"/>
                      <a:pt x="1" y="5"/>
                    </a:cubicBezTo>
                    <a:cubicBezTo>
                      <a:pt x="1" y="6"/>
                      <a:pt x="1" y="6"/>
                      <a:pt x="1" y="7"/>
                    </a:cubicBezTo>
                    <a:cubicBezTo>
                      <a:pt x="1" y="7"/>
                      <a:pt x="1" y="8"/>
                      <a:pt x="1" y="8"/>
                    </a:cubicBezTo>
                    <a:cubicBezTo>
                      <a:pt x="1" y="8"/>
                      <a:pt x="1" y="9"/>
                      <a:pt x="2" y="9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3" y="10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8"/>
                      <a:pt x="4" y="8"/>
                      <a:pt x="4" y="8"/>
                    </a:cubicBezTo>
                    <a:cubicBezTo>
                      <a:pt x="4" y="9"/>
                      <a:pt x="5" y="9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5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3"/>
                      <a:pt x="6" y="3"/>
                      <a:pt x="6" y="2"/>
                    </a:cubicBezTo>
                    <a:cubicBezTo>
                      <a:pt x="6" y="2"/>
                      <a:pt x="5" y="2"/>
                      <a:pt x="5" y="1"/>
                    </a:cubicBezTo>
                    <a:cubicBezTo>
                      <a:pt x="5" y="1"/>
                      <a:pt x="5" y="1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3" y="0"/>
                      <a:pt x="3" y="0"/>
                    </a:cubicBezTo>
                    <a:cubicBezTo>
                      <a:pt x="3" y="0"/>
                      <a:pt x="3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39" name="Freeform 74">
                <a:extLst>
                  <a:ext uri="{FF2B5EF4-FFF2-40B4-BE49-F238E27FC236}">
                    <a16:creationId xmlns:a16="http://schemas.microsoft.com/office/drawing/2014/main" id="{250D277C-5AC8-42C6-923D-1EE41CF75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2" y="2157"/>
                <a:ext cx="10" cy="19"/>
              </a:xfrm>
              <a:custGeom>
                <a:avLst/>
                <a:gdLst>
                  <a:gd name="T0" fmla="*/ 3 w 4"/>
                  <a:gd name="T1" fmla="*/ 0 h 8"/>
                  <a:gd name="T2" fmla="*/ 3 w 4"/>
                  <a:gd name="T3" fmla="*/ 1 h 8"/>
                  <a:gd name="T4" fmla="*/ 3 w 4"/>
                  <a:gd name="T5" fmla="*/ 2 h 8"/>
                  <a:gd name="T6" fmla="*/ 2 w 4"/>
                  <a:gd name="T7" fmla="*/ 2 h 8"/>
                  <a:gd name="T8" fmla="*/ 1 w 4"/>
                  <a:gd name="T9" fmla="*/ 3 h 8"/>
                  <a:gd name="T10" fmla="*/ 1 w 4"/>
                  <a:gd name="T11" fmla="*/ 4 h 8"/>
                  <a:gd name="T12" fmla="*/ 1 w 4"/>
                  <a:gd name="T13" fmla="*/ 5 h 8"/>
                  <a:gd name="T14" fmla="*/ 1 w 4"/>
                  <a:gd name="T15" fmla="*/ 6 h 8"/>
                  <a:gd name="T16" fmla="*/ 1 w 4"/>
                  <a:gd name="T17" fmla="*/ 7 h 8"/>
                  <a:gd name="T18" fmla="*/ 2 w 4"/>
                  <a:gd name="T19" fmla="*/ 7 h 8"/>
                  <a:gd name="T20" fmla="*/ 3 w 4"/>
                  <a:gd name="T21" fmla="*/ 8 h 8"/>
                  <a:gd name="T22" fmla="*/ 3 w 4"/>
                  <a:gd name="T23" fmla="*/ 7 h 8"/>
                  <a:gd name="T24" fmla="*/ 4 w 4"/>
                  <a:gd name="T25" fmla="*/ 5 h 8"/>
                  <a:gd name="T26" fmla="*/ 4 w 4"/>
                  <a:gd name="T27" fmla="*/ 5 h 8"/>
                  <a:gd name="T28" fmla="*/ 4 w 4"/>
                  <a:gd name="T29" fmla="*/ 5 h 8"/>
                  <a:gd name="T30" fmla="*/ 4 w 4"/>
                  <a:gd name="T31" fmla="*/ 2 h 8"/>
                  <a:gd name="T32" fmla="*/ 4 w 4"/>
                  <a:gd name="T33" fmla="*/ 1 h 8"/>
                  <a:gd name="T34" fmla="*/ 4 w 4"/>
                  <a:gd name="T35" fmla="*/ 0 h 8"/>
                  <a:gd name="T36" fmla="*/ 3 w 4"/>
                  <a:gd name="T3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" h="8">
                    <a:moveTo>
                      <a:pt x="3" y="0"/>
                    </a:moveTo>
                    <a:cubicBezTo>
                      <a:pt x="3" y="0"/>
                      <a:pt x="3" y="1"/>
                      <a:pt x="3" y="1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1" y="3"/>
                      <a:pt x="1" y="3"/>
                    </a:cubicBezTo>
                    <a:cubicBezTo>
                      <a:pt x="1" y="3"/>
                      <a:pt x="0" y="4"/>
                      <a:pt x="1" y="4"/>
                    </a:cubicBezTo>
                    <a:cubicBezTo>
                      <a:pt x="1" y="4"/>
                      <a:pt x="1" y="5"/>
                      <a:pt x="1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7"/>
                    </a:cubicBezTo>
                    <a:cubicBezTo>
                      <a:pt x="1" y="7"/>
                      <a:pt x="2" y="7"/>
                      <a:pt x="2" y="7"/>
                    </a:cubicBezTo>
                    <a:cubicBezTo>
                      <a:pt x="2" y="8"/>
                      <a:pt x="3" y="8"/>
                      <a:pt x="3" y="8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6"/>
                      <a:pt x="3" y="6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3"/>
                      <a:pt x="4" y="2"/>
                    </a:cubicBezTo>
                    <a:cubicBezTo>
                      <a:pt x="4" y="2"/>
                      <a:pt x="4" y="2"/>
                      <a:pt x="4" y="1"/>
                    </a:cubicBezTo>
                    <a:cubicBezTo>
                      <a:pt x="4" y="1"/>
                      <a:pt x="4" y="0"/>
                      <a:pt x="4" y="0"/>
                    </a:cubicBezTo>
                    <a:cubicBezTo>
                      <a:pt x="4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40" name="Freeform 75">
                <a:extLst>
                  <a:ext uri="{FF2B5EF4-FFF2-40B4-BE49-F238E27FC236}">
                    <a16:creationId xmlns:a16="http://schemas.microsoft.com/office/drawing/2014/main" id="{0803E8D4-11B2-420D-A84D-C23F63270B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3" y="2209"/>
                <a:ext cx="24" cy="17"/>
              </a:xfrm>
              <a:custGeom>
                <a:avLst/>
                <a:gdLst>
                  <a:gd name="T0" fmla="*/ 3 w 10"/>
                  <a:gd name="T1" fmla="*/ 0 h 7"/>
                  <a:gd name="T2" fmla="*/ 2 w 10"/>
                  <a:gd name="T3" fmla="*/ 0 h 7"/>
                  <a:gd name="T4" fmla="*/ 2 w 10"/>
                  <a:gd name="T5" fmla="*/ 0 h 7"/>
                  <a:gd name="T6" fmla="*/ 2 w 10"/>
                  <a:gd name="T7" fmla="*/ 0 h 7"/>
                  <a:gd name="T8" fmla="*/ 1 w 10"/>
                  <a:gd name="T9" fmla="*/ 0 h 7"/>
                  <a:gd name="T10" fmla="*/ 0 w 10"/>
                  <a:gd name="T11" fmla="*/ 1 h 7"/>
                  <a:gd name="T12" fmla="*/ 0 w 10"/>
                  <a:gd name="T13" fmla="*/ 1 h 7"/>
                  <a:gd name="T14" fmla="*/ 0 w 10"/>
                  <a:gd name="T15" fmla="*/ 2 h 7"/>
                  <a:gd name="T16" fmla="*/ 1 w 10"/>
                  <a:gd name="T17" fmla="*/ 3 h 7"/>
                  <a:gd name="T18" fmla="*/ 1 w 10"/>
                  <a:gd name="T19" fmla="*/ 3 h 7"/>
                  <a:gd name="T20" fmla="*/ 1 w 10"/>
                  <a:gd name="T21" fmla="*/ 3 h 7"/>
                  <a:gd name="T22" fmla="*/ 3 w 10"/>
                  <a:gd name="T23" fmla="*/ 4 h 7"/>
                  <a:gd name="T24" fmla="*/ 5 w 10"/>
                  <a:gd name="T25" fmla="*/ 5 h 7"/>
                  <a:gd name="T26" fmla="*/ 5 w 10"/>
                  <a:gd name="T27" fmla="*/ 5 h 7"/>
                  <a:gd name="T28" fmla="*/ 5 w 10"/>
                  <a:gd name="T29" fmla="*/ 5 h 7"/>
                  <a:gd name="T30" fmla="*/ 6 w 10"/>
                  <a:gd name="T31" fmla="*/ 5 h 7"/>
                  <a:gd name="T32" fmla="*/ 7 w 10"/>
                  <a:gd name="T33" fmla="*/ 6 h 7"/>
                  <a:gd name="T34" fmla="*/ 7 w 10"/>
                  <a:gd name="T35" fmla="*/ 6 h 7"/>
                  <a:gd name="T36" fmla="*/ 7 w 10"/>
                  <a:gd name="T37" fmla="*/ 6 h 7"/>
                  <a:gd name="T38" fmla="*/ 9 w 10"/>
                  <a:gd name="T39" fmla="*/ 6 h 7"/>
                  <a:gd name="T40" fmla="*/ 9 w 10"/>
                  <a:gd name="T41" fmla="*/ 5 h 7"/>
                  <a:gd name="T42" fmla="*/ 9 w 10"/>
                  <a:gd name="T43" fmla="*/ 5 h 7"/>
                  <a:gd name="T44" fmla="*/ 9 w 10"/>
                  <a:gd name="T45" fmla="*/ 5 h 7"/>
                  <a:gd name="T46" fmla="*/ 9 w 10"/>
                  <a:gd name="T47" fmla="*/ 4 h 7"/>
                  <a:gd name="T48" fmla="*/ 9 w 10"/>
                  <a:gd name="T49" fmla="*/ 3 h 7"/>
                  <a:gd name="T50" fmla="*/ 9 w 10"/>
                  <a:gd name="T51" fmla="*/ 2 h 7"/>
                  <a:gd name="T52" fmla="*/ 9 w 10"/>
                  <a:gd name="T53" fmla="*/ 1 h 7"/>
                  <a:gd name="T54" fmla="*/ 9 w 10"/>
                  <a:gd name="T55" fmla="*/ 1 h 7"/>
                  <a:gd name="T56" fmla="*/ 9 w 10"/>
                  <a:gd name="T57" fmla="*/ 0 h 7"/>
                  <a:gd name="T58" fmla="*/ 9 w 10"/>
                  <a:gd name="T59" fmla="*/ 0 h 7"/>
                  <a:gd name="T60" fmla="*/ 8 w 10"/>
                  <a:gd name="T61" fmla="*/ 0 h 7"/>
                  <a:gd name="T62" fmla="*/ 8 w 10"/>
                  <a:gd name="T63" fmla="*/ 0 h 7"/>
                  <a:gd name="T64" fmla="*/ 7 w 10"/>
                  <a:gd name="T65" fmla="*/ 0 h 7"/>
                  <a:gd name="T66" fmla="*/ 7 w 10"/>
                  <a:gd name="T67" fmla="*/ 0 h 7"/>
                  <a:gd name="T68" fmla="*/ 6 w 10"/>
                  <a:gd name="T69" fmla="*/ 1 h 7"/>
                  <a:gd name="T70" fmla="*/ 5 w 10"/>
                  <a:gd name="T71" fmla="*/ 1 h 7"/>
                  <a:gd name="T72" fmla="*/ 5 w 10"/>
                  <a:gd name="T73" fmla="*/ 1 h 7"/>
                  <a:gd name="T74" fmla="*/ 4 w 10"/>
                  <a:gd name="T75" fmla="*/ 1 h 7"/>
                  <a:gd name="T76" fmla="*/ 4 w 10"/>
                  <a:gd name="T77" fmla="*/ 0 h 7"/>
                  <a:gd name="T78" fmla="*/ 3 w 10"/>
                  <a:gd name="T79" fmla="*/ 0 h 7"/>
                  <a:gd name="T80" fmla="*/ 3 w 10"/>
                  <a:gd name="T8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" h="7">
                    <a:moveTo>
                      <a:pt x="3" y="0"/>
                    </a:move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3"/>
                      <a:pt x="3" y="3"/>
                      <a:pt x="3" y="4"/>
                    </a:cubicBezTo>
                    <a:cubicBezTo>
                      <a:pt x="4" y="4"/>
                      <a:pt x="4" y="4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5"/>
                      <a:pt x="6" y="5"/>
                    </a:cubicBezTo>
                    <a:cubicBezTo>
                      <a:pt x="6" y="5"/>
                      <a:pt x="6" y="6"/>
                      <a:pt x="7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8" y="7"/>
                      <a:pt x="8" y="7"/>
                      <a:pt x="9" y="6"/>
                    </a:cubicBezTo>
                    <a:cubicBezTo>
                      <a:pt x="9" y="6"/>
                      <a:pt x="9" y="6"/>
                      <a:pt x="9" y="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4"/>
                      <a:pt x="9" y="4"/>
                      <a:pt x="9" y="3"/>
                    </a:cubicBezTo>
                    <a:cubicBezTo>
                      <a:pt x="8" y="3"/>
                      <a:pt x="8" y="2"/>
                      <a:pt x="9" y="2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10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41" name="Freeform 76">
                <a:extLst>
                  <a:ext uri="{FF2B5EF4-FFF2-40B4-BE49-F238E27FC236}">
                    <a16:creationId xmlns:a16="http://schemas.microsoft.com/office/drawing/2014/main" id="{B2DDC779-85C8-402F-8B2D-49E924AD3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2" y="2235"/>
                <a:ext cx="19" cy="10"/>
              </a:xfrm>
              <a:custGeom>
                <a:avLst/>
                <a:gdLst>
                  <a:gd name="T0" fmla="*/ 7 w 8"/>
                  <a:gd name="T1" fmla="*/ 1 h 4"/>
                  <a:gd name="T2" fmla="*/ 8 w 8"/>
                  <a:gd name="T3" fmla="*/ 0 h 4"/>
                  <a:gd name="T4" fmla="*/ 8 w 8"/>
                  <a:gd name="T5" fmla="*/ 0 h 4"/>
                  <a:gd name="T6" fmla="*/ 7 w 8"/>
                  <a:gd name="T7" fmla="*/ 0 h 4"/>
                  <a:gd name="T8" fmla="*/ 6 w 8"/>
                  <a:gd name="T9" fmla="*/ 0 h 4"/>
                  <a:gd name="T10" fmla="*/ 4 w 8"/>
                  <a:gd name="T11" fmla="*/ 1 h 4"/>
                  <a:gd name="T12" fmla="*/ 4 w 8"/>
                  <a:gd name="T13" fmla="*/ 1 h 4"/>
                  <a:gd name="T14" fmla="*/ 4 w 8"/>
                  <a:gd name="T15" fmla="*/ 1 h 4"/>
                  <a:gd name="T16" fmla="*/ 2 w 8"/>
                  <a:gd name="T17" fmla="*/ 2 h 4"/>
                  <a:gd name="T18" fmla="*/ 2 w 8"/>
                  <a:gd name="T19" fmla="*/ 2 h 4"/>
                  <a:gd name="T20" fmla="*/ 1 w 8"/>
                  <a:gd name="T21" fmla="*/ 2 h 4"/>
                  <a:gd name="T22" fmla="*/ 1 w 8"/>
                  <a:gd name="T23" fmla="*/ 3 h 4"/>
                  <a:gd name="T24" fmla="*/ 1 w 8"/>
                  <a:gd name="T25" fmla="*/ 4 h 4"/>
                  <a:gd name="T26" fmla="*/ 2 w 8"/>
                  <a:gd name="T27" fmla="*/ 4 h 4"/>
                  <a:gd name="T28" fmla="*/ 3 w 8"/>
                  <a:gd name="T29" fmla="*/ 4 h 4"/>
                  <a:gd name="T30" fmla="*/ 4 w 8"/>
                  <a:gd name="T31" fmla="*/ 4 h 4"/>
                  <a:gd name="T32" fmla="*/ 4 w 8"/>
                  <a:gd name="T33" fmla="*/ 4 h 4"/>
                  <a:gd name="T34" fmla="*/ 5 w 8"/>
                  <a:gd name="T35" fmla="*/ 3 h 4"/>
                  <a:gd name="T36" fmla="*/ 5 w 8"/>
                  <a:gd name="T37" fmla="*/ 3 h 4"/>
                  <a:gd name="T38" fmla="*/ 5 w 8"/>
                  <a:gd name="T39" fmla="*/ 3 h 4"/>
                  <a:gd name="T40" fmla="*/ 5 w 8"/>
                  <a:gd name="T41" fmla="*/ 3 h 4"/>
                  <a:gd name="T42" fmla="*/ 6 w 8"/>
                  <a:gd name="T43" fmla="*/ 3 h 4"/>
                  <a:gd name="T44" fmla="*/ 6 w 8"/>
                  <a:gd name="T45" fmla="*/ 3 h 4"/>
                  <a:gd name="T46" fmla="*/ 6 w 8"/>
                  <a:gd name="T47" fmla="*/ 3 h 4"/>
                  <a:gd name="T48" fmla="*/ 6 w 8"/>
                  <a:gd name="T49" fmla="*/ 2 h 4"/>
                  <a:gd name="T50" fmla="*/ 6 w 8"/>
                  <a:gd name="T51" fmla="*/ 1 h 4"/>
                  <a:gd name="T52" fmla="*/ 7 w 8"/>
                  <a:gd name="T53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7" y="1"/>
                      <a:pt x="7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7" y="0"/>
                    </a:cubicBezTo>
                    <a:cubicBezTo>
                      <a:pt x="7" y="0"/>
                      <a:pt x="7" y="0"/>
                      <a:pt x="6" y="0"/>
                    </a:cubicBezTo>
                    <a:cubicBezTo>
                      <a:pt x="6" y="0"/>
                      <a:pt x="5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1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3"/>
                      <a:pt x="1" y="3"/>
                    </a:cubicBezTo>
                    <a:cubicBezTo>
                      <a:pt x="1" y="3"/>
                      <a:pt x="1" y="4"/>
                      <a:pt x="1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1"/>
                    </a:cubicBezTo>
                    <a:cubicBezTo>
                      <a:pt x="6" y="1"/>
                      <a:pt x="6" y="1"/>
                      <a:pt x="7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42" name="Freeform 77">
                <a:extLst>
                  <a:ext uri="{FF2B5EF4-FFF2-40B4-BE49-F238E27FC236}">
                    <a16:creationId xmlns:a16="http://schemas.microsoft.com/office/drawing/2014/main" id="{FB2B8DA4-5EDA-4DDA-98B8-66C9F3ED75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204"/>
                <a:ext cx="2" cy="5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0 h 2"/>
                  <a:gd name="T4" fmla="*/ 0 w 1"/>
                  <a:gd name="T5" fmla="*/ 1 h 2"/>
                  <a:gd name="T6" fmla="*/ 0 w 1"/>
                  <a:gd name="T7" fmla="*/ 2 h 2"/>
                  <a:gd name="T8" fmla="*/ 1 w 1"/>
                  <a:gd name="T9" fmla="*/ 2 h 2"/>
                  <a:gd name="T10" fmla="*/ 1 w 1"/>
                  <a:gd name="T11" fmla="*/ 1 h 2"/>
                  <a:gd name="T12" fmla="*/ 1 w 1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43" name="Freeform 78">
                <a:extLst>
                  <a:ext uri="{FF2B5EF4-FFF2-40B4-BE49-F238E27FC236}">
                    <a16:creationId xmlns:a16="http://schemas.microsoft.com/office/drawing/2014/main" id="{BEB523EA-88C2-42B5-9E58-E71B0F2F3E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0" y="2235"/>
                <a:ext cx="2" cy="3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1 h 1"/>
                  <a:gd name="T4" fmla="*/ 1 w 1"/>
                  <a:gd name="T5" fmla="*/ 1 h 1"/>
                  <a:gd name="T6" fmla="*/ 1 w 1"/>
                  <a:gd name="T7" fmla="*/ 0 h 1"/>
                  <a:gd name="T8" fmla="*/ 1 w 1"/>
                  <a:gd name="T9" fmla="*/ 0 h 1"/>
                  <a:gd name="T10" fmla="*/ 0 w 1"/>
                  <a:gd name="T1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44" name="Freeform 79">
                <a:extLst>
                  <a:ext uri="{FF2B5EF4-FFF2-40B4-BE49-F238E27FC236}">
                    <a16:creationId xmlns:a16="http://schemas.microsoft.com/office/drawing/2014/main" id="{BFD80BBC-68AC-487F-913E-136B1B95E4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2207"/>
                <a:ext cx="5" cy="2"/>
              </a:xfrm>
              <a:custGeom>
                <a:avLst/>
                <a:gdLst>
                  <a:gd name="T0" fmla="*/ 1 w 2"/>
                  <a:gd name="T1" fmla="*/ 1 h 1"/>
                  <a:gd name="T2" fmla="*/ 2 w 2"/>
                  <a:gd name="T3" fmla="*/ 1 h 1"/>
                  <a:gd name="T4" fmla="*/ 1 w 2"/>
                  <a:gd name="T5" fmla="*/ 0 h 1"/>
                  <a:gd name="T6" fmla="*/ 1 w 2"/>
                  <a:gd name="T7" fmla="*/ 0 h 1"/>
                  <a:gd name="T8" fmla="*/ 1 w 2"/>
                  <a:gd name="T9" fmla="*/ 0 h 1"/>
                  <a:gd name="T10" fmla="*/ 0 w 2"/>
                  <a:gd name="T11" fmla="*/ 0 h 1"/>
                  <a:gd name="T12" fmla="*/ 0 w 2"/>
                  <a:gd name="T13" fmla="*/ 1 h 1"/>
                  <a:gd name="T14" fmla="*/ 0 w 2"/>
                  <a:gd name="T15" fmla="*/ 1 h 1"/>
                  <a:gd name="T16" fmla="*/ 1 w 2"/>
                  <a:gd name="T1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">
                    <a:moveTo>
                      <a:pt x="1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45" name="Freeform 80">
                <a:extLst>
                  <a:ext uri="{FF2B5EF4-FFF2-40B4-BE49-F238E27FC236}">
                    <a16:creationId xmlns:a16="http://schemas.microsoft.com/office/drawing/2014/main" id="{48948075-81BC-4CF3-9981-A64DBD1236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0" y="2185"/>
                <a:ext cx="2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  <a:gd name="T4" fmla="*/ 1 w 1"/>
                  <a:gd name="T5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46" name="Freeform 81">
                <a:extLst>
                  <a:ext uri="{FF2B5EF4-FFF2-40B4-BE49-F238E27FC236}">
                    <a16:creationId xmlns:a16="http://schemas.microsoft.com/office/drawing/2014/main" id="{0C81D9B2-C388-43A0-B8B7-6F1CD48F7A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2" y="2188"/>
                <a:ext cx="3" cy="2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1 h 1"/>
                  <a:gd name="T4" fmla="*/ 1 w 1"/>
                  <a:gd name="T5" fmla="*/ 1 h 1"/>
                  <a:gd name="T6" fmla="*/ 1 w 1"/>
                  <a:gd name="T7" fmla="*/ 0 h 1"/>
                  <a:gd name="T8" fmla="*/ 1 w 1"/>
                  <a:gd name="T9" fmla="*/ 0 h 1"/>
                  <a:gd name="T10" fmla="*/ 0 w 1"/>
                  <a:gd name="T1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47" name="Freeform 82">
                <a:extLst>
                  <a:ext uri="{FF2B5EF4-FFF2-40B4-BE49-F238E27FC236}">
                    <a16:creationId xmlns:a16="http://schemas.microsoft.com/office/drawing/2014/main" id="{523762F0-950F-43B2-B63A-D7051586F4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8" y="2190"/>
                <a:ext cx="4" cy="2"/>
              </a:xfrm>
              <a:custGeom>
                <a:avLst/>
                <a:gdLst>
                  <a:gd name="T0" fmla="*/ 0 w 2"/>
                  <a:gd name="T1" fmla="*/ 0 h 1"/>
                  <a:gd name="T2" fmla="*/ 0 w 2"/>
                  <a:gd name="T3" fmla="*/ 1 h 1"/>
                  <a:gd name="T4" fmla="*/ 1 w 2"/>
                  <a:gd name="T5" fmla="*/ 1 h 1"/>
                  <a:gd name="T6" fmla="*/ 2 w 2"/>
                  <a:gd name="T7" fmla="*/ 0 h 1"/>
                  <a:gd name="T8" fmla="*/ 2 w 2"/>
                  <a:gd name="T9" fmla="*/ 0 h 1"/>
                  <a:gd name="T10" fmla="*/ 2 w 2"/>
                  <a:gd name="T11" fmla="*/ 0 h 1"/>
                  <a:gd name="T12" fmla="*/ 1 w 2"/>
                  <a:gd name="T13" fmla="*/ 0 h 1"/>
                  <a:gd name="T14" fmla="*/ 0 w 2"/>
                  <a:gd name="T1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48" name="Freeform 83">
                <a:extLst>
                  <a:ext uri="{FF2B5EF4-FFF2-40B4-BE49-F238E27FC236}">
                    <a16:creationId xmlns:a16="http://schemas.microsoft.com/office/drawing/2014/main" id="{160EA630-E192-486A-8D73-EF4E66602A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9" y="2228"/>
                <a:ext cx="2" cy="5"/>
              </a:xfrm>
              <a:custGeom>
                <a:avLst/>
                <a:gdLst>
                  <a:gd name="T0" fmla="*/ 0 w 1"/>
                  <a:gd name="T1" fmla="*/ 2 h 2"/>
                  <a:gd name="T2" fmla="*/ 0 w 1"/>
                  <a:gd name="T3" fmla="*/ 2 h 2"/>
                  <a:gd name="T4" fmla="*/ 1 w 1"/>
                  <a:gd name="T5" fmla="*/ 1 h 2"/>
                  <a:gd name="T6" fmla="*/ 1 w 1"/>
                  <a:gd name="T7" fmla="*/ 1 h 2"/>
                  <a:gd name="T8" fmla="*/ 1 w 1"/>
                  <a:gd name="T9" fmla="*/ 0 h 2"/>
                  <a:gd name="T10" fmla="*/ 0 w 1"/>
                  <a:gd name="T11" fmla="*/ 1 h 2"/>
                  <a:gd name="T12" fmla="*/ 0 w 1"/>
                  <a:gd name="T13" fmla="*/ 1 h 2"/>
                  <a:gd name="T14" fmla="*/ 0 w 1"/>
                  <a:gd name="T15" fmla="*/ 2 h 2"/>
                  <a:gd name="T16" fmla="*/ 0 w 1"/>
                  <a:gd name="T1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49" name="Freeform 84">
                <a:extLst>
                  <a:ext uri="{FF2B5EF4-FFF2-40B4-BE49-F238E27FC236}">
                    <a16:creationId xmlns:a16="http://schemas.microsoft.com/office/drawing/2014/main" id="{720870CB-196D-417C-B32F-173CD701CE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2" y="2233"/>
                <a:ext cx="5" cy="5"/>
              </a:xfrm>
              <a:custGeom>
                <a:avLst/>
                <a:gdLst>
                  <a:gd name="T0" fmla="*/ 1 w 2"/>
                  <a:gd name="T1" fmla="*/ 2 h 2"/>
                  <a:gd name="T2" fmla="*/ 1 w 2"/>
                  <a:gd name="T3" fmla="*/ 1 h 2"/>
                  <a:gd name="T4" fmla="*/ 1 w 2"/>
                  <a:gd name="T5" fmla="*/ 0 h 2"/>
                  <a:gd name="T6" fmla="*/ 2 w 2"/>
                  <a:gd name="T7" fmla="*/ 0 h 2"/>
                  <a:gd name="T8" fmla="*/ 2 w 2"/>
                  <a:gd name="T9" fmla="*/ 0 h 2"/>
                  <a:gd name="T10" fmla="*/ 1 w 2"/>
                  <a:gd name="T11" fmla="*/ 0 h 2"/>
                  <a:gd name="T12" fmla="*/ 1 w 2"/>
                  <a:gd name="T13" fmla="*/ 0 h 2"/>
                  <a:gd name="T14" fmla="*/ 1 w 2"/>
                  <a:gd name="T15" fmla="*/ 1 h 2"/>
                  <a:gd name="T16" fmla="*/ 1 w 2"/>
                  <a:gd name="T17" fmla="*/ 2 h 2"/>
                  <a:gd name="T18" fmla="*/ 1 w 2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1" y="2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50" name="Freeform 85">
                <a:extLst>
                  <a:ext uri="{FF2B5EF4-FFF2-40B4-BE49-F238E27FC236}">
                    <a16:creationId xmlns:a16="http://schemas.microsoft.com/office/drawing/2014/main" id="{3167AE92-D223-4E18-B55A-47C075319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6" y="2235"/>
                <a:ext cx="21" cy="7"/>
              </a:xfrm>
              <a:custGeom>
                <a:avLst/>
                <a:gdLst>
                  <a:gd name="T0" fmla="*/ 1 w 9"/>
                  <a:gd name="T1" fmla="*/ 0 h 3"/>
                  <a:gd name="T2" fmla="*/ 1 w 9"/>
                  <a:gd name="T3" fmla="*/ 0 h 3"/>
                  <a:gd name="T4" fmla="*/ 1 w 9"/>
                  <a:gd name="T5" fmla="*/ 0 h 3"/>
                  <a:gd name="T6" fmla="*/ 0 w 9"/>
                  <a:gd name="T7" fmla="*/ 1 h 3"/>
                  <a:gd name="T8" fmla="*/ 1 w 9"/>
                  <a:gd name="T9" fmla="*/ 2 h 3"/>
                  <a:gd name="T10" fmla="*/ 2 w 9"/>
                  <a:gd name="T11" fmla="*/ 2 h 3"/>
                  <a:gd name="T12" fmla="*/ 3 w 9"/>
                  <a:gd name="T13" fmla="*/ 2 h 3"/>
                  <a:gd name="T14" fmla="*/ 4 w 9"/>
                  <a:gd name="T15" fmla="*/ 3 h 3"/>
                  <a:gd name="T16" fmla="*/ 5 w 9"/>
                  <a:gd name="T17" fmla="*/ 3 h 3"/>
                  <a:gd name="T18" fmla="*/ 6 w 9"/>
                  <a:gd name="T19" fmla="*/ 3 h 3"/>
                  <a:gd name="T20" fmla="*/ 8 w 9"/>
                  <a:gd name="T21" fmla="*/ 3 h 3"/>
                  <a:gd name="T22" fmla="*/ 9 w 9"/>
                  <a:gd name="T23" fmla="*/ 2 h 3"/>
                  <a:gd name="T24" fmla="*/ 9 w 9"/>
                  <a:gd name="T25" fmla="*/ 2 h 3"/>
                  <a:gd name="T26" fmla="*/ 9 w 9"/>
                  <a:gd name="T27" fmla="*/ 1 h 3"/>
                  <a:gd name="T28" fmla="*/ 9 w 9"/>
                  <a:gd name="T29" fmla="*/ 1 h 3"/>
                  <a:gd name="T30" fmla="*/ 8 w 9"/>
                  <a:gd name="T31" fmla="*/ 1 h 3"/>
                  <a:gd name="T32" fmla="*/ 8 w 9"/>
                  <a:gd name="T33" fmla="*/ 2 h 3"/>
                  <a:gd name="T34" fmla="*/ 8 w 9"/>
                  <a:gd name="T35" fmla="*/ 1 h 3"/>
                  <a:gd name="T36" fmla="*/ 8 w 9"/>
                  <a:gd name="T37" fmla="*/ 1 h 3"/>
                  <a:gd name="T38" fmla="*/ 7 w 9"/>
                  <a:gd name="T39" fmla="*/ 1 h 3"/>
                  <a:gd name="T40" fmla="*/ 7 w 9"/>
                  <a:gd name="T41" fmla="*/ 1 h 3"/>
                  <a:gd name="T42" fmla="*/ 6 w 9"/>
                  <a:gd name="T43" fmla="*/ 1 h 3"/>
                  <a:gd name="T44" fmla="*/ 6 w 9"/>
                  <a:gd name="T45" fmla="*/ 1 h 3"/>
                  <a:gd name="T46" fmla="*/ 5 w 9"/>
                  <a:gd name="T47" fmla="*/ 1 h 3"/>
                  <a:gd name="T48" fmla="*/ 4 w 9"/>
                  <a:gd name="T49" fmla="*/ 1 h 3"/>
                  <a:gd name="T50" fmla="*/ 4 w 9"/>
                  <a:gd name="T51" fmla="*/ 1 h 3"/>
                  <a:gd name="T52" fmla="*/ 3 w 9"/>
                  <a:gd name="T53" fmla="*/ 1 h 3"/>
                  <a:gd name="T54" fmla="*/ 3 w 9"/>
                  <a:gd name="T55" fmla="*/ 0 h 3"/>
                  <a:gd name="T56" fmla="*/ 3 w 9"/>
                  <a:gd name="T57" fmla="*/ 0 h 3"/>
                  <a:gd name="T58" fmla="*/ 3 w 9"/>
                  <a:gd name="T59" fmla="*/ 0 h 3"/>
                  <a:gd name="T60" fmla="*/ 2 w 9"/>
                  <a:gd name="T61" fmla="*/ 0 h 3"/>
                  <a:gd name="T62" fmla="*/ 1 w 9"/>
                  <a:gd name="T6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" h="3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4" y="2"/>
                      <a:pt x="4" y="2"/>
                      <a:pt x="4" y="3"/>
                    </a:cubicBezTo>
                    <a:cubicBezTo>
                      <a:pt x="4" y="3"/>
                      <a:pt x="5" y="3"/>
                      <a:pt x="5" y="3"/>
                    </a:cubicBezTo>
                    <a:cubicBezTo>
                      <a:pt x="5" y="3"/>
                      <a:pt x="6" y="3"/>
                      <a:pt x="6" y="3"/>
                    </a:cubicBezTo>
                    <a:cubicBezTo>
                      <a:pt x="7" y="3"/>
                      <a:pt x="8" y="3"/>
                      <a:pt x="8" y="3"/>
                    </a:cubicBezTo>
                    <a:cubicBezTo>
                      <a:pt x="8" y="3"/>
                      <a:pt x="9" y="2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2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8" y="1"/>
                    </a:cubicBezTo>
                    <a:cubicBezTo>
                      <a:pt x="8" y="1"/>
                      <a:pt x="8" y="2"/>
                      <a:pt x="8" y="2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51" name="Freeform 86">
                <a:extLst>
                  <a:ext uri="{FF2B5EF4-FFF2-40B4-BE49-F238E27FC236}">
                    <a16:creationId xmlns:a16="http://schemas.microsoft.com/office/drawing/2014/main" id="{3FFE8802-E0F0-414C-9ED1-8AD7F6F64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1" y="2228"/>
                <a:ext cx="2" cy="2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1 h 1"/>
                  <a:gd name="T4" fmla="*/ 1 w 1"/>
                  <a:gd name="T5" fmla="*/ 0 h 1"/>
                  <a:gd name="T6" fmla="*/ 0 w 1"/>
                  <a:gd name="T7" fmla="*/ 0 h 1"/>
                  <a:gd name="T8" fmla="*/ 0 w 1"/>
                  <a:gd name="T9" fmla="*/ 0 h 1"/>
                  <a:gd name="T10" fmla="*/ 0 w 1"/>
                  <a:gd name="T11" fmla="*/ 1 h 1"/>
                  <a:gd name="T12" fmla="*/ 1 w 1"/>
                  <a:gd name="T13" fmla="*/ 1 h 1"/>
                  <a:gd name="T14" fmla="*/ 1 w 1"/>
                  <a:gd name="T1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52" name="Freeform 87">
                <a:extLst>
                  <a:ext uri="{FF2B5EF4-FFF2-40B4-BE49-F238E27FC236}">
                    <a16:creationId xmlns:a16="http://schemas.microsoft.com/office/drawing/2014/main" id="{6F6D850E-098F-4CAE-9F72-92CAAB63D0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3" y="2200"/>
                <a:ext cx="12" cy="11"/>
              </a:xfrm>
              <a:custGeom>
                <a:avLst/>
                <a:gdLst>
                  <a:gd name="T0" fmla="*/ 4 w 5"/>
                  <a:gd name="T1" fmla="*/ 5 h 5"/>
                  <a:gd name="T2" fmla="*/ 5 w 5"/>
                  <a:gd name="T3" fmla="*/ 5 h 5"/>
                  <a:gd name="T4" fmla="*/ 5 w 5"/>
                  <a:gd name="T5" fmla="*/ 5 h 5"/>
                  <a:gd name="T6" fmla="*/ 5 w 5"/>
                  <a:gd name="T7" fmla="*/ 4 h 5"/>
                  <a:gd name="T8" fmla="*/ 5 w 5"/>
                  <a:gd name="T9" fmla="*/ 4 h 5"/>
                  <a:gd name="T10" fmla="*/ 4 w 5"/>
                  <a:gd name="T11" fmla="*/ 4 h 5"/>
                  <a:gd name="T12" fmla="*/ 4 w 5"/>
                  <a:gd name="T13" fmla="*/ 2 h 5"/>
                  <a:gd name="T14" fmla="*/ 4 w 5"/>
                  <a:gd name="T15" fmla="*/ 2 h 5"/>
                  <a:gd name="T16" fmla="*/ 4 w 5"/>
                  <a:gd name="T17" fmla="*/ 2 h 5"/>
                  <a:gd name="T18" fmla="*/ 3 w 5"/>
                  <a:gd name="T19" fmla="*/ 2 h 5"/>
                  <a:gd name="T20" fmla="*/ 2 w 5"/>
                  <a:gd name="T21" fmla="*/ 1 h 5"/>
                  <a:gd name="T22" fmla="*/ 1 w 5"/>
                  <a:gd name="T23" fmla="*/ 1 h 5"/>
                  <a:gd name="T24" fmla="*/ 0 w 5"/>
                  <a:gd name="T25" fmla="*/ 1 h 5"/>
                  <a:gd name="T26" fmla="*/ 0 w 5"/>
                  <a:gd name="T27" fmla="*/ 1 h 5"/>
                  <a:gd name="T28" fmla="*/ 1 w 5"/>
                  <a:gd name="T29" fmla="*/ 2 h 5"/>
                  <a:gd name="T30" fmla="*/ 2 w 5"/>
                  <a:gd name="T31" fmla="*/ 3 h 5"/>
                  <a:gd name="T32" fmla="*/ 3 w 5"/>
                  <a:gd name="T33" fmla="*/ 3 h 5"/>
                  <a:gd name="T34" fmla="*/ 3 w 5"/>
                  <a:gd name="T35" fmla="*/ 4 h 5"/>
                  <a:gd name="T36" fmla="*/ 4 w 5"/>
                  <a:gd name="T3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" h="5">
                    <a:moveTo>
                      <a:pt x="4" y="5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3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2"/>
                    </a:cubicBezTo>
                    <a:cubicBezTo>
                      <a:pt x="1" y="2"/>
                      <a:pt x="2" y="2"/>
                      <a:pt x="2" y="3"/>
                    </a:cubicBezTo>
                    <a:cubicBezTo>
                      <a:pt x="2" y="3"/>
                      <a:pt x="3" y="3"/>
                      <a:pt x="3" y="3"/>
                    </a:cubicBezTo>
                    <a:cubicBezTo>
                      <a:pt x="3" y="3"/>
                      <a:pt x="3" y="4"/>
                      <a:pt x="3" y="4"/>
                    </a:cubicBezTo>
                    <a:cubicBezTo>
                      <a:pt x="4" y="4"/>
                      <a:pt x="4" y="5"/>
                      <a:pt x="4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53" name="Freeform 88">
                <a:extLst>
                  <a:ext uri="{FF2B5EF4-FFF2-40B4-BE49-F238E27FC236}">
                    <a16:creationId xmlns:a16="http://schemas.microsoft.com/office/drawing/2014/main" id="{F9BB340C-6601-4E19-96EF-76DCDCA5F8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0" y="2219"/>
                <a:ext cx="2" cy="2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1 w 1"/>
                  <a:gd name="T5" fmla="*/ 1 h 1"/>
                  <a:gd name="T6" fmla="*/ 1 w 1"/>
                  <a:gd name="T7" fmla="*/ 1 h 1"/>
                  <a:gd name="T8" fmla="*/ 1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54" name="Freeform 89">
                <a:extLst>
                  <a:ext uri="{FF2B5EF4-FFF2-40B4-BE49-F238E27FC236}">
                    <a16:creationId xmlns:a16="http://schemas.microsoft.com/office/drawing/2014/main" id="{1B4DA132-5AE2-40F7-8C34-33FDEC0AF5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8" y="2219"/>
                <a:ext cx="2" cy="2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1 w 1"/>
                  <a:gd name="T5" fmla="*/ 1 h 1"/>
                  <a:gd name="T6" fmla="*/ 1 w 1"/>
                  <a:gd name="T7" fmla="*/ 0 h 1"/>
                  <a:gd name="T8" fmla="*/ 1 w 1"/>
                  <a:gd name="T9" fmla="*/ 0 h 1"/>
                  <a:gd name="T10" fmla="*/ 0 w 1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55" name="Freeform 90">
                <a:extLst>
                  <a:ext uri="{FF2B5EF4-FFF2-40B4-BE49-F238E27FC236}">
                    <a16:creationId xmlns:a16="http://schemas.microsoft.com/office/drawing/2014/main" id="{7B4F6AA8-617F-4722-90E4-98E020CD11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197"/>
                <a:ext cx="5" cy="5"/>
              </a:xfrm>
              <a:custGeom>
                <a:avLst/>
                <a:gdLst>
                  <a:gd name="T0" fmla="*/ 2 w 2"/>
                  <a:gd name="T1" fmla="*/ 1 h 2"/>
                  <a:gd name="T2" fmla="*/ 2 w 2"/>
                  <a:gd name="T3" fmla="*/ 1 h 2"/>
                  <a:gd name="T4" fmla="*/ 1 w 2"/>
                  <a:gd name="T5" fmla="*/ 0 h 2"/>
                  <a:gd name="T6" fmla="*/ 1 w 2"/>
                  <a:gd name="T7" fmla="*/ 0 h 2"/>
                  <a:gd name="T8" fmla="*/ 1 w 2"/>
                  <a:gd name="T9" fmla="*/ 0 h 2"/>
                  <a:gd name="T10" fmla="*/ 0 w 2"/>
                  <a:gd name="T11" fmla="*/ 0 h 2"/>
                  <a:gd name="T12" fmla="*/ 0 w 2"/>
                  <a:gd name="T13" fmla="*/ 1 h 2"/>
                  <a:gd name="T14" fmla="*/ 0 w 2"/>
                  <a:gd name="T15" fmla="*/ 1 h 2"/>
                  <a:gd name="T16" fmla="*/ 1 w 2"/>
                  <a:gd name="T17" fmla="*/ 1 h 2"/>
                  <a:gd name="T18" fmla="*/ 1 w 2"/>
                  <a:gd name="T19" fmla="*/ 2 h 2"/>
                  <a:gd name="T20" fmla="*/ 2 w 2"/>
                  <a:gd name="T2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2"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1" y="2"/>
                      <a:pt x="2" y="2"/>
                      <a:pt x="2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56" name="Freeform 91">
                <a:extLst>
                  <a:ext uri="{FF2B5EF4-FFF2-40B4-BE49-F238E27FC236}">
                    <a16:creationId xmlns:a16="http://schemas.microsoft.com/office/drawing/2014/main" id="{0E20282E-708B-427B-8877-8EE632FC0A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2" y="2482"/>
                <a:ext cx="17" cy="38"/>
              </a:xfrm>
              <a:custGeom>
                <a:avLst/>
                <a:gdLst>
                  <a:gd name="T0" fmla="*/ 6 w 7"/>
                  <a:gd name="T1" fmla="*/ 7 h 16"/>
                  <a:gd name="T2" fmla="*/ 6 w 7"/>
                  <a:gd name="T3" fmla="*/ 6 h 16"/>
                  <a:gd name="T4" fmla="*/ 5 w 7"/>
                  <a:gd name="T5" fmla="*/ 4 h 16"/>
                  <a:gd name="T6" fmla="*/ 3 w 7"/>
                  <a:gd name="T7" fmla="*/ 1 h 16"/>
                  <a:gd name="T8" fmla="*/ 1 w 7"/>
                  <a:gd name="T9" fmla="*/ 0 h 16"/>
                  <a:gd name="T10" fmla="*/ 1 w 7"/>
                  <a:gd name="T11" fmla="*/ 1 h 16"/>
                  <a:gd name="T12" fmla="*/ 1 w 7"/>
                  <a:gd name="T13" fmla="*/ 1 h 16"/>
                  <a:gd name="T14" fmla="*/ 1 w 7"/>
                  <a:gd name="T15" fmla="*/ 3 h 16"/>
                  <a:gd name="T16" fmla="*/ 1 w 7"/>
                  <a:gd name="T17" fmla="*/ 4 h 16"/>
                  <a:gd name="T18" fmla="*/ 0 w 7"/>
                  <a:gd name="T19" fmla="*/ 7 h 16"/>
                  <a:gd name="T20" fmla="*/ 0 w 7"/>
                  <a:gd name="T21" fmla="*/ 8 h 16"/>
                  <a:gd name="T22" fmla="*/ 1 w 7"/>
                  <a:gd name="T23" fmla="*/ 11 h 16"/>
                  <a:gd name="T24" fmla="*/ 1 w 7"/>
                  <a:gd name="T25" fmla="*/ 13 h 16"/>
                  <a:gd name="T26" fmla="*/ 1 w 7"/>
                  <a:gd name="T27" fmla="*/ 14 h 16"/>
                  <a:gd name="T28" fmla="*/ 3 w 7"/>
                  <a:gd name="T29" fmla="*/ 16 h 16"/>
                  <a:gd name="T30" fmla="*/ 3 w 7"/>
                  <a:gd name="T31" fmla="*/ 15 h 16"/>
                  <a:gd name="T32" fmla="*/ 5 w 7"/>
                  <a:gd name="T33" fmla="*/ 14 h 16"/>
                  <a:gd name="T34" fmla="*/ 6 w 7"/>
                  <a:gd name="T35" fmla="*/ 13 h 16"/>
                  <a:gd name="T36" fmla="*/ 7 w 7"/>
                  <a:gd name="T37" fmla="*/ 12 h 16"/>
                  <a:gd name="T38" fmla="*/ 7 w 7"/>
                  <a:gd name="T39" fmla="*/ 9 h 16"/>
                  <a:gd name="T40" fmla="*/ 7 w 7"/>
                  <a:gd name="T41" fmla="*/ 8 h 16"/>
                  <a:gd name="T42" fmla="*/ 6 w 7"/>
                  <a:gd name="T43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" h="16">
                    <a:moveTo>
                      <a:pt x="6" y="7"/>
                    </a:move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5" y="4"/>
                      <a:pt x="5" y="4"/>
                    </a:cubicBezTo>
                    <a:cubicBezTo>
                      <a:pt x="4" y="3"/>
                      <a:pt x="3" y="2"/>
                      <a:pt x="3" y="1"/>
                    </a:cubicBezTo>
                    <a:cubicBezTo>
                      <a:pt x="2" y="1"/>
                      <a:pt x="2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2" y="2"/>
                      <a:pt x="1" y="3"/>
                    </a:cubicBezTo>
                    <a:cubicBezTo>
                      <a:pt x="0" y="4"/>
                      <a:pt x="1" y="4"/>
                      <a:pt x="1" y="4"/>
                    </a:cubicBezTo>
                    <a:cubicBezTo>
                      <a:pt x="1" y="5"/>
                      <a:pt x="1" y="6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0" y="9"/>
                      <a:pt x="0" y="9"/>
                      <a:pt x="1" y="11"/>
                    </a:cubicBezTo>
                    <a:cubicBezTo>
                      <a:pt x="1" y="12"/>
                      <a:pt x="1" y="12"/>
                      <a:pt x="1" y="13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2" y="14"/>
                      <a:pt x="3" y="15"/>
                      <a:pt x="3" y="16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4" y="15"/>
                      <a:pt x="5" y="14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7" y="12"/>
                      <a:pt x="7" y="12"/>
                    </a:cubicBezTo>
                    <a:cubicBezTo>
                      <a:pt x="7" y="12"/>
                      <a:pt x="7" y="10"/>
                      <a:pt x="7" y="9"/>
                    </a:cubicBezTo>
                    <a:cubicBezTo>
                      <a:pt x="7" y="9"/>
                      <a:pt x="7" y="8"/>
                      <a:pt x="7" y="8"/>
                    </a:cubicBezTo>
                    <a:cubicBezTo>
                      <a:pt x="7" y="8"/>
                      <a:pt x="6" y="7"/>
                      <a:pt x="6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57" name="Freeform 92">
                <a:extLst>
                  <a:ext uri="{FF2B5EF4-FFF2-40B4-BE49-F238E27FC236}">
                    <a16:creationId xmlns:a16="http://schemas.microsoft.com/office/drawing/2014/main" id="{5B675951-B4E9-4F74-BB60-A94157DF42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10" y="2022"/>
                <a:ext cx="38" cy="45"/>
              </a:xfrm>
              <a:custGeom>
                <a:avLst/>
                <a:gdLst>
                  <a:gd name="T0" fmla="*/ 1 w 16"/>
                  <a:gd name="T1" fmla="*/ 17 h 19"/>
                  <a:gd name="T2" fmla="*/ 2 w 16"/>
                  <a:gd name="T3" fmla="*/ 18 h 19"/>
                  <a:gd name="T4" fmla="*/ 5 w 16"/>
                  <a:gd name="T5" fmla="*/ 18 h 19"/>
                  <a:gd name="T6" fmla="*/ 6 w 16"/>
                  <a:gd name="T7" fmla="*/ 18 h 19"/>
                  <a:gd name="T8" fmla="*/ 7 w 16"/>
                  <a:gd name="T9" fmla="*/ 17 h 19"/>
                  <a:gd name="T10" fmla="*/ 8 w 16"/>
                  <a:gd name="T11" fmla="*/ 16 h 19"/>
                  <a:gd name="T12" fmla="*/ 10 w 16"/>
                  <a:gd name="T13" fmla="*/ 16 h 19"/>
                  <a:gd name="T14" fmla="*/ 12 w 16"/>
                  <a:gd name="T15" fmla="*/ 15 h 19"/>
                  <a:gd name="T16" fmla="*/ 13 w 16"/>
                  <a:gd name="T17" fmla="*/ 14 h 19"/>
                  <a:gd name="T18" fmla="*/ 14 w 16"/>
                  <a:gd name="T19" fmla="*/ 11 h 19"/>
                  <a:gd name="T20" fmla="*/ 13 w 16"/>
                  <a:gd name="T21" fmla="*/ 10 h 19"/>
                  <a:gd name="T22" fmla="*/ 13 w 16"/>
                  <a:gd name="T23" fmla="*/ 7 h 19"/>
                  <a:gd name="T24" fmla="*/ 14 w 16"/>
                  <a:gd name="T25" fmla="*/ 7 h 19"/>
                  <a:gd name="T26" fmla="*/ 14 w 16"/>
                  <a:gd name="T27" fmla="*/ 6 h 19"/>
                  <a:gd name="T28" fmla="*/ 16 w 16"/>
                  <a:gd name="T29" fmla="*/ 4 h 19"/>
                  <a:gd name="T30" fmla="*/ 14 w 16"/>
                  <a:gd name="T31" fmla="*/ 3 h 19"/>
                  <a:gd name="T32" fmla="*/ 14 w 16"/>
                  <a:gd name="T33" fmla="*/ 2 h 19"/>
                  <a:gd name="T34" fmla="*/ 13 w 16"/>
                  <a:gd name="T35" fmla="*/ 1 h 19"/>
                  <a:gd name="T36" fmla="*/ 11 w 16"/>
                  <a:gd name="T37" fmla="*/ 1 h 19"/>
                  <a:gd name="T38" fmla="*/ 9 w 16"/>
                  <a:gd name="T39" fmla="*/ 0 h 19"/>
                  <a:gd name="T40" fmla="*/ 8 w 16"/>
                  <a:gd name="T41" fmla="*/ 1 h 19"/>
                  <a:gd name="T42" fmla="*/ 7 w 16"/>
                  <a:gd name="T43" fmla="*/ 2 h 19"/>
                  <a:gd name="T44" fmla="*/ 6 w 16"/>
                  <a:gd name="T45" fmla="*/ 3 h 19"/>
                  <a:gd name="T46" fmla="*/ 7 w 16"/>
                  <a:gd name="T47" fmla="*/ 4 h 19"/>
                  <a:gd name="T48" fmla="*/ 6 w 16"/>
                  <a:gd name="T49" fmla="*/ 5 h 19"/>
                  <a:gd name="T50" fmla="*/ 5 w 16"/>
                  <a:gd name="T51" fmla="*/ 5 h 19"/>
                  <a:gd name="T52" fmla="*/ 3 w 16"/>
                  <a:gd name="T53" fmla="*/ 5 h 19"/>
                  <a:gd name="T54" fmla="*/ 1 w 16"/>
                  <a:gd name="T55" fmla="*/ 6 h 19"/>
                  <a:gd name="T56" fmla="*/ 2 w 16"/>
                  <a:gd name="T57" fmla="*/ 7 h 19"/>
                  <a:gd name="T58" fmla="*/ 1 w 16"/>
                  <a:gd name="T59" fmla="*/ 9 h 19"/>
                  <a:gd name="T60" fmla="*/ 1 w 16"/>
                  <a:gd name="T61" fmla="*/ 10 h 19"/>
                  <a:gd name="T62" fmla="*/ 3 w 16"/>
                  <a:gd name="T63" fmla="*/ 10 h 19"/>
                  <a:gd name="T64" fmla="*/ 4 w 16"/>
                  <a:gd name="T65" fmla="*/ 11 h 19"/>
                  <a:gd name="T66" fmla="*/ 3 w 16"/>
                  <a:gd name="T67" fmla="*/ 12 h 19"/>
                  <a:gd name="T68" fmla="*/ 4 w 16"/>
                  <a:gd name="T69" fmla="*/ 13 h 19"/>
                  <a:gd name="T70" fmla="*/ 2 w 16"/>
                  <a:gd name="T71" fmla="*/ 14 h 19"/>
                  <a:gd name="T72" fmla="*/ 2 w 16"/>
                  <a:gd name="T73" fmla="*/ 15 h 19"/>
                  <a:gd name="T74" fmla="*/ 0 w 16"/>
                  <a:gd name="T75" fmla="*/ 15 h 19"/>
                  <a:gd name="T76" fmla="*/ 1 w 16"/>
                  <a:gd name="T77" fmla="*/ 16 h 19"/>
                  <a:gd name="T78" fmla="*/ 12 w 16"/>
                  <a:gd name="T79" fmla="*/ 6 h 19"/>
                  <a:gd name="T80" fmla="*/ 12 w 16"/>
                  <a:gd name="T81" fmla="*/ 6 h 19"/>
                  <a:gd name="T82" fmla="*/ 12 w 16"/>
                  <a:gd name="T83" fmla="*/ 6 h 19"/>
                  <a:gd name="T84" fmla="*/ 11 w 16"/>
                  <a:gd name="T85" fmla="*/ 5 h 19"/>
                  <a:gd name="T86" fmla="*/ 9 w 16"/>
                  <a:gd name="T87" fmla="*/ 2 h 19"/>
                  <a:gd name="T88" fmla="*/ 10 w 16"/>
                  <a:gd name="T89" fmla="*/ 2 h 19"/>
                  <a:gd name="T90" fmla="*/ 9 w 16"/>
                  <a:gd name="T91" fmla="*/ 3 h 19"/>
                  <a:gd name="T92" fmla="*/ 10 w 16"/>
                  <a:gd name="T93" fmla="*/ 5 h 19"/>
                  <a:gd name="T94" fmla="*/ 8 w 16"/>
                  <a:gd name="T95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6" h="19">
                    <a:moveTo>
                      <a:pt x="1" y="16"/>
                    </a:moveTo>
                    <a:cubicBezTo>
                      <a:pt x="1" y="16"/>
                      <a:pt x="0" y="17"/>
                      <a:pt x="1" y="17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7"/>
                      <a:pt x="2" y="17"/>
                      <a:pt x="2" y="17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2" y="19"/>
                      <a:pt x="3" y="19"/>
                      <a:pt x="3" y="19"/>
                    </a:cubicBezTo>
                    <a:cubicBezTo>
                      <a:pt x="4" y="19"/>
                      <a:pt x="4" y="18"/>
                      <a:pt x="5" y="18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8"/>
                      <a:pt x="6" y="18"/>
                      <a:pt x="6" y="1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8"/>
                      <a:pt x="6" y="17"/>
                      <a:pt x="6" y="17"/>
                    </a:cubicBezTo>
                    <a:cubicBezTo>
                      <a:pt x="6" y="17"/>
                      <a:pt x="6" y="17"/>
                      <a:pt x="7" y="17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7"/>
                      <a:pt x="8" y="17"/>
                      <a:pt x="8" y="17"/>
                    </a:cubicBezTo>
                    <a:cubicBezTo>
                      <a:pt x="8" y="17"/>
                      <a:pt x="8" y="16"/>
                      <a:pt x="8" y="16"/>
                    </a:cubicBezTo>
                    <a:cubicBezTo>
                      <a:pt x="8" y="16"/>
                      <a:pt x="9" y="16"/>
                      <a:pt x="9" y="16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9" y="16"/>
                      <a:pt x="9" y="16"/>
                      <a:pt x="10" y="16"/>
                    </a:cubicBezTo>
                    <a:cubicBezTo>
                      <a:pt x="10" y="16"/>
                      <a:pt x="10" y="16"/>
                      <a:pt x="11" y="16"/>
                    </a:cubicBezTo>
                    <a:cubicBezTo>
                      <a:pt x="11" y="16"/>
                      <a:pt x="11" y="16"/>
                      <a:pt x="11" y="15"/>
                    </a:cubicBezTo>
                    <a:cubicBezTo>
                      <a:pt x="11" y="15"/>
                      <a:pt x="12" y="15"/>
                      <a:pt x="12" y="15"/>
                    </a:cubicBezTo>
                    <a:cubicBezTo>
                      <a:pt x="12" y="15"/>
                      <a:pt x="12" y="16"/>
                      <a:pt x="13" y="15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2" y="15"/>
                      <a:pt x="12" y="15"/>
                      <a:pt x="13" y="14"/>
                    </a:cubicBezTo>
                    <a:cubicBezTo>
                      <a:pt x="13" y="14"/>
                      <a:pt x="13" y="14"/>
                      <a:pt x="13" y="13"/>
                    </a:cubicBezTo>
                    <a:cubicBezTo>
                      <a:pt x="14" y="13"/>
                      <a:pt x="14" y="12"/>
                      <a:pt x="14" y="12"/>
                    </a:cubicBezTo>
                    <a:cubicBezTo>
                      <a:pt x="14" y="12"/>
                      <a:pt x="14" y="11"/>
                      <a:pt x="14" y="11"/>
                    </a:cubicBezTo>
                    <a:cubicBezTo>
                      <a:pt x="14" y="11"/>
                      <a:pt x="14" y="10"/>
                      <a:pt x="14" y="10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10"/>
                      <a:pt x="14" y="10"/>
                      <a:pt x="13" y="10"/>
                    </a:cubicBezTo>
                    <a:cubicBezTo>
                      <a:pt x="13" y="10"/>
                      <a:pt x="13" y="9"/>
                      <a:pt x="13" y="9"/>
                    </a:cubicBezTo>
                    <a:cubicBezTo>
                      <a:pt x="14" y="9"/>
                      <a:pt x="14" y="9"/>
                      <a:pt x="13" y="9"/>
                    </a:cubicBezTo>
                    <a:cubicBezTo>
                      <a:pt x="13" y="8"/>
                      <a:pt x="13" y="8"/>
                      <a:pt x="13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7"/>
                      <a:pt x="13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5"/>
                      <a:pt x="16" y="5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5" y="4"/>
                      <a:pt x="15" y="4"/>
                      <a:pt x="15" y="3"/>
                    </a:cubicBezTo>
                    <a:cubicBezTo>
                      <a:pt x="15" y="3"/>
                      <a:pt x="15" y="3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5" y="3"/>
                      <a:pt x="14" y="2"/>
                      <a:pt x="14" y="2"/>
                    </a:cubicBezTo>
                    <a:cubicBezTo>
                      <a:pt x="14" y="2"/>
                      <a:pt x="14" y="2"/>
                      <a:pt x="14" y="1"/>
                    </a:cubicBezTo>
                    <a:cubicBezTo>
                      <a:pt x="14" y="1"/>
                      <a:pt x="14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0"/>
                      <a:pt x="11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6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7" y="3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4"/>
                      <a:pt x="6" y="4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6"/>
                      <a:pt x="6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4" y="5"/>
                      <a:pt x="4" y="5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5"/>
                      <a:pt x="4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1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1" y="8"/>
                      <a:pt x="1" y="8"/>
                    </a:cubicBezTo>
                    <a:cubicBezTo>
                      <a:pt x="1" y="8"/>
                      <a:pt x="1" y="9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1" y="10"/>
                      <a:pt x="1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3" y="10"/>
                      <a:pt x="3" y="10"/>
                    </a:cubicBezTo>
                    <a:cubicBezTo>
                      <a:pt x="3" y="10"/>
                      <a:pt x="3" y="10"/>
                      <a:pt x="4" y="10"/>
                    </a:cubicBezTo>
                    <a:cubicBezTo>
                      <a:pt x="4" y="10"/>
                      <a:pt x="5" y="10"/>
                      <a:pt x="5" y="10"/>
                    </a:cubicBezTo>
                    <a:cubicBezTo>
                      <a:pt x="5" y="11"/>
                      <a:pt x="5" y="11"/>
                      <a:pt x="4" y="11"/>
                    </a:cubicBezTo>
                    <a:cubicBezTo>
                      <a:pt x="4" y="11"/>
                      <a:pt x="4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3"/>
                    </a:cubicBezTo>
                    <a:cubicBezTo>
                      <a:pt x="2" y="13"/>
                      <a:pt x="3" y="13"/>
                      <a:pt x="3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4" y="13"/>
                      <a:pt x="4" y="13"/>
                      <a:pt x="3" y="13"/>
                    </a:cubicBezTo>
                    <a:cubicBezTo>
                      <a:pt x="3" y="13"/>
                      <a:pt x="3" y="14"/>
                      <a:pt x="2" y="14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2" y="14"/>
                      <a:pt x="2" y="15"/>
                      <a:pt x="2" y="15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1" y="15"/>
                      <a:pt x="0" y="15"/>
                      <a:pt x="0" y="15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0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lose/>
                    <a:moveTo>
                      <a:pt x="12" y="6"/>
                    </a:moveTo>
                    <a:cubicBezTo>
                      <a:pt x="13" y="6"/>
                      <a:pt x="13" y="6"/>
                      <a:pt x="13" y="6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6"/>
                    </a:cubicBezTo>
                    <a:close/>
                    <a:moveTo>
                      <a:pt x="12" y="6"/>
                    </a:move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6"/>
                    </a:cubicBezTo>
                    <a:close/>
                    <a:moveTo>
                      <a:pt x="11" y="5"/>
                    </a:move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5"/>
                      <a:pt x="11" y="5"/>
                      <a:pt x="11" y="5"/>
                    </a:cubicBezTo>
                    <a:close/>
                    <a:moveTo>
                      <a:pt x="9" y="3"/>
                    </a:moveTo>
                    <a:cubicBezTo>
                      <a:pt x="9" y="2"/>
                      <a:pt x="9" y="2"/>
                      <a:pt x="9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lose/>
                    <a:moveTo>
                      <a:pt x="9" y="6"/>
                    </a:move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lnTo>
                      <a:pt x="9" y="6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58" name="Freeform 93">
                <a:extLst>
                  <a:ext uri="{FF2B5EF4-FFF2-40B4-BE49-F238E27FC236}">
                    <a16:creationId xmlns:a16="http://schemas.microsoft.com/office/drawing/2014/main" id="{14A74609-A446-4A8D-BE2B-F0B05EEDDA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9" y="2328"/>
                <a:ext cx="3" cy="4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0 h 2"/>
                  <a:gd name="T4" fmla="*/ 0 w 1"/>
                  <a:gd name="T5" fmla="*/ 1 h 2"/>
                  <a:gd name="T6" fmla="*/ 1 w 1"/>
                  <a:gd name="T7" fmla="*/ 1 h 2"/>
                  <a:gd name="T8" fmla="*/ 1 w 1"/>
                  <a:gd name="T9" fmla="*/ 2 h 2"/>
                  <a:gd name="T10" fmla="*/ 1 w 1"/>
                  <a:gd name="T11" fmla="*/ 1 h 2"/>
                  <a:gd name="T12" fmla="*/ 1 w 1"/>
                  <a:gd name="T13" fmla="*/ 1 h 2"/>
                  <a:gd name="T14" fmla="*/ 1 w 1"/>
                  <a:gd name="T15" fmla="*/ 1 h 2"/>
                  <a:gd name="T16" fmla="*/ 1 w 1"/>
                  <a:gd name="T17" fmla="*/ 0 h 2"/>
                  <a:gd name="T18" fmla="*/ 1 w 1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1" y="2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59" name="Freeform 94">
                <a:extLst>
                  <a:ext uri="{FF2B5EF4-FFF2-40B4-BE49-F238E27FC236}">
                    <a16:creationId xmlns:a16="http://schemas.microsoft.com/office/drawing/2014/main" id="{4804E12F-4B59-4246-8408-C0C4DC8ED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0" y="2520"/>
                <a:ext cx="83" cy="107"/>
              </a:xfrm>
              <a:custGeom>
                <a:avLst/>
                <a:gdLst>
                  <a:gd name="T0" fmla="*/ 34 w 35"/>
                  <a:gd name="T1" fmla="*/ 39 h 45"/>
                  <a:gd name="T2" fmla="*/ 34 w 35"/>
                  <a:gd name="T3" fmla="*/ 38 h 45"/>
                  <a:gd name="T4" fmla="*/ 34 w 35"/>
                  <a:gd name="T5" fmla="*/ 36 h 45"/>
                  <a:gd name="T6" fmla="*/ 34 w 35"/>
                  <a:gd name="T7" fmla="*/ 34 h 45"/>
                  <a:gd name="T8" fmla="*/ 34 w 35"/>
                  <a:gd name="T9" fmla="*/ 32 h 45"/>
                  <a:gd name="T10" fmla="*/ 32 w 35"/>
                  <a:gd name="T11" fmla="*/ 31 h 45"/>
                  <a:gd name="T12" fmla="*/ 30 w 35"/>
                  <a:gd name="T13" fmla="*/ 31 h 45"/>
                  <a:gd name="T14" fmla="*/ 30 w 35"/>
                  <a:gd name="T15" fmla="*/ 30 h 45"/>
                  <a:gd name="T16" fmla="*/ 29 w 35"/>
                  <a:gd name="T17" fmla="*/ 28 h 45"/>
                  <a:gd name="T18" fmla="*/ 28 w 35"/>
                  <a:gd name="T19" fmla="*/ 26 h 45"/>
                  <a:gd name="T20" fmla="*/ 27 w 35"/>
                  <a:gd name="T21" fmla="*/ 24 h 45"/>
                  <a:gd name="T22" fmla="*/ 26 w 35"/>
                  <a:gd name="T23" fmla="*/ 23 h 45"/>
                  <a:gd name="T24" fmla="*/ 27 w 35"/>
                  <a:gd name="T25" fmla="*/ 21 h 45"/>
                  <a:gd name="T26" fmla="*/ 24 w 35"/>
                  <a:gd name="T27" fmla="*/ 21 h 45"/>
                  <a:gd name="T28" fmla="*/ 24 w 35"/>
                  <a:gd name="T29" fmla="*/ 19 h 45"/>
                  <a:gd name="T30" fmla="*/ 22 w 35"/>
                  <a:gd name="T31" fmla="*/ 17 h 45"/>
                  <a:gd name="T32" fmla="*/ 19 w 35"/>
                  <a:gd name="T33" fmla="*/ 16 h 45"/>
                  <a:gd name="T34" fmla="*/ 18 w 35"/>
                  <a:gd name="T35" fmla="*/ 13 h 45"/>
                  <a:gd name="T36" fmla="*/ 18 w 35"/>
                  <a:gd name="T37" fmla="*/ 14 h 45"/>
                  <a:gd name="T38" fmla="*/ 15 w 35"/>
                  <a:gd name="T39" fmla="*/ 12 h 45"/>
                  <a:gd name="T40" fmla="*/ 14 w 35"/>
                  <a:gd name="T41" fmla="*/ 9 h 45"/>
                  <a:gd name="T42" fmla="*/ 11 w 35"/>
                  <a:gd name="T43" fmla="*/ 7 h 45"/>
                  <a:gd name="T44" fmla="*/ 9 w 35"/>
                  <a:gd name="T45" fmla="*/ 6 h 45"/>
                  <a:gd name="T46" fmla="*/ 8 w 35"/>
                  <a:gd name="T47" fmla="*/ 3 h 45"/>
                  <a:gd name="T48" fmla="*/ 5 w 35"/>
                  <a:gd name="T49" fmla="*/ 2 h 45"/>
                  <a:gd name="T50" fmla="*/ 3 w 35"/>
                  <a:gd name="T51" fmla="*/ 1 h 45"/>
                  <a:gd name="T52" fmla="*/ 1 w 35"/>
                  <a:gd name="T53" fmla="*/ 0 h 45"/>
                  <a:gd name="T54" fmla="*/ 0 w 35"/>
                  <a:gd name="T55" fmla="*/ 1 h 45"/>
                  <a:gd name="T56" fmla="*/ 2 w 35"/>
                  <a:gd name="T57" fmla="*/ 6 h 45"/>
                  <a:gd name="T58" fmla="*/ 4 w 35"/>
                  <a:gd name="T59" fmla="*/ 8 h 45"/>
                  <a:gd name="T60" fmla="*/ 5 w 35"/>
                  <a:gd name="T61" fmla="*/ 8 h 45"/>
                  <a:gd name="T62" fmla="*/ 6 w 35"/>
                  <a:gd name="T63" fmla="*/ 10 h 45"/>
                  <a:gd name="T64" fmla="*/ 8 w 35"/>
                  <a:gd name="T65" fmla="*/ 13 h 45"/>
                  <a:gd name="T66" fmla="*/ 9 w 35"/>
                  <a:gd name="T67" fmla="*/ 14 h 45"/>
                  <a:gd name="T68" fmla="*/ 12 w 35"/>
                  <a:gd name="T69" fmla="*/ 16 h 45"/>
                  <a:gd name="T70" fmla="*/ 12 w 35"/>
                  <a:gd name="T71" fmla="*/ 21 h 45"/>
                  <a:gd name="T72" fmla="*/ 15 w 35"/>
                  <a:gd name="T73" fmla="*/ 23 h 45"/>
                  <a:gd name="T74" fmla="*/ 16 w 35"/>
                  <a:gd name="T75" fmla="*/ 25 h 45"/>
                  <a:gd name="T76" fmla="*/ 18 w 35"/>
                  <a:gd name="T77" fmla="*/ 31 h 45"/>
                  <a:gd name="T78" fmla="*/ 20 w 35"/>
                  <a:gd name="T79" fmla="*/ 34 h 45"/>
                  <a:gd name="T80" fmla="*/ 22 w 35"/>
                  <a:gd name="T81" fmla="*/ 37 h 45"/>
                  <a:gd name="T82" fmla="*/ 28 w 35"/>
                  <a:gd name="T83" fmla="*/ 43 h 45"/>
                  <a:gd name="T84" fmla="*/ 30 w 35"/>
                  <a:gd name="T85" fmla="*/ 45 h 45"/>
                  <a:gd name="T86" fmla="*/ 32 w 35"/>
                  <a:gd name="T87" fmla="*/ 44 h 45"/>
                  <a:gd name="T88" fmla="*/ 34 w 35"/>
                  <a:gd name="T89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5" h="45">
                    <a:moveTo>
                      <a:pt x="34" y="45"/>
                    </a:moveTo>
                    <a:cubicBezTo>
                      <a:pt x="34" y="44"/>
                      <a:pt x="34" y="44"/>
                      <a:pt x="34" y="43"/>
                    </a:cubicBezTo>
                    <a:cubicBezTo>
                      <a:pt x="34" y="43"/>
                      <a:pt x="34" y="41"/>
                      <a:pt x="34" y="39"/>
                    </a:cubicBezTo>
                    <a:cubicBezTo>
                      <a:pt x="34" y="39"/>
                      <a:pt x="34" y="39"/>
                      <a:pt x="34" y="39"/>
                    </a:cubicBezTo>
                    <a:cubicBezTo>
                      <a:pt x="34" y="39"/>
                      <a:pt x="34" y="38"/>
                      <a:pt x="34" y="38"/>
                    </a:cubicBezTo>
                    <a:cubicBezTo>
                      <a:pt x="34" y="38"/>
                      <a:pt x="34" y="38"/>
                      <a:pt x="34" y="38"/>
                    </a:cubicBezTo>
                    <a:cubicBezTo>
                      <a:pt x="34" y="37"/>
                      <a:pt x="34" y="37"/>
                      <a:pt x="34" y="37"/>
                    </a:cubicBezTo>
                    <a:cubicBezTo>
                      <a:pt x="34" y="37"/>
                      <a:pt x="34" y="36"/>
                      <a:pt x="34" y="36"/>
                    </a:cubicBezTo>
                    <a:cubicBezTo>
                      <a:pt x="34" y="36"/>
                      <a:pt x="34" y="36"/>
                      <a:pt x="34" y="36"/>
                    </a:cubicBezTo>
                    <a:cubicBezTo>
                      <a:pt x="34" y="36"/>
                      <a:pt x="34" y="36"/>
                      <a:pt x="34" y="36"/>
                    </a:cubicBezTo>
                    <a:cubicBezTo>
                      <a:pt x="35" y="35"/>
                      <a:pt x="35" y="35"/>
                      <a:pt x="35" y="34"/>
                    </a:cubicBezTo>
                    <a:cubicBezTo>
                      <a:pt x="35" y="34"/>
                      <a:pt x="34" y="34"/>
                      <a:pt x="34" y="34"/>
                    </a:cubicBezTo>
                    <a:cubicBezTo>
                      <a:pt x="34" y="34"/>
                      <a:pt x="34" y="33"/>
                      <a:pt x="34" y="33"/>
                    </a:cubicBezTo>
                    <a:cubicBezTo>
                      <a:pt x="34" y="33"/>
                      <a:pt x="34" y="33"/>
                      <a:pt x="34" y="32"/>
                    </a:cubicBezTo>
                    <a:cubicBezTo>
                      <a:pt x="34" y="32"/>
                      <a:pt x="34" y="32"/>
                      <a:pt x="34" y="32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3" y="32"/>
                      <a:pt x="33" y="31"/>
                      <a:pt x="33" y="31"/>
                    </a:cubicBezTo>
                    <a:cubicBezTo>
                      <a:pt x="33" y="31"/>
                      <a:pt x="32" y="31"/>
                      <a:pt x="32" y="31"/>
                    </a:cubicBezTo>
                    <a:cubicBezTo>
                      <a:pt x="32" y="31"/>
                      <a:pt x="31" y="31"/>
                      <a:pt x="31" y="32"/>
                    </a:cubicBezTo>
                    <a:cubicBezTo>
                      <a:pt x="31" y="32"/>
                      <a:pt x="31" y="32"/>
                      <a:pt x="30" y="32"/>
                    </a:cubicBezTo>
                    <a:cubicBezTo>
                      <a:pt x="30" y="31"/>
                      <a:pt x="30" y="31"/>
                      <a:pt x="30" y="31"/>
                    </a:cubicBezTo>
                    <a:cubicBezTo>
                      <a:pt x="31" y="31"/>
                      <a:pt x="31" y="30"/>
                      <a:pt x="31" y="30"/>
                    </a:cubicBezTo>
                    <a:cubicBezTo>
                      <a:pt x="31" y="30"/>
                      <a:pt x="30" y="30"/>
                      <a:pt x="30" y="30"/>
                    </a:cubicBezTo>
                    <a:cubicBezTo>
                      <a:pt x="30" y="30"/>
                      <a:pt x="30" y="30"/>
                      <a:pt x="30" y="30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0" y="29"/>
                      <a:pt x="30" y="28"/>
                      <a:pt x="30" y="28"/>
                    </a:cubicBezTo>
                    <a:cubicBezTo>
                      <a:pt x="30" y="28"/>
                      <a:pt x="30" y="28"/>
                      <a:pt x="29" y="28"/>
                    </a:cubicBezTo>
                    <a:cubicBezTo>
                      <a:pt x="29" y="27"/>
                      <a:pt x="29" y="27"/>
                      <a:pt x="29" y="27"/>
                    </a:cubicBezTo>
                    <a:cubicBezTo>
                      <a:pt x="29" y="26"/>
                      <a:pt x="29" y="26"/>
                      <a:pt x="28" y="26"/>
                    </a:cubicBezTo>
                    <a:cubicBezTo>
                      <a:pt x="28" y="26"/>
                      <a:pt x="28" y="26"/>
                      <a:pt x="28" y="26"/>
                    </a:cubicBezTo>
                    <a:cubicBezTo>
                      <a:pt x="27" y="26"/>
                      <a:pt x="27" y="26"/>
                      <a:pt x="27" y="26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26" y="25"/>
                      <a:pt x="26" y="24"/>
                      <a:pt x="27" y="24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6" y="24"/>
                      <a:pt x="26" y="23"/>
                      <a:pt x="26" y="23"/>
                    </a:cubicBezTo>
                    <a:cubicBezTo>
                      <a:pt x="26" y="23"/>
                      <a:pt x="27" y="22"/>
                      <a:pt x="27" y="22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26" y="21"/>
                      <a:pt x="26" y="20"/>
                      <a:pt x="26" y="20"/>
                    </a:cubicBezTo>
                    <a:cubicBezTo>
                      <a:pt x="26" y="21"/>
                      <a:pt x="25" y="21"/>
                      <a:pt x="25" y="21"/>
                    </a:cubicBezTo>
                    <a:cubicBezTo>
                      <a:pt x="25" y="21"/>
                      <a:pt x="24" y="21"/>
                      <a:pt x="24" y="21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4" y="20"/>
                      <a:pt x="24" y="19"/>
                      <a:pt x="24" y="19"/>
                    </a:cubicBezTo>
                    <a:cubicBezTo>
                      <a:pt x="24" y="19"/>
                      <a:pt x="23" y="19"/>
                      <a:pt x="23" y="19"/>
                    </a:cubicBezTo>
                    <a:cubicBezTo>
                      <a:pt x="23" y="19"/>
                      <a:pt x="22" y="19"/>
                      <a:pt x="22" y="18"/>
                    </a:cubicBezTo>
                    <a:cubicBezTo>
                      <a:pt x="22" y="18"/>
                      <a:pt x="22" y="17"/>
                      <a:pt x="22" y="17"/>
                    </a:cubicBezTo>
                    <a:cubicBezTo>
                      <a:pt x="22" y="17"/>
                      <a:pt x="22" y="16"/>
                      <a:pt x="22" y="16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21" y="16"/>
                      <a:pt x="20" y="16"/>
                      <a:pt x="19" y="16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8" y="13"/>
                      <a:pt x="18" y="13"/>
                    </a:cubicBezTo>
                    <a:cubicBezTo>
                      <a:pt x="18" y="13"/>
                      <a:pt x="18" y="14"/>
                      <a:pt x="18" y="14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8" y="14"/>
                      <a:pt x="17" y="14"/>
                      <a:pt x="17" y="13"/>
                    </a:cubicBezTo>
                    <a:cubicBezTo>
                      <a:pt x="17" y="13"/>
                      <a:pt x="16" y="13"/>
                      <a:pt x="16" y="12"/>
                    </a:cubicBezTo>
                    <a:cubicBezTo>
                      <a:pt x="16" y="12"/>
                      <a:pt x="15" y="12"/>
                      <a:pt x="15" y="12"/>
                    </a:cubicBezTo>
                    <a:cubicBezTo>
                      <a:pt x="15" y="12"/>
                      <a:pt x="15" y="11"/>
                      <a:pt x="15" y="11"/>
                    </a:cubicBezTo>
                    <a:cubicBezTo>
                      <a:pt x="15" y="11"/>
                      <a:pt x="14" y="10"/>
                      <a:pt x="14" y="10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3" y="9"/>
                      <a:pt x="13" y="8"/>
                      <a:pt x="12" y="8"/>
                    </a:cubicBezTo>
                    <a:cubicBezTo>
                      <a:pt x="12" y="8"/>
                      <a:pt x="11" y="7"/>
                      <a:pt x="11" y="7"/>
                    </a:cubicBezTo>
                    <a:cubicBezTo>
                      <a:pt x="10" y="7"/>
                      <a:pt x="9" y="7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5"/>
                      <a:pt x="9" y="5"/>
                    </a:cubicBezTo>
                    <a:cubicBezTo>
                      <a:pt x="9" y="5"/>
                      <a:pt x="9" y="4"/>
                      <a:pt x="9" y="4"/>
                    </a:cubicBezTo>
                    <a:cubicBezTo>
                      <a:pt x="8" y="4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2"/>
                    </a:cubicBezTo>
                    <a:cubicBezTo>
                      <a:pt x="7" y="2"/>
                      <a:pt x="7" y="2"/>
                      <a:pt x="6" y="2"/>
                    </a:cubicBezTo>
                    <a:cubicBezTo>
                      <a:pt x="6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3" y="2"/>
                      <a:pt x="3" y="1"/>
                      <a:pt x="3" y="1"/>
                    </a:cubicBezTo>
                    <a:cubicBezTo>
                      <a:pt x="2" y="1"/>
                      <a:pt x="2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3"/>
                      <a:pt x="1" y="4"/>
                    </a:cubicBezTo>
                    <a:cubicBezTo>
                      <a:pt x="1" y="5"/>
                      <a:pt x="2" y="6"/>
                      <a:pt x="2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7"/>
                      <a:pt x="4" y="7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9"/>
                      <a:pt x="6" y="9"/>
                      <a:pt x="6" y="9"/>
                    </a:cubicBezTo>
                    <a:cubicBezTo>
                      <a:pt x="6" y="9"/>
                      <a:pt x="6" y="10"/>
                      <a:pt x="6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11"/>
                      <a:pt x="7" y="11"/>
                      <a:pt x="7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2"/>
                      <a:pt x="7" y="12"/>
                      <a:pt x="8" y="13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3"/>
                      <a:pt x="8" y="13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4"/>
                      <a:pt x="10" y="15"/>
                      <a:pt x="10" y="15"/>
                    </a:cubicBezTo>
                    <a:cubicBezTo>
                      <a:pt x="11" y="15"/>
                      <a:pt x="11" y="16"/>
                      <a:pt x="11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1" y="16"/>
                      <a:pt x="11" y="17"/>
                      <a:pt x="12" y="17"/>
                    </a:cubicBezTo>
                    <a:cubicBezTo>
                      <a:pt x="12" y="17"/>
                      <a:pt x="12" y="18"/>
                      <a:pt x="12" y="19"/>
                    </a:cubicBezTo>
                    <a:cubicBezTo>
                      <a:pt x="12" y="20"/>
                      <a:pt x="12" y="21"/>
                      <a:pt x="12" y="21"/>
                    </a:cubicBezTo>
                    <a:cubicBezTo>
                      <a:pt x="12" y="21"/>
                      <a:pt x="13" y="22"/>
                      <a:pt x="13" y="22"/>
                    </a:cubicBezTo>
                    <a:cubicBezTo>
                      <a:pt x="13" y="22"/>
                      <a:pt x="13" y="22"/>
                      <a:pt x="14" y="22"/>
                    </a:cubicBezTo>
                    <a:cubicBezTo>
                      <a:pt x="14" y="23"/>
                      <a:pt x="14" y="23"/>
                      <a:pt x="15" y="23"/>
                    </a:cubicBezTo>
                    <a:cubicBezTo>
                      <a:pt x="15" y="24"/>
                      <a:pt x="15" y="24"/>
                      <a:pt x="16" y="25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17" y="27"/>
                      <a:pt x="17" y="29"/>
                      <a:pt x="18" y="29"/>
                    </a:cubicBezTo>
                    <a:cubicBezTo>
                      <a:pt x="18" y="30"/>
                      <a:pt x="18" y="30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9" y="33"/>
                      <a:pt x="19" y="33"/>
                    </a:cubicBezTo>
                    <a:cubicBezTo>
                      <a:pt x="19" y="33"/>
                      <a:pt x="20" y="34"/>
                      <a:pt x="20" y="34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1" y="36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3" y="38"/>
                      <a:pt x="25" y="40"/>
                      <a:pt x="25" y="40"/>
                    </a:cubicBezTo>
                    <a:cubicBezTo>
                      <a:pt x="26" y="40"/>
                      <a:pt x="26" y="41"/>
                      <a:pt x="27" y="41"/>
                    </a:cubicBezTo>
                    <a:cubicBezTo>
                      <a:pt x="27" y="42"/>
                      <a:pt x="28" y="42"/>
                      <a:pt x="28" y="43"/>
                    </a:cubicBezTo>
                    <a:cubicBezTo>
                      <a:pt x="28" y="43"/>
                      <a:pt x="29" y="44"/>
                      <a:pt x="29" y="44"/>
                    </a:cubicBezTo>
                    <a:cubicBezTo>
                      <a:pt x="29" y="44"/>
                      <a:pt x="29" y="44"/>
                      <a:pt x="29" y="45"/>
                    </a:cubicBezTo>
                    <a:cubicBezTo>
                      <a:pt x="30" y="45"/>
                      <a:pt x="30" y="45"/>
                      <a:pt x="30" y="45"/>
                    </a:cubicBezTo>
                    <a:cubicBezTo>
                      <a:pt x="30" y="45"/>
                      <a:pt x="30" y="45"/>
                      <a:pt x="30" y="44"/>
                    </a:cubicBezTo>
                    <a:cubicBezTo>
                      <a:pt x="30" y="44"/>
                      <a:pt x="30" y="44"/>
                      <a:pt x="31" y="44"/>
                    </a:cubicBezTo>
                    <a:cubicBezTo>
                      <a:pt x="31" y="44"/>
                      <a:pt x="32" y="44"/>
                      <a:pt x="32" y="44"/>
                    </a:cubicBezTo>
                    <a:cubicBezTo>
                      <a:pt x="32" y="44"/>
                      <a:pt x="32" y="44"/>
                      <a:pt x="33" y="44"/>
                    </a:cubicBezTo>
                    <a:cubicBezTo>
                      <a:pt x="33" y="44"/>
                      <a:pt x="33" y="44"/>
                      <a:pt x="33" y="45"/>
                    </a:cubicBezTo>
                    <a:cubicBezTo>
                      <a:pt x="33" y="45"/>
                      <a:pt x="33" y="45"/>
                      <a:pt x="34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60" name="Freeform 95">
                <a:extLst>
                  <a:ext uri="{FF2B5EF4-FFF2-40B4-BE49-F238E27FC236}">
                    <a16:creationId xmlns:a16="http://schemas.microsoft.com/office/drawing/2014/main" id="{49C1E0F3-95ED-4223-9AE4-29B9503A76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9" y="2627"/>
                <a:ext cx="68" cy="26"/>
              </a:xfrm>
              <a:custGeom>
                <a:avLst/>
                <a:gdLst>
                  <a:gd name="T0" fmla="*/ 27 w 29"/>
                  <a:gd name="T1" fmla="*/ 10 h 11"/>
                  <a:gd name="T2" fmla="*/ 29 w 29"/>
                  <a:gd name="T3" fmla="*/ 11 h 11"/>
                  <a:gd name="T4" fmla="*/ 28 w 29"/>
                  <a:gd name="T5" fmla="*/ 9 h 11"/>
                  <a:gd name="T6" fmla="*/ 28 w 29"/>
                  <a:gd name="T7" fmla="*/ 8 h 11"/>
                  <a:gd name="T8" fmla="*/ 28 w 29"/>
                  <a:gd name="T9" fmla="*/ 7 h 11"/>
                  <a:gd name="T10" fmla="*/ 26 w 29"/>
                  <a:gd name="T11" fmla="*/ 7 h 11"/>
                  <a:gd name="T12" fmla="*/ 24 w 29"/>
                  <a:gd name="T13" fmla="*/ 7 h 11"/>
                  <a:gd name="T14" fmla="*/ 23 w 29"/>
                  <a:gd name="T15" fmla="*/ 6 h 11"/>
                  <a:gd name="T16" fmla="*/ 23 w 29"/>
                  <a:gd name="T17" fmla="*/ 4 h 11"/>
                  <a:gd name="T18" fmla="*/ 20 w 29"/>
                  <a:gd name="T19" fmla="*/ 3 h 11"/>
                  <a:gd name="T20" fmla="*/ 19 w 29"/>
                  <a:gd name="T21" fmla="*/ 3 h 11"/>
                  <a:gd name="T22" fmla="*/ 18 w 29"/>
                  <a:gd name="T23" fmla="*/ 3 h 11"/>
                  <a:gd name="T24" fmla="*/ 17 w 29"/>
                  <a:gd name="T25" fmla="*/ 2 h 11"/>
                  <a:gd name="T26" fmla="*/ 16 w 29"/>
                  <a:gd name="T27" fmla="*/ 3 h 11"/>
                  <a:gd name="T28" fmla="*/ 14 w 29"/>
                  <a:gd name="T29" fmla="*/ 4 h 11"/>
                  <a:gd name="T30" fmla="*/ 12 w 29"/>
                  <a:gd name="T31" fmla="*/ 4 h 11"/>
                  <a:gd name="T32" fmla="*/ 10 w 29"/>
                  <a:gd name="T33" fmla="*/ 3 h 11"/>
                  <a:gd name="T34" fmla="*/ 8 w 29"/>
                  <a:gd name="T35" fmla="*/ 2 h 11"/>
                  <a:gd name="T36" fmla="*/ 7 w 29"/>
                  <a:gd name="T37" fmla="*/ 1 h 11"/>
                  <a:gd name="T38" fmla="*/ 5 w 29"/>
                  <a:gd name="T39" fmla="*/ 0 h 11"/>
                  <a:gd name="T40" fmla="*/ 4 w 29"/>
                  <a:gd name="T41" fmla="*/ 0 h 11"/>
                  <a:gd name="T42" fmla="*/ 2 w 29"/>
                  <a:gd name="T43" fmla="*/ 0 h 11"/>
                  <a:gd name="T44" fmla="*/ 1 w 29"/>
                  <a:gd name="T45" fmla="*/ 2 h 11"/>
                  <a:gd name="T46" fmla="*/ 0 w 29"/>
                  <a:gd name="T47" fmla="*/ 3 h 11"/>
                  <a:gd name="T48" fmla="*/ 2 w 29"/>
                  <a:gd name="T49" fmla="*/ 4 h 11"/>
                  <a:gd name="T50" fmla="*/ 3 w 29"/>
                  <a:gd name="T51" fmla="*/ 4 h 11"/>
                  <a:gd name="T52" fmla="*/ 3 w 29"/>
                  <a:gd name="T53" fmla="*/ 5 h 11"/>
                  <a:gd name="T54" fmla="*/ 5 w 29"/>
                  <a:gd name="T55" fmla="*/ 6 h 11"/>
                  <a:gd name="T56" fmla="*/ 8 w 29"/>
                  <a:gd name="T57" fmla="*/ 7 h 11"/>
                  <a:gd name="T58" fmla="*/ 10 w 29"/>
                  <a:gd name="T59" fmla="*/ 7 h 11"/>
                  <a:gd name="T60" fmla="*/ 11 w 29"/>
                  <a:gd name="T61" fmla="*/ 7 h 11"/>
                  <a:gd name="T62" fmla="*/ 11 w 29"/>
                  <a:gd name="T63" fmla="*/ 7 h 11"/>
                  <a:gd name="T64" fmla="*/ 15 w 29"/>
                  <a:gd name="T65" fmla="*/ 8 h 11"/>
                  <a:gd name="T66" fmla="*/ 16 w 29"/>
                  <a:gd name="T67" fmla="*/ 8 h 11"/>
                  <a:gd name="T68" fmla="*/ 20 w 29"/>
                  <a:gd name="T69" fmla="*/ 9 h 11"/>
                  <a:gd name="T70" fmla="*/ 22 w 29"/>
                  <a:gd name="T71" fmla="*/ 10 h 11"/>
                  <a:gd name="T72" fmla="*/ 24 w 29"/>
                  <a:gd name="T73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9" h="11">
                    <a:moveTo>
                      <a:pt x="26" y="10"/>
                    </a:moveTo>
                    <a:cubicBezTo>
                      <a:pt x="27" y="10"/>
                      <a:pt x="27" y="10"/>
                      <a:pt x="27" y="10"/>
                    </a:cubicBezTo>
                    <a:cubicBezTo>
                      <a:pt x="27" y="10"/>
                      <a:pt x="27" y="11"/>
                      <a:pt x="28" y="11"/>
                    </a:cubicBezTo>
                    <a:cubicBezTo>
                      <a:pt x="28" y="11"/>
                      <a:pt x="29" y="11"/>
                      <a:pt x="29" y="11"/>
                    </a:cubicBezTo>
                    <a:cubicBezTo>
                      <a:pt x="29" y="11"/>
                      <a:pt x="29" y="11"/>
                      <a:pt x="29" y="10"/>
                    </a:cubicBezTo>
                    <a:cubicBezTo>
                      <a:pt x="28" y="10"/>
                      <a:pt x="28" y="10"/>
                      <a:pt x="28" y="9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8" y="8"/>
                      <a:pt x="29" y="8"/>
                      <a:pt x="29" y="7"/>
                    </a:cubicBezTo>
                    <a:cubicBezTo>
                      <a:pt x="29" y="7"/>
                      <a:pt x="29" y="7"/>
                      <a:pt x="28" y="7"/>
                    </a:cubicBezTo>
                    <a:cubicBezTo>
                      <a:pt x="28" y="7"/>
                      <a:pt x="27" y="7"/>
                      <a:pt x="27" y="7"/>
                    </a:cubicBezTo>
                    <a:cubicBezTo>
                      <a:pt x="27" y="7"/>
                      <a:pt x="26" y="7"/>
                      <a:pt x="26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24" y="7"/>
                      <a:pt x="24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2" y="3"/>
                      <a:pt x="21" y="4"/>
                      <a:pt x="21" y="4"/>
                    </a:cubicBezTo>
                    <a:cubicBezTo>
                      <a:pt x="21" y="4"/>
                      <a:pt x="20" y="4"/>
                      <a:pt x="20" y="3"/>
                    </a:cubicBezTo>
                    <a:cubicBezTo>
                      <a:pt x="20" y="3"/>
                      <a:pt x="20" y="3"/>
                      <a:pt x="19" y="3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9" y="3"/>
                      <a:pt x="19" y="3"/>
                      <a:pt x="18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6" y="2"/>
                      <a:pt x="16" y="3"/>
                      <a:pt x="16" y="3"/>
                    </a:cubicBezTo>
                    <a:cubicBezTo>
                      <a:pt x="16" y="3"/>
                      <a:pt x="16" y="4"/>
                      <a:pt x="15" y="4"/>
                    </a:cubicBezTo>
                    <a:cubicBezTo>
                      <a:pt x="15" y="4"/>
                      <a:pt x="15" y="4"/>
                      <a:pt x="14" y="4"/>
                    </a:cubicBezTo>
                    <a:cubicBezTo>
                      <a:pt x="14" y="4"/>
                      <a:pt x="13" y="4"/>
                      <a:pt x="13" y="4"/>
                    </a:cubicBezTo>
                    <a:cubicBezTo>
                      <a:pt x="13" y="4"/>
                      <a:pt x="12" y="4"/>
                      <a:pt x="12" y="4"/>
                    </a:cubicBezTo>
                    <a:cubicBezTo>
                      <a:pt x="11" y="4"/>
                      <a:pt x="11" y="3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2"/>
                      <a:pt x="9" y="2"/>
                      <a:pt x="9" y="2"/>
                    </a:cubicBezTo>
                    <a:cubicBezTo>
                      <a:pt x="9" y="2"/>
                      <a:pt x="9" y="1"/>
                      <a:pt x="8" y="2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6" y="1"/>
                      <a:pt x="6" y="1"/>
                    </a:cubicBez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0"/>
                      <a:pt x="4" y="0"/>
                    </a:cubicBezTo>
                    <a:cubicBezTo>
                      <a:pt x="4" y="1"/>
                      <a:pt x="4" y="1"/>
                      <a:pt x="4" y="0"/>
                    </a:cubicBezTo>
                    <a:cubicBezTo>
                      <a:pt x="4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1" y="2"/>
                    </a:cubicBezTo>
                    <a:cubicBezTo>
                      <a:pt x="1" y="2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1" y="4"/>
                      <a:pt x="1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3" y="4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6"/>
                      <a:pt x="3" y="6"/>
                      <a:pt x="4" y="6"/>
                    </a:cubicBezTo>
                    <a:cubicBezTo>
                      <a:pt x="4" y="6"/>
                      <a:pt x="5" y="6"/>
                      <a:pt x="5" y="6"/>
                    </a:cubicBezTo>
                    <a:cubicBezTo>
                      <a:pt x="6" y="6"/>
                      <a:pt x="6" y="7"/>
                      <a:pt x="6" y="7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7"/>
                      <a:pt x="10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7"/>
                      <a:pt x="12" y="7"/>
                      <a:pt x="13" y="7"/>
                    </a:cubicBezTo>
                    <a:cubicBezTo>
                      <a:pt x="13" y="7"/>
                      <a:pt x="14" y="8"/>
                      <a:pt x="15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9"/>
                      <a:pt x="18" y="9"/>
                      <a:pt x="18" y="9"/>
                    </a:cubicBezTo>
                    <a:cubicBezTo>
                      <a:pt x="19" y="9"/>
                      <a:pt x="20" y="10"/>
                      <a:pt x="20" y="9"/>
                    </a:cubicBezTo>
                    <a:cubicBezTo>
                      <a:pt x="20" y="9"/>
                      <a:pt x="20" y="9"/>
                      <a:pt x="21" y="9"/>
                    </a:cubicBezTo>
                    <a:cubicBezTo>
                      <a:pt x="21" y="9"/>
                      <a:pt x="21" y="9"/>
                      <a:pt x="22" y="10"/>
                    </a:cubicBezTo>
                    <a:cubicBezTo>
                      <a:pt x="22" y="10"/>
                      <a:pt x="23" y="10"/>
                      <a:pt x="23" y="10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4" y="9"/>
                      <a:pt x="25" y="9"/>
                      <a:pt x="26" y="1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61" name="Freeform 96">
                <a:extLst>
                  <a:ext uri="{FF2B5EF4-FFF2-40B4-BE49-F238E27FC236}">
                    <a16:creationId xmlns:a16="http://schemas.microsoft.com/office/drawing/2014/main" id="{5AD40991-880B-476C-A771-A4BDB7B3A7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0" y="2658"/>
                <a:ext cx="15" cy="9"/>
              </a:xfrm>
              <a:custGeom>
                <a:avLst/>
                <a:gdLst>
                  <a:gd name="T0" fmla="*/ 4 w 6"/>
                  <a:gd name="T1" fmla="*/ 1 h 4"/>
                  <a:gd name="T2" fmla="*/ 4 w 6"/>
                  <a:gd name="T3" fmla="*/ 1 h 4"/>
                  <a:gd name="T4" fmla="*/ 4 w 6"/>
                  <a:gd name="T5" fmla="*/ 1 h 4"/>
                  <a:gd name="T6" fmla="*/ 3 w 6"/>
                  <a:gd name="T7" fmla="*/ 1 h 4"/>
                  <a:gd name="T8" fmla="*/ 3 w 6"/>
                  <a:gd name="T9" fmla="*/ 0 h 4"/>
                  <a:gd name="T10" fmla="*/ 3 w 6"/>
                  <a:gd name="T11" fmla="*/ 1 h 4"/>
                  <a:gd name="T12" fmla="*/ 2 w 6"/>
                  <a:gd name="T13" fmla="*/ 1 h 4"/>
                  <a:gd name="T14" fmla="*/ 2 w 6"/>
                  <a:gd name="T15" fmla="*/ 1 h 4"/>
                  <a:gd name="T16" fmla="*/ 1 w 6"/>
                  <a:gd name="T17" fmla="*/ 0 h 4"/>
                  <a:gd name="T18" fmla="*/ 0 w 6"/>
                  <a:gd name="T19" fmla="*/ 1 h 4"/>
                  <a:gd name="T20" fmla="*/ 0 w 6"/>
                  <a:gd name="T21" fmla="*/ 1 h 4"/>
                  <a:gd name="T22" fmla="*/ 0 w 6"/>
                  <a:gd name="T23" fmla="*/ 2 h 4"/>
                  <a:gd name="T24" fmla="*/ 1 w 6"/>
                  <a:gd name="T25" fmla="*/ 2 h 4"/>
                  <a:gd name="T26" fmla="*/ 2 w 6"/>
                  <a:gd name="T27" fmla="*/ 2 h 4"/>
                  <a:gd name="T28" fmla="*/ 3 w 6"/>
                  <a:gd name="T29" fmla="*/ 3 h 4"/>
                  <a:gd name="T30" fmla="*/ 3 w 6"/>
                  <a:gd name="T31" fmla="*/ 3 h 4"/>
                  <a:gd name="T32" fmla="*/ 4 w 6"/>
                  <a:gd name="T33" fmla="*/ 4 h 4"/>
                  <a:gd name="T34" fmla="*/ 4 w 6"/>
                  <a:gd name="T35" fmla="*/ 4 h 4"/>
                  <a:gd name="T36" fmla="*/ 4 w 6"/>
                  <a:gd name="T37" fmla="*/ 4 h 4"/>
                  <a:gd name="T38" fmla="*/ 5 w 6"/>
                  <a:gd name="T39" fmla="*/ 4 h 4"/>
                  <a:gd name="T40" fmla="*/ 5 w 6"/>
                  <a:gd name="T41" fmla="*/ 3 h 4"/>
                  <a:gd name="T42" fmla="*/ 6 w 6"/>
                  <a:gd name="T43" fmla="*/ 3 h 4"/>
                  <a:gd name="T44" fmla="*/ 5 w 6"/>
                  <a:gd name="T45" fmla="*/ 2 h 4"/>
                  <a:gd name="T46" fmla="*/ 5 w 6"/>
                  <a:gd name="T47" fmla="*/ 2 h 4"/>
                  <a:gd name="T48" fmla="*/ 4 w 6"/>
                  <a:gd name="T4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" h="4">
                    <a:moveTo>
                      <a:pt x="4" y="1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3" y="2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1"/>
                      <a:pt x="4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62" name="Freeform 97">
                <a:extLst>
                  <a:ext uri="{FF2B5EF4-FFF2-40B4-BE49-F238E27FC236}">
                    <a16:creationId xmlns:a16="http://schemas.microsoft.com/office/drawing/2014/main" id="{0D8E7665-877C-4CE8-B6F7-B941F99C9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4" y="2648"/>
                <a:ext cx="30" cy="19"/>
              </a:xfrm>
              <a:custGeom>
                <a:avLst/>
                <a:gdLst>
                  <a:gd name="T0" fmla="*/ 1 w 13"/>
                  <a:gd name="T1" fmla="*/ 8 h 8"/>
                  <a:gd name="T2" fmla="*/ 1 w 13"/>
                  <a:gd name="T3" fmla="*/ 8 h 8"/>
                  <a:gd name="T4" fmla="*/ 2 w 13"/>
                  <a:gd name="T5" fmla="*/ 8 h 8"/>
                  <a:gd name="T6" fmla="*/ 3 w 13"/>
                  <a:gd name="T7" fmla="*/ 8 h 8"/>
                  <a:gd name="T8" fmla="*/ 4 w 13"/>
                  <a:gd name="T9" fmla="*/ 7 h 8"/>
                  <a:gd name="T10" fmla="*/ 5 w 13"/>
                  <a:gd name="T11" fmla="*/ 6 h 8"/>
                  <a:gd name="T12" fmla="*/ 5 w 13"/>
                  <a:gd name="T13" fmla="*/ 6 h 8"/>
                  <a:gd name="T14" fmla="*/ 5 w 13"/>
                  <a:gd name="T15" fmla="*/ 5 h 8"/>
                  <a:gd name="T16" fmla="*/ 6 w 13"/>
                  <a:gd name="T17" fmla="*/ 4 h 8"/>
                  <a:gd name="T18" fmla="*/ 7 w 13"/>
                  <a:gd name="T19" fmla="*/ 4 h 8"/>
                  <a:gd name="T20" fmla="*/ 8 w 13"/>
                  <a:gd name="T21" fmla="*/ 4 h 8"/>
                  <a:gd name="T22" fmla="*/ 8 w 13"/>
                  <a:gd name="T23" fmla="*/ 4 h 8"/>
                  <a:gd name="T24" fmla="*/ 10 w 13"/>
                  <a:gd name="T25" fmla="*/ 3 h 8"/>
                  <a:gd name="T26" fmla="*/ 10 w 13"/>
                  <a:gd name="T27" fmla="*/ 3 h 8"/>
                  <a:gd name="T28" fmla="*/ 11 w 13"/>
                  <a:gd name="T29" fmla="*/ 2 h 8"/>
                  <a:gd name="T30" fmla="*/ 11 w 13"/>
                  <a:gd name="T31" fmla="*/ 2 h 8"/>
                  <a:gd name="T32" fmla="*/ 12 w 13"/>
                  <a:gd name="T33" fmla="*/ 2 h 8"/>
                  <a:gd name="T34" fmla="*/ 12 w 13"/>
                  <a:gd name="T35" fmla="*/ 1 h 8"/>
                  <a:gd name="T36" fmla="*/ 12 w 13"/>
                  <a:gd name="T37" fmla="*/ 1 h 8"/>
                  <a:gd name="T38" fmla="*/ 12 w 13"/>
                  <a:gd name="T39" fmla="*/ 0 h 8"/>
                  <a:gd name="T40" fmla="*/ 11 w 13"/>
                  <a:gd name="T41" fmla="*/ 1 h 8"/>
                  <a:gd name="T42" fmla="*/ 10 w 13"/>
                  <a:gd name="T43" fmla="*/ 1 h 8"/>
                  <a:gd name="T44" fmla="*/ 9 w 13"/>
                  <a:gd name="T45" fmla="*/ 1 h 8"/>
                  <a:gd name="T46" fmla="*/ 9 w 13"/>
                  <a:gd name="T47" fmla="*/ 1 h 8"/>
                  <a:gd name="T48" fmla="*/ 7 w 13"/>
                  <a:gd name="T49" fmla="*/ 1 h 8"/>
                  <a:gd name="T50" fmla="*/ 6 w 13"/>
                  <a:gd name="T51" fmla="*/ 2 h 8"/>
                  <a:gd name="T52" fmla="*/ 5 w 13"/>
                  <a:gd name="T53" fmla="*/ 2 h 8"/>
                  <a:gd name="T54" fmla="*/ 4 w 13"/>
                  <a:gd name="T55" fmla="*/ 3 h 8"/>
                  <a:gd name="T56" fmla="*/ 4 w 13"/>
                  <a:gd name="T57" fmla="*/ 3 h 8"/>
                  <a:gd name="T58" fmla="*/ 4 w 13"/>
                  <a:gd name="T59" fmla="*/ 3 h 8"/>
                  <a:gd name="T60" fmla="*/ 3 w 13"/>
                  <a:gd name="T61" fmla="*/ 4 h 8"/>
                  <a:gd name="T62" fmla="*/ 1 w 13"/>
                  <a:gd name="T63" fmla="*/ 5 h 8"/>
                  <a:gd name="T64" fmla="*/ 1 w 13"/>
                  <a:gd name="T65" fmla="*/ 6 h 8"/>
                  <a:gd name="T66" fmla="*/ 1 w 13"/>
                  <a:gd name="T67" fmla="*/ 6 h 8"/>
                  <a:gd name="T68" fmla="*/ 1 w 13"/>
                  <a:gd name="T69" fmla="*/ 7 h 8"/>
                  <a:gd name="T70" fmla="*/ 1 w 13"/>
                  <a:gd name="T71" fmla="*/ 7 h 8"/>
                  <a:gd name="T72" fmla="*/ 1 w 13"/>
                  <a:gd name="T73" fmla="*/ 7 h 8"/>
                  <a:gd name="T74" fmla="*/ 0 w 13"/>
                  <a:gd name="T75" fmla="*/ 8 h 8"/>
                  <a:gd name="T76" fmla="*/ 0 w 13"/>
                  <a:gd name="T77" fmla="*/ 8 h 8"/>
                  <a:gd name="T78" fmla="*/ 1 w 13"/>
                  <a:gd name="T7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3" h="8">
                    <a:moveTo>
                      <a:pt x="1" y="8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3" y="8"/>
                      <a:pt x="3" y="8"/>
                    </a:cubicBezTo>
                    <a:cubicBezTo>
                      <a:pt x="3" y="8"/>
                      <a:pt x="3" y="7"/>
                      <a:pt x="4" y="7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6"/>
                      <a:pt x="5" y="5"/>
                      <a:pt x="5" y="5"/>
                    </a:cubicBezTo>
                    <a:cubicBezTo>
                      <a:pt x="5" y="5"/>
                      <a:pt x="6" y="4"/>
                      <a:pt x="6" y="4"/>
                    </a:cubicBezTo>
                    <a:cubicBezTo>
                      <a:pt x="6" y="4"/>
                      <a:pt x="7" y="4"/>
                      <a:pt x="7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9" y="3"/>
                      <a:pt x="10" y="3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2" y="2"/>
                      <a:pt x="12" y="1"/>
                      <a:pt x="12" y="1"/>
                    </a:cubicBezTo>
                    <a:cubicBezTo>
                      <a:pt x="13" y="1"/>
                      <a:pt x="13" y="1"/>
                      <a:pt x="12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1"/>
                      <a:pt x="10" y="1"/>
                      <a:pt x="10" y="1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7" y="1"/>
                      <a:pt x="6" y="1"/>
                      <a:pt x="6" y="2"/>
                    </a:cubicBezTo>
                    <a:cubicBezTo>
                      <a:pt x="6" y="2"/>
                      <a:pt x="5" y="2"/>
                      <a:pt x="5" y="2"/>
                    </a:cubicBezTo>
                    <a:cubicBezTo>
                      <a:pt x="5" y="2"/>
                      <a:pt x="5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3" y="4"/>
                      <a:pt x="3" y="4"/>
                    </a:cubicBezTo>
                    <a:cubicBezTo>
                      <a:pt x="2" y="4"/>
                      <a:pt x="2" y="4"/>
                      <a:pt x="1" y="5"/>
                    </a:cubicBezTo>
                    <a:cubicBezTo>
                      <a:pt x="1" y="5"/>
                      <a:pt x="1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1" y="8"/>
                      <a:pt x="1" y="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63" name="Freeform 98">
                <a:extLst>
                  <a:ext uri="{FF2B5EF4-FFF2-40B4-BE49-F238E27FC236}">
                    <a16:creationId xmlns:a16="http://schemas.microsoft.com/office/drawing/2014/main" id="{775385BC-97A1-4A5F-B01C-161FCBEA0A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12" y="2508"/>
                <a:ext cx="81" cy="102"/>
              </a:xfrm>
              <a:custGeom>
                <a:avLst/>
                <a:gdLst>
                  <a:gd name="T0" fmla="*/ 1 w 34"/>
                  <a:gd name="T1" fmla="*/ 22 h 43"/>
                  <a:gd name="T2" fmla="*/ 1 w 34"/>
                  <a:gd name="T3" fmla="*/ 25 h 43"/>
                  <a:gd name="T4" fmla="*/ 1 w 34"/>
                  <a:gd name="T5" fmla="*/ 27 h 43"/>
                  <a:gd name="T6" fmla="*/ 1 w 34"/>
                  <a:gd name="T7" fmla="*/ 29 h 43"/>
                  <a:gd name="T8" fmla="*/ 4 w 34"/>
                  <a:gd name="T9" fmla="*/ 31 h 43"/>
                  <a:gd name="T10" fmla="*/ 5 w 34"/>
                  <a:gd name="T11" fmla="*/ 33 h 43"/>
                  <a:gd name="T12" fmla="*/ 4 w 34"/>
                  <a:gd name="T13" fmla="*/ 35 h 43"/>
                  <a:gd name="T14" fmla="*/ 5 w 34"/>
                  <a:gd name="T15" fmla="*/ 39 h 43"/>
                  <a:gd name="T16" fmla="*/ 7 w 34"/>
                  <a:gd name="T17" fmla="*/ 39 h 43"/>
                  <a:gd name="T18" fmla="*/ 10 w 34"/>
                  <a:gd name="T19" fmla="*/ 39 h 43"/>
                  <a:gd name="T20" fmla="*/ 10 w 34"/>
                  <a:gd name="T21" fmla="*/ 41 h 43"/>
                  <a:gd name="T22" fmla="*/ 12 w 34"/>
                  <a:gd name="T23" fmla="*/ 40 h 43"/>
                  <a:gd name="T24" fmla="*/ 14 w 34"/>
                  <a:gd name="T25" fmla="*/ 39 h 43"/>
                  <a:gd name="T26" fmla="*/ 16 w 34"/>
                  <a:gd name="T27" fmla="*/ 40 h 43"/>
                  <a:gd name="T28" fmla="*/ 18 w 34"/>
                  <a:gd name="T29" fmla="*/ 41 h 43"/>
                  <a:gd name="T30" fmla="*/ 20 w 34"/>
                  <a:gd name="T31" fmla="*/ 43 h 43"/>
                  <a:gd name="T32" fmla="*/ 23 w 34"/>
                  <a:gd name="T33" fmla="*/ 40 h 43"/>
                  <a:gd name="T34" fmla="*/ 24 w 34"/>
                  <a:gd name="T35" fmla="*/ 38 h 43"/>
                  <a:gd name="T36" fmla="*/ 25 w 34"/>
                  <a:gd name="T37" fmla="*/ 37 h 43"/>
                  <a:gd name="T38" fmla="*/ 24 w 34"/>
                  <a:gd name="T39" fmla="*/ 34 h 43"/>
                  <a:gd name="T40" fmla="*/ 26 w 34"/>
                  <a:gd name="T41" fmla="*/ 32 h 43"/>
                  <a:gd name="T42" fmla="*/ 28 w 34"/>
                  <a:gd name="T43" fmla="*/ 30 h 43"/>
                  <a:gd name="T44" fmla="*/ 28 w 34"/>
                  <a:gd name="T45" fmla="*/ 27 h 43"/>
                  <a:gd name="T46" fmla="*/ 29 w 34"/>
                  <a:gd name="T47" fmla="*/ 24 h 43"/>
                  <a:gd name="T48" fmla="*/ 31 w 34"/>
                  <a:gd name="T49" fmla="*/ 24 h 43"/>
                  <a:gd name="T50" fmla="*/ 33 w 34"/>
                  <a:gd name="T51" fmla="*/ 23 h 43"/>
                  <a:gd name="T52" fmla="*/ 30 w 34"/>
                  <a:gd name="T53" fmla="*/ 21 h 43"/>
                  <a:gd name="T54" fmla="*/ 30 w 34"/>
                  <a:gd name="T55" fmla="*/ 18 h 43"/>
                  <a:gd name="T56" fmla="*/ 28 w 34"/>
                  <a:gd name="T57" fmla="*/ 14 h 43"/>
                  <a:gd name="T58" fmla="*/ 28 w 34"/>
                  <a:gd name="T59" fmla="*/ 13 h 43"/>
                  <a:gd name="T60" fmla="*/ 28 w 34"/>
                  <a:gd name="T61" fmla="*/ 11 h 43"/>
                  <a:gd name="T62" fmla="*/ 31 w 34"/>
                  <a:gd name="T63" fmla="*/ 10 h 43"/>
                  <a:gd name="T64" fmla="*/ 31 w 34"/>
                  <a:gd name="T65" fmla="*/ 8 h 43"/>
                  <a:gd name="T66" fmla="*/ 33 w 34"/>
                  <a:gd name="T67" fmla="*/ 6 h 43"/>
                  <a:gd name="T68" fmla="*/ 30 w 34"/>
                  <a:gd name="T69" fmla="*/ 5 h 43"/>
                  <a:gd name="T70" fmla="*/ 29 w 34"/>
                  <a:gd name="T71" fmla="*/ 4 h 43"/>
                  <a:gd name="T72" fmla="*/ 28 w 34"/>
                  <a:gd name="T73" fmla="*/ 2 h 43"/>
                  <a:gd name="T74" fmla="*/ 27 w 34"/>
                  <a:gd name="T75" fmla="*/ 0 h 43"/>
                  <a:gd name="T76" fmla="*/ 25 w 34"/>
                  <a:gd name="T77" fmla="*/ 0 h 43"/>
                  <a:gd name="T78" fmla="*/ 24 w 34"/>
                  <a:gd name="T79" fmla="*/ 4 h 43"/>
                  <a:gd name="T80" fmla="*/ 22 w 34"/>
                  <a:gd name="T81" fmla="*/ 6 h 43"/>
                  <a:gd name="T82" fmla="*/ 22 w 34"/>
                  <a:gd name="T83" fmla="*/ 8 h 43"/>
                  <a:gd name="T84" fmla="*/ 20 w 34"/>
                  <a:gd name="T85" fmla="*/ 8 h 43"/>
                  <a:gd name="T86" fmla="*/ 17 w 34"/>
                  <a:gd name="T87" fmla="*/ 9 h 43"/>
                  <a:gd name="T88" fmla="*/ 15 w 34"/>
                  <a:gd name="T89" fmla="*/ 13 h 43"/>
                  <a:gd name="T90" fmla="*/ 10 w 34"/>
                  <a:gd name="T91" fmla="*/ 16 h 43"/>
                  <a:gd name="T92" fmla="*/ 9 w 34"/>
                  <a:gd name="T93" fmla="*/ 18 h 43"/>
                  <a:gd name="T94" fmla="*/ 8 w 34"/>
                  <a:gd name="T95" fmla="*/ 20 h 43"/>
                  <a:gd name="T96" fmla="*/ 6 w 34"/>
                  <a:gd name="T97" fmla="*/ 21 h 43"/>
                  <a:gd name="T98" fmla="*/ 3 w 34"/>
                  <a:gd name="T99" fmla="*/ 20 h 43"/>
                  <a:gd name="T100" fmla="*/ 2 w 34"/>
                  <a:gd name="T101" fmla="*/ 20 h 43"/>
                  <a:gd name="T102" fmla="*/ 25 w 34"/>
                  <a:gd name="T103" fmla="*/ 11 h 43"/>
                  <a:gd name="T104" fmla="*/ 22 w 34"/>
                  <a:gd name="T105" fmla="*/ 13 h 43"/>
                  <a:gd name="T106" fmla="*/ 21 w 34"/>
                  <a:gd name="T107" fmla="*/ 16 h 43"/>
                  <a:gd name="T108" fmla="*/ 21 w 34"/>
                  <a:gd name="T109" fmla="*/ 16 h 43"/>
                  <a:gd name="T110" fmla="*/ 15 w 34"/>
                  <a:gd name="T111" fmla="*/ 22 h 43"/>
                  <a:gd name="T112" fmla="*/ 14 w 34"/>
                  <a:gd name="T113" fmla="*/ 23 h 43"/>
                  <a:gd name="T114" fmla="*/ 9 w 34"/>
                  <a:gd name="T115" fmla="*/ 23 h 43"/>
                  <a:gd name="T116" fmla="*/ 9 w 34"/>
                  <a:gd name="T117" fmla="*/ 2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4" h="43">
                    <a:moveTo>
                      <a:pt x="2" y="20"/>
                    </a:moveTo>
                    <a:cubicBezTo>
                      <a:pt x="2" y="21"/>
                      <a:pt x="2" y="21"/>
                      <a:pt x="1" y="21"/>
                    </a:cubicBezTo>
                    <a:cubicBezTo>
                      <a:pt x="1" y="21"/>
                      <a:pt x="1" y="21"/>
                      <a:pt x="1" y="22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1" y="22"/>
                      <a:pt x="1" y="23"/>
                      <a:pt x="1" y="23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1" y="24"/>
                      <a:pt x="0" y="25"/>
                      <a:pt x="1" y="25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25"/>
                      <a:pt x="1" y="26"/>
                      <a:pt x="1" y="26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2" y="27"/>
                      <a:pt x="1" y="27"/>
                      <a:pt x="1" y="27"/>
                    </a:cubicBezTo>
                    <a:cubicBezTo>
                      <a:pt x="1" y="27"/>
                      <a:pt x="1" y="28"/>
                      <a:pt x="1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1" y="29"/>
                      <a:pt x="1" y="29"/>
                    </a:cubicBezTo>
                    <a:cubicBezTo>
                      <a:pt x="1" y="29"/>
                      <a:pt x="2" y="29"/>
                      <a:pt x="2" y="29"/>
                    </a:cubicBezTo>
                    <a:cubicBezTo>
                      <a:pt x="2" y="29"/>
                      <a:pt x="2" y="30"/>
                      <a:pt x="2" y="30"/>
                    </a:cubicBezTo>
                    <a:cubicBezTo>
                      <a:pt x="2" y="31"/>
                      <a:pt x="3" y="31"/>
                      <a:pt x="3" y="31"/>
                    </a:cubicBezTo>
                    <a:cubicBezTo>
                      <a:pt x="3" y="31"/>
                      <a:pt x="3" y="31"/>
                      <a:pt x="4" y="31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4" y="32"/>
                      <a:pt x="5" y="32"/>
                      <a:pt x="5" y="32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4" y="33"/>
                      <a:pt x="5" y="33"/>
                      <a:pt x="4" y="33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4" y="34"/>
                      <a:pt x="4" y="35"/>
                      <a:pt x="4" y="35"/>
                    </a:cubicBezTo>
                    <a:cubicBezTo>
                      <a:pt x="4" y="35"/>
                      <a:pt x="5" y="36"/>
                      <a:pt x="4" y="36"/>
                    </a:cubicBezTo>
                    <a:cubicBezTo>
                      <a:pt x="4" y="37"/>
                      <a:pt x="5" y="37"/>
                      <a:pt x="5" y="38"/>
                    </a:cubicBezTo>
                    <a:cubicBezTo>
                      <a:pt x="5" y="38"/>
                      <a:pt x="5" y="38"/>
                      <a:pt x="5" y="39"/>
                    </a:cubicBezTo>
                    <a:cubicBezTo>
                      <a:pt x="5" y="39"/>
                      <a:pt x="5" y="39"/>
                      <a:pt x="5" y="39"/>
                    </a:cubicBezTo>
                    <a:cubicBezTo>
                      <a:pt x="6" y="39"/>
                      <a:pt x="6" y="39"/>
                      <a:pt x="6" y="39"/>
                    </a:cubicBezTo>
                    <a:cubicBezTo>
                      <a:pt x="6" y="39"/>
                      <a:pt x="6" y="39"/>
                      <a:pt x="7" y="39"/>
                    </a:cubicBezTo>
                    <a:cubicBezTo>
                      <a:pt x="7" y="39"/>
                      <a:pt x="7" y="39"/>
                      <a:pt x="7" y="39"/>
                    </a:cubicBezTo>
                    <a:cubicBezTo>
                      <a:pt x="7" y="39"/>
                      <a:pt x="7" y="39"/>
                      <a:pt x="7" y="39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8" y="39"/>
                      <a:pt x="9" y="39"/>
                      <a:pt x="9" y="39"/>
                    </a:cubicBezTo>
                    <a:cubicBezTo>
                      <a:pt x="9" y="39"/>
                      <a:pt x="9" y="39"/>
                      <a:pt x="10" y="39"/>
                    </a:cubicBezTo>
                    <a:cubicBezTo>
                      <a:pt x="10" y="38"/>
                      <a:pt x="10" y="39"/>
                      <a:pt x="10" y="39"/>
                    </a:cubicBezTo>
                    <a:cubicBezTo>
                      <a:pt x="10" y="39"/>
                      <a:pt x="10" y="40"/>
                      <a:pt x="10" y="40"/>
                    </a:cubicBezTo>
                    <a:cubicBezTo>
                      <a:pt x="10" y="40"/>
                      <a:pt x="10" y="41"/>
                      <a:pt x="10" y="41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0" y="41"/>
                      <a:pt x="11" y="41"/>
                      <a:pt x="11" y="40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2" y="40"/>
                      <a:pt x="13" y="40"/>
                      <a:pt x="13" y="40"/>
                    </a:cubicBezTo>
                    <a:cubicBezTo>
                      <a:pt x="13" y="40"/>
                      <a:pt x="14" y="39"/>
                      <a:pt x="14" y="39"/>
                    </a:cubicBezTo>
                    <a:cubicBezTo>
                      <a:pt x="14" y="39"/>
                      <a:pt x="14" y="38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9"/>
                      <a:pt x="15" y="39"/>
                      <a:pt x="15" y="39"/>
                    </a:cubicBezTo>
                    <a:cubicBezTo>
                      <a:pt x="15" y="39"/>
                      <a:pt x="16" y="40"/>
                      <a:pt x="16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7" y="40"/>
                      <a:pt x="17" y="40"/>
                      <a:pt x="17" y="40"/>
                    </a:cubicBezTo>
                    <a:cubicBezTo>
                      <a:pt x="18" y="40"/>
                      <a:pt x="18" y="40"/>
                      <a:pt x="18" y="40"/>
                    </a:cubicBezTo>
                    <a:cubicBezTo>
                      <a:pt x="18" y="40"/>
                      <a:pt x="18" y="41"/>
                      <a:pt x="18" y="41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9" y="41"/>
                      <a:pt x="19" y="42"/>
                      <a:pt x="19" y="42"/>
                    </a:cubicBezTo>
                    <a:cubicBezTo>
                      <a:pt x="19" y="42"/>
                      <a:pt x="19" y="42"/>
                      <a:pt x="19" y="43"/>
                    </a:cubicBezTo>
                    <a:cubicBezTo>
                      <a:pt x="19" y="43"/>
                      <a:pt x="19" y="43"/>
                      <a:pt x="20" y="43"/>
                    </a:cubicBezTo>
                    <a:cubicBezTo>
                      <a:pt x="20" y="43"/>
                      <a:pt x="20" y="43"/>
                      <a:pt x="20" y="43"/>
                    </a:cubicBezTo>
                    <a:cubicBezTo>
                      <a:pt x="20" y="43"/>
                      <a:pt x="20" y="43"/>
                      <a:pt x="20" y="43"/>
                    </a:cubicBezTo>
                    <a:cubicBezTo>
                      <a:pt x="21" y="42"/>
                      <a:pt x="22" y="42"/>
                      <a:pt x="23" y="41"/>
                    </a:cubicBezTo>
                    <a:cubicBezTo>
                      <a:pt x="23" y="41"/>
                      <a:pt x="23" y="41"/>
                      <a:pt x="23" y="40"/>
                    </a:cubicBezTo>
                    <a:cubicBezTo>
                      <a:pt x="23" y="40"/>
                      <a:pt x="23" y="40"/>
                      <a:pt x="23" y="40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4" y="39"/>
                      <a:pt x="24" y="39"/>
                      <a:pt x="24" y="39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8"/>
                      <a:pt x="25" y="38"/>
                      <a:pt x="25" y="38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5" y="36"/>
                      <a:pt x="25" y="35"/>
                      <a:pt x="25" y="35"/>
                    </a:cubicBezTo>
                    <a:cubicBezTo>
                      <a:pt x="25" y="35"/>
                      <a:pt x="25" y="34"/>
                      <a:pt x="24" y="34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5" y="33"/>
                      <a:pt x="25" y="33"/>
                      <a:pt x="26" y="33"/>
                    </a:cubicBezTo>
                    <a:cubicBezTo>
                      <a:pt x="26" y="32"/>
                      <a:pt x="26" y="32"/>
                      <a:pt x="26" y="32"/>
                    </a:cubicBezTo>
                    <a:cubicBezTo>
                      <a:pt x="26" y="32"/>
                      <a:pt x="26" y="32"/>
                      <a:pt x="27" y="32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27" y="31"/>
                      <a:pt x="28" y="31"/>
                      <a:pt x="28" y="31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28" y="30"/>
                      <a:pt x="28" y="30"/>
                      <a:pt x="28" y="29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28" y="29"/>
                      <a:pt x="28" y="28"/>
                      <a:pt x="28" y="28"/>
                    </a:cubicBezTo>
                    <a:cubicBezTo>
                      <a:pt x="28" y="28"/>
                      <a:pt x="28" y="28"/>
                      <a:pt x="28" y="27"/>
                    </a:cubicBezTo>
                    <a:cubicBezTo>
                      <a:pt x="28" y="27"/>
                      <a:pt x="28" y="26"/>
                      <a:pt x="28" y="26"/>
                    </a:cubicBezTo>
                    <a:cubicBezTo>
                      <a:pt x="29" y="26"/>
                      <a:pt x="29" y="26"/>
                      <a:pt x="29" y="26"/>
                    </a:cubicBezTo>
                    <a:cubicBezTo>
                      <a:pt x="29" y="25"/>
                      <a:pt x="29" y="25"/>
                      <a:pt x="29" y="25"/>
                    </a:cubicBezTo>
                    <a:cubicBezTo>
                      <a:pt x="29" y="25"/>
                      <a:pt x="29" y="24"/>
                      <a:pt x="29" y="24"/>
                    </a:cubicBezTo>
                    <a:cubicBezTo>
                      <a:pt x="29" y="24"/>
                      <a:pt x="29" y="24"/>
                      <a:pt x="29" y="24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30" y="24"/>
                      <a:pt x="31" y="24"/>
                      <a:pt x="31" y="24"/>
                    </a:cubicBezTo>
                    <a:cubicBezTo>
                      <a:pt x="31" y="24"/>
                      <a:pt x="31" y="24"/>
                      <a:pt x="31" y="24"/>
                    </a:cubicBezTo>
                    <a:cubicBezTo>
                      <a:pt x="32" y="24"/>
                      <a:pt x="32" y="24"/>
                      <a:pt x="32" y="24"/>
                    </a:cubicBezTo>
                    <a:cubicBezTo>
                      <a:pt x="32" y="24"/>
                      <a:pt x="32" y="24"/>
                      <a:pt x="33" y="24"/>
                    </a:cubicBezTo>
                    <a:cubicBezTo>
                      <a:pt x="33" y="24"/>
                      <a:pt x="33" y="23"/>
                      <a:pt x="33" y="23"/>
                    </a:cubicBezTo>
                    <a:cubicBezTo>
                      <a:pt x="32" y="23"/>
                      <a:pt x="32" y="23"/>
                      <a:pt x="32" y="22"/>
                    </a:cubicBezTo>
                    <a:cubicBezTo>
                      <a:pt x="32" y="22"/>
                      <a:pt x="31" y="22"/>
                      <a:pt x="31" y="22"/>
                    </a:cubicBezTo>
                    <a:cubicBezTo>
                      <a:pt x="31" y="22"/>
                      <a:pt x="31" y="22"/>
                      <a:pt x="31" y="21"/>
                    </a:cubicBezTo>
                    <a:cubicBezTo>
                      <a:pt x="31" y="21"/>
                      <a:pt x="30" y="21"/>
                      <a:pt x="30" y="21"/>
                    </a:cubicBezTo>
                    <a:cubicBezTo>
                      <a:pt x="30" y="21"/>
                      <a:pt x="30" y="20"/>
                      <a:pt x="30" y="20"/>
                    </a:cubicBezTo>
                    <a:cubicBezTo>
                      <a:pt x="29" y="20"/>
                      <a:pt x="29" y="20"/>
                      <a:pt x="29" y="19"/>
                    </a:cubicBezTo>
                    <a:cubicBezTo>
                      <a:pt x="29" y="19"/>
                      <a:pt x="30" y="19"/>
                      <a:pt x="30" y="19"/>
                    </a:cubicBezTo>
                    <a:cubicBezTo>
                      <a:pt x="30" y="19"/>
                      <a:pt x="30" y="18"/>
                      <a:pt x="30" y="18"/>
                    </a:cubicBezTo>
                    <a:cubicBezTo>
                      <a:pt x="29" y="17"/>
                      <a:pt x="29" y="17"/>
                      <a:pt x="29" y="16"/>
                    </a:cubicBezTo>
                    <a:cubicBezTo>
                      <a:pt x="29" y="16"/>
                      <a:pt x="28" y="15"/>
                      <a:pt x="27" y="15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8" y="15"/>
                      <a:pt x="29" y="14"/>
                      <a:pt x="28" y="14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7" y="14"/>
                      <a:pt x="27" y="13"/>
                      <a:pt x="27" y="13"/>
                    </a:cubicBezTo>
                    <a:cubicBezTo>
                      <a:pt x="27" y="13"/>
                      <a:pt x="28" y="13"/>
                      <a:pt x="28" y="13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8" y="12"/>
                      <a:pt x="28" y="11"/>
                      <a:pt x="28" y="11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29" y="10"/>
                      <a:pt x="30" y="11"/>
                      <a:pt x="30" y="11"/>
                    </a:cubicBezTo>
                    <a:cubicBezTo>
                      <a:pt x="30" y="11"/>
                      <a:pt x="31" y="11"/>
                      <a:pt x="31" y="10"/>
                    </a:cubicBezTo>
                    <a:cubicBezTo>
                      <a:pt x="31" y="10"/>
                      <a:pt x="32" y="10"/>
                      <a:pt x="31" y="10"/>
                    </a:cubicBezTo>
                    <a:cubicBezTo>
                      <a:pt x="31" y="10"/>
                      <a:pt x="31" y="9"/>
                      <a:pt x="30" y="9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31" y="8"/>
                      <a:pt x="31" y="8"/>
                      <a:pt x="31" y="8"/>
                    </a:cubicBezTo>
                    <a:cubicBezTo>
                      <a:pt x="31" y="8"/>
                      <a:pt x="32" y="8"/>
                      <a:pt x="32" y="8"/>
                    </a:cubicBezTo>
                    <a:cubicBezTo>
                      <a:pt x="32" y="8"/>
                      <a:pt x="32" y="8"/>
                      <a:pt x="33" y="8"/>
                    </a:cubicBezTo>
                    <a:cubicBezTo>
                      <a:pt x="33" y="7"/>
                      <a:pt x="34" y="7"/>
                      <a:pt x="34" y="7"/>
                    </a:cubicBezTo>
                    <a:cubicBezTo>
                      <a:pt x="33" y="7"/>
                      <a:pt x="33" y="6"/>
                      <a:pt x="33" y="6"/>
                    </a:cubicBezTo>
                    <a:cubicBezTo>
                      <a:pt x="33" y="6"/>
                      <a:pt x="33" y="6"/>
                      <a:pt x="32" y="6"/>
                    </a:cubicBezTo>
                    <a:cubicBezTo>
                      <a:pt x="32" y="6"/>
                      <a:pt x="32" y="5"/>
                      <a:pt x="31" y="5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1" y="5"/>
                      <a:pt x="30" y="5"/>
                      <a:pt x="30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0" y="5"/>
                      <a:pt x="30" y="4"/>
                      <a:pt x="30" y="4"/>
                    </a:cubicBezTo>
                    <a:cubicBezTo>
                      <a:pt x="30" y="4"/>
                      <a:pt x="29" y="4"/>
                      <a:pt x="29" y="4"/>
                    </a:cubicBezTo>
                    <a:cubicBezTo>
                      <a:pt x="29" y="4"/>
                      <a:pt x="29" y="4"/>
                      <a:pt x="28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9" y="4"/>
                      <a:pt x="29" y="3"/>
                      <a:pt x="29" y="3"/>
                    </a:cubicBezTo>
                    <a:cubicBezTo>
                      <a:pt x="29" y="3"/>
                      <a:pt x="29" y="2"/>
                      <a:pt x="28" y="2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7" y="2"/>
                      <a:pt x="27" y="2"/>
                      <a:pt x="27" y="2"/>
                    </a:cubicBezTo>
                    <a:cubicBezTo>
                      <a:pt x="27" y="1"/>
                      <a:pt x="27" y="0"/>
                      <a:pt x="27" y="0"/>
                    </a:cubicBezTo>
                    <a:cubicBezTo>
                      <a:pt x="27" y="0"/>
                      <a:pt x="27" y="1"/>
                      <a:pt x="26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6" y="0"/>
                      <a:pt x="25" y="0"/>
                      <a:pt x="25" y="0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5" y="2"/>
                      <a:pt x="25" y="2"/>
                      <a:pt x="24" y="2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4" y="3"/>
                      <a:pt x="24" y="4"/>
                      <a:pt x="24" y="4"/>
                    </a:cubicBezTo>
                    <a:cubicBezTo>
                      <a:pt x="23" y="4"/>
                      <a:pt x="23" y="5"/>
                      <a:pt x="23" y="5"/>
                    </a:cubicBezTo>
                    <a:cubicBezTo>
                      <a:pt x="23" y="5"/>
                      <a:pt x="23" y="6"/>
                      <a:pt x="23" y="6"/>
                    </a:cubicBezTo>
                    <a:cubicBezTo>
                      <a:pt x="23" y="6"/>
                      <a:pt x="23" y="6"/>
                      <a:pt x="22" y="6"/>
                    </a:cubicBezTo>
                    <a:cubicBezTo>
                      <a:pt x="22" y="5"/>
                      <a:pt x="22" y="6"/>
                      <a:pt x="22" y="6"/>
                    </a:cubicBezTo>
                    <a:cubicBezTo>
                      <a:pt x="22" y="6"/>
                      <a:pt x="21" y="6"/>
                      <a:pt x="21" y="7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22" y="7"/>
                      <a:pt x="22" y="7"/>
                      <a:pt x="22" y="8"/>
                    </a:cubicBezTo>
                    <a:cubicBezTo>
                      <a:pt x="22" y="8"/>
                      <a:pt x="22" y="8"/>
                      <a:pt x="21" y="8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8"/>
                      <a:pt x="19" y="9"/>
                      <a:pt x="18" y="9"/>
                    </a:cubicBezTo>
                    <a:cubicBezTo>
                      <a:pt x="18" y="9"/>
                      <a:pt x="18" y="9"/>
                      <a:pt x="17" y="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10"/>
                      <a:pt x="17" y="10"/>
                      <a:pt x="17" y="10"/>
                    </a:cubicBezTo>
                    <a:cubicBezTo>
                      <a:pt x="17" y="10"/>
                      <a:pt x="17" y="10"/>
                      <a:pt x="17" y="10"/>
                    </a:cubicBezTo>
                    <a:cubicBezTo>
                      <a:pt x="17" y="11"/>
                      <a:pt x="16" y="11"/>
                      <a:pt x="16" y="12"/>
                    </a:cubicBezTo>
                    <a:cubicBezTo>
                      <a:pt x="16" y="12"/>
                      <a:pt x="16" y="13"/>
                      <a:pt x="15" y="13"/>
                    </a:cubicBezTo>
                    <a:cubicBezTo>
                      <a:pt x="15" y="13"/>
                      <a:pt x="15" y="14"/>
                      <a:pt x="15" y="14"/>
                    </a:cubicBezTo>
                    <a:cubicBezTo>
                      <a:pt x="14" y="14"/>
                      <a:pt x="14" y="15"/>
                      <a:pt x="14" y="15"/>
                    </a:cubicBezTo>
                    <a:cubicBezTo>
                      <a:pt x="13" y="15"/>
                      <a:pt x="12" y="16"/>
                      <a:pt x="11" y="16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6"/>
                      <a:pt x="9" y="17"/>
                      <a:pt x="9" y="17"/>
                    </a:cubicBezTo>
                    <a:cubicBezTo>
                      <a:pt x="9" y="17"/>
                      <a:pt x="9" y="18"/>
                      <a:pt x="9" y="18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9" y="18"/>
                      <a:pt x="8" y="18"/>
                      <a:pt x="8" y="18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8"/>
                      <a:pt x="8" y="19"/>
                      <a:pt x="8" y="19"/>
                    </a:cubicBezTo>
                    <a:cubicBezTo>
                      <a:pt x="8" y="19"/>
                      <a:pt x="8" y="20"/>
                      <a:pt x="8" y="20"/>
                    </a:cubicBezTo>
                    <a:cubicBezTo>
                      <a:pt x="8" y="20"/>
                      <a:pt x="7" y="20"/>
                      <a:pt x="7" y="21"/>
                    </a:cubicBezTo>
                    <a:cubicBezTo>
                      <a:pt x="7" y="21"/>
                      <a:pt x="7" y="22"/>
                      <a:pt x="8" y="22"/>
                    </a:cubicBezTo>
                    <a:cubicBezTo>
                      <a:pt x="8" y="22"/>
                      <a:pt x="8" y="22"/>
                      <a:pt x="7" y="22"/>
                    </a:cubicBezTo>
                    <a:cubicBezTo>
                      <a:pt x="7" y="22"/>
                      <a:pt x="6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1"/>
                      <a:pt x="5" y="20"/>
                      <a:pt x="5" y="21"/>
                    </a:cubicBezTo>
                    <a:cubicBezTo>
                      <a:pt x="5" y="21"/>
                      <a:pt x="4" y="21"/>
                      <a:pt x="4" y="21"/>
                    </a:cubicBezTo>
                    <a:cubicBezTo>
                      <a:pt x="4" y="21"/>
                      <a:pt x="4" y="20"/>
                      <a:pt x="3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20"/>
                      <a:pt x="2" y="20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lose/>
                    <a:moveTo>
                      <a:pt x="22" y="13"/>
                    </a:moveTo>
                    <a:cubicBezTo>
                      <a:pt x="23" y="11"/>
                      <a:pt x="23" y="11"/>
                      <a:pt x="23" y="11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2" y="14"/>
                      <a:pt x="22" y="14"/>
                      <a:pt x="22" y="14"/>
                    </a:cubicBezTo>
                    <a:lnTo>
                      <a:pt x="22" y="13"/>
                    </a:lnTo>
                    <a:close/>
                    <a:moveTo>
                      <a:pt x="19" y="21"/>
                    </a:moveTo>
                    <a:cubicBezTo>
                      <a:pt x="19" y="21"/>
                      <a:pt x="19" y="20"/>
                      <a:pt x="19" y="20"/>
                    </a:cubicBezTo>
                    <a:cubicBezTo>
                      <a:pt x="19" y="20"/>
                      <a:pt x="19" y="21"/>
                      <a:pt x="19" y="21"/>
                    </a:cubicBezTo>
                    <a:close/>
                    <a:moveTo>
                      <a:pt x="21" y="16"/>
                    </a:moveTo>
                    <a:cubicBezTo>
                      <a:pt x="21" y="15"/>
                      <a:pt x="21" y="15"/>
                      <a:pt x="21" y="15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19" y="20"/>
                      <a:pt x="19" y="20"/>
                      <a:pt x="19" y="20"/>
                    </a:cubicBezTo>
                    <a:cubicBezTo>
                      <a:pt x="19" y="20"/>
                      <a:pt x="19" y="20"/>
                      <a:pt x="19" y="20"/>
                    </a:cubicBezTo>
                    <a:lnTo>
                      <a:pt x="21" y="16"/>
                    </a:lnTo>
                    <a:close/>
                    <a:moveTo>
                      <a:pt x="15" y="22"/>
                    </a:moveTo>
                    <a:cubicBezTo>
                      <a:pt x="15" y="22"/>
                      <a:pt x="15" y="22"/>
                      <a:pt x="15" y="22"/>
                    </a:cubicBezTo>
                    <a:cubicBezTo>
                      <a:pt x="14" y="22"/>
                      <a:pt x="14" y="22"/>
                      <a:pt x="14" y="22"/>
                    </a:cubicBezTo>
                    <a:lnTo>
                      <a:pt x="15" y="22"/>
                    </a:lnTo>
                    <a:close/>
                    <a:moveTo>
                      <a:pt x="14" y="23"/>
                    </a:moveTo>
                    <a:cubicBezTo>
                      <a:pt x="14" y="23"/>
                      <a:pt x="14" y="23"/>
                      <a:pt x="14" y="23"/>
                    </a:cubicBezTo>
                    <a:cubicBezTo>
                      <a:pt x="11" y="21"/>
                      <a:pt x="11" y="21"/>
                      <a:pt x="11" y="21"/>
                    </a:cubicBezTo>
                    <a:lnTo>
                      <a:pt x="14" y="23"/>
                    </a:lnTo>
                    <a:close/>
                    <a:moveTo>
                      <a:pt x="9" y="23"/>
                    </a:moveTo>
                    <a:cubicBezTo>
                      <a:pt x="10" y="23"/>
                      <a:pt x="10" y="22"/>
                      <a:pt x="10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0" y="22"/>
                      <a:pt x="10" y="23"/>
                      <a:pt x="9" y="23"/>
                    </a:cubicBezTo>
                    <a:cubicBezTo>
                      <a:pt x="8" y="23"/>
                      <a:pt x="7" y="24"/>
                      <a:pt x="7" y="24"/>
                    </a:cubicBezTo>
                    <a:cubicBezTo>
                      <a:pt x="7" y="24"/>
                      <a:pt x="7" y="24"/>
                      <a:pt x="7" y="24"/>
                    </a:cubicBezTo>
                    <a:cubicBezTo>
                      <a:pt x="7" y="24"/>
                      <a:pt x="8" y="23"/>
                      <a:pt x="9" y="2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64" name="Freeform 99">
                <a:extLst>
                  <a:ext uri="{FF2B5EF4-FFF2-40B4-BE49-F238E27FC236}">
                    <a16:creationId xmlns:a16="http://schemas.microsoft.com/office/drawing/2014/main" id="{0E778D1A-7D87-41EC-989A-1A908BE4D1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" y="2558"/>
                <a:ext cx="50" cy="66"/>
              </a:xfrm>
              <a:custGeom>
                <a:avLst/>
                <a:gdLst>
                  <a:gd name="T0" fmla="*/ 10 w 21"/>
                  <a:gd name="T1" fmla="*/ 13 h 28"/>
                  <a:gd name="T2" fmla="*/ 12 w 21"/>
                  <a:gd name="T3" fmla="*/ 11 h 28"/>
                  <a:gd name="T4" fmla="*/ 14 w 21"/>
                  <a:gd name="T5" fmla="*/ 9 h 28"/>
                  <a:gd name="T6" fmla="*/ 15 w 21"/>
                  <a:gd name="T7" fmla="*/ 9 h 28"/>
                  <a:gd name="T8" fmla="*/ 13 w 21"/>
                  <a:gd name="T9" fmla="*/ 9 h 28"/>
                  <a:gd name="T10" fmla="*/ 9 w 21"/>
                  <a:gd name="T11" fmla="*/ 10 h 28"/>
                  <a:gd name="T12" fmla="*/ 9 w 21"/>
                  <a:gd name="T13" fmla="*/ 10 h 28"/>
                  <a:gd name="T14" fmla="*/ 7 w 21"/>
                  <a:gd name="T15" fmla="*/ 11 h 28"/>
                  <a:gd name="T16" fmla="*/ 6 w 21"/>
                  <a:gd name="T17" fmla="*/ 10 h 28"/>
                  <a:gd name="T18" fmla="*/ 5 w 21"/>
                  <a:gd name="T19" fmla="*/ 5 h 28"/>
                  <a:gd name="T20" fmla="*/ 7 w 21"/>
                  <a:gd name="T21" fmla="*/ 4 h 28"/>
                  <a:gd name="T22" fmla="*/ 9 w 21"/>
                  <a:gd name="T23" fmla="*/ 4 h 28"/>
                  <a:gd name="T24" fmla="*/ 11 w 21"/>
                  <a:gd name="T25" fmla="*/ 4 h 28"/>
                  <a:gd name="T26" fmla="*/ 13 w 21"/>
                  <a:gd name="T27" fmla="*/ 4 h 28"/>
                  <a:gd name="T28" fmla="*/ 15 w 21"/>
                  <a:gd name="T29" fmla="*/ 5 h 28"/>
                  <a:gd name="T30" fmla="*/ 19 w 21"/>
                  <a:gd name="T31" fmla="*/ 4 h 28"/>
                  <a:gd name="T32" fmla="*/ 21 w 21"/>
                  <a:gd name="T33" fmla="*/ 1 h 28"/>
                  <a:gd name="T34" fmla="*/ 20 w 21"/>
                  <a:gd name="T35" fmla="*/ 0 h 28"/>
                  <a:gd name="T36" fmla="*/ 19 w 21"/>
                  <a:gd name="T37" fmla="*/ 1 h 28"/>
                  <a:gd name="T38" fmla="*/ 17 w 21"/>
                  <a:gd name="T39" fmla="*/ 3 h 28"/>
                  <a:gd name="T40" fmla="*/ 12 w 21"/>
                  <a:gd name="T41" fmla="*/ 2 h 28"/>
                  <a:gd name="T42" fmla="*/ 9 w 21"/>
                  <a:gd name="T43" fmla="*/ 2 h 28"/>
                  <a:gd name="T44" fmla="*/ 7 w 21"/>
                  <a:gd name="T45" fmla="*/ 2 h 28"/>
                  <a:gd name="T46" fmla="*/ 6 w 21"/>
                  <a:gd name="T47" fmla="*/ 3 h 28"/>
                  <a:gd name="T48" fmla="*/ 5 w 21"/>
                  <a:gd name="T49" fmla="*/ 3 h 28"/>
                  <a:gd name="T50" fmla="*/ 3 w 21"/>
                  <a:gd name="T51" fmla="*/ 6 h 28"/>
                  <a:gd name="T52" fmla="*/ 3 w 21"/>
                  <a:gd name="T53" fmla="*/ 7 h 28"/>
                  <a:gd name="T54" fmla="*/ 3 w 21"/>
                  <a:gd name="T55" fmla="*/ 10 h 28"/>
                  <a:gd name="T56" fmla="*/ 2 w 21"/>
                  <a:gd name="T57" fmla="*/ 10 h 28"/>
                  <a:gd name="T58" fmla="*/ 2 w 21"/>
                  <a:gd name="T59" fmla="*/ 12 h 28"/>
                  <a:gd name="T60" fmla="*/ 2 w 21"/>
                  <a:gd name="T61" fmla="*/ 14 h 28"/>
                  <a:gd name="T62" fmla="*/ 1 w 21"/>
                  <a:gd name="T63" fmla="*/ 16 h 28"/>
                  <a:gd name="T64" fmla="*/ 0 w 21"/>
                  <a:gd name="T65" fmla="*/ 17 h 28"/>
                  <a:gd name="T66" fmla="*/ 0 w 21"/>
                  <a:gd name="T67" fmla="*/ 19 h 28"/>
                  <a:gd name="T68" fmla="*/ 2 w 21"/>
                  <a:gd name="T69" fmla="*/ 20 h 28"/>
                  <a:gd name="T70" fmla="*/ 3 w 21"/>
                  <a:gd name="T71" fmla="*/ 20 h 28"/>
                  <a:gd name="T72" fmla="*/ 3 w 21"/>
                  <a:gd name="T73" fmla="*/ 23 h 28"/>
                  <a:gd name="T74" fmla="*/ 2 w 21"/>
                  <a:gd name="T75" fmla="*/ 28 h 28"/>
                  <a:gd name="T76" fmla="*/ 5 w 21"/>
                  <a:gd name="T77" fmla="*/ 28 h 28"/>
                  <a:gd name="T78" fmla="*/ 5 w 21"/>
                  <a:gd name="T79" fmla="*/ 25 h 28"/>
                  <a:gd name="T80" fmla="*/ 5 w 21"/>
                  <a:gd name="T81" fmla="*/ 21 h 28"/>
                  <a:gd name="T82" fmla="*/ 5 w 21"/>
                  <a:gd name="T83" fmla="*/ 18 h 28"/>
                  <a:gd name="T84" fmla="*/ 6 w 21"/>
                  <a:gd name="T85" fmla="*/ 17 h 28"/>
                  <a:gd name="T86" fmla="*/ 8 w 21"/>
                  <a:gd name="T87" fmla="*/ 17 h 28"/>
                  <a:gd name="T88" fmla="*/ 8 w 21"/>
                  <a:gd name="T89" fmla="*/ 18 h 28"/>
                  <a:gd name="T90" fmla="*/ 8 w 21"/>
                  <a:gd name="T91" fmla="*/ 21 h 28"/>
                  <a:gd name="T92" fmla="*/ 9 w 21"/>
                  <a:gd name="T93" fmla="*/ 22 h 28"/>
                  <a:gd name="T94" fmla="*/ 9 w 21"/>
                  <a:gd name="T95" fmla="*/ 25 h 28"/>
                  <a:gd name="T96" fmla="*/ 11 w 21"/>
                  <a:gd name="T97" fmla="*/ 24 h 28"/>
                  <a:gd name="T98" fmla="*/ 14 w 21"/>
                  <a:gd name="T99" fmla="*/ 22 h 28"/>
                  <a:gd name="T100" fmla="*/ 13 w 21"/>
                  <a:gd name="T101" fmla="*/ 22 h 28"/>
                  <a:gd name="T102" fmla="*/ 12 w 21"/>
                  <a:gd name="T103" fmla="*/ 19 h 28"/>
                  <a:gd name="T104" fmla="*/ 10 w 21"/>
                  <a:gd name="T105" fmla="*/ 15 h 28"/>
                  <a:gd name="T106" fmla="*/ 8 w 21"/>
                  <a:gd name="T107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1" h="28">
                    <a:moveTo>
                      <a:pt x="9" y="13"/>
                    </a:moveTo>
                    <a:cubicBezTo>
                      <a:pt x="9" y="14"/>
                      <a:pt x="10" y="14"/>
                      <a:pt x="10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1" y="12"/>
                      <a:pt x="11" y="12"/>
                      <a:pt x="12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3" y="11"/>
                      <a:pt x="13" y="10"/>
                      <a:pt x="13" y="10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4" y="10"/>
                      <a:pt x="15" y="10"/>
                      <a:pt x="15" y="10"/>
                    </a:cubicBezTo>
                    <a:cubicBezTo>
                      <a:pt x="15" y="10"/>
                      <a:pt x="15" y="10"/>
                      <a:pt x="15" y="9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9"/>
                      <a:pt x="13" y="9"/>
                      <a:pt x="13" y="9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3" y="9"/>
                      <a:pt x="12" y="9"/>
                      <a:pt x="12" y="9"/>
                    </a:cubicBezTo>
                    <a:cubicBezTo>
                      <a:pt x="12" y="9"/>
                      <a:pt x="11" y="9"/>
                      <a:pt x="11" y="10"/>
                    </a:cubicBezTo>
                    <a:cubicBezTo>
                      <a:pt x="11" y="10"/>
                      <a:pt x="10" y="10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9" y="9"/>
                      <a:pt x="9" y="9"/>
                      <a:pt x="9" y="10"/>
                    </a:cubicBezTo>
                    <a:cubicBezTo>
                      <a:pt x="9" y="10"/>
                      <a:pt x="9" y="10"/>
                      <a:pt x="8" y="10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7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1"/>
                      <a:pt x="6" y="10"/>
                      <a:pt x="6" y="10"/>
                    </a:cubicBezTo>
                    <a:cubicBezTo>
                      <a:pt x="6" y="10"/>
                      <a:pt x="5" y="10"/>
                      <a:pt x="5" y="9"/>
                    </a:cubicBezTo>
                    <a:cubicBezTo>
                      <a:pt x="5" y="9"/>
                      <a:pt x="4" y="8"/>
                      <a:pt x="5" y="7"/>
                    </a:cubicBezTo>
                    <a:cubicBezTo>
                      <a:pt x="5" y="7"/>
                      <a:pt x="5" y="6"/>
                      <a:pt x="5" y="5"/>
                    </a:cubicBezTo>
                    <a:cubicBezTo>
                      <a:pt x="5" y="5"/>
                      <a:pt x="6" y="5"/>
                      <a:pt x="6" y="4"/>
                    </a:cubicBezTo>
                    <a:cubicBezTo>
                      <a:pt x="6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5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9" y="5"/>
                      <a:pt x="9" y="5"/>
                      <a:pt x="9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2" y="4"/>
                      <a:pt x="12" y="4"/>
                      <a:pt x="13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6" y="5"/>
                      <a:pt x="17" y="5"/>
                      <a:pt x="18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8" y="5"/>
                      <a:pt x="19" y="4"/>
                      <a:pt x="19" y="4"/>
                    </a:cubicBezTo>
                    <a:cubicBezTo>
                      <a:pt x="19" y="3"/>
                      <a:pt x="19" y="3"/>
                      <a:pt x="20" y="3"/>
                    </a:cubicBezTo>
                    <a:cubicBezTo>
                      <a:pt x="20" y="3"/>
                      <a:pt x="20" y="2"/>
                      <a:pt x="21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1"/>
                      <a:pt x="21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19" y="0"/>
                      <a:pt x="19" y="0"/>
                    </a:cubicBezTo>
                    <a:cubicBezTo>
                      <a:pt x="19" y="0"/>
                      <a:pt x="19" y="1"/>
                      <a:pt x="19" y="1"/>
                    </a:cubicBezTo>
                    <a:cubicBezTo>
                      <a:pt x="19" y="1"/>
                      <a:pt x="18" y="1"/>
                      <a:pt x="18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2"/>
                      <a:pt x="17" y="3"/>
                      <a:pt x="17" y="3"/>
                    </a:cubicBezTo>
                    <a:cubicBezTo>
                      <a:pt x="16" y="3"/>
                      <a:pt x="16" y="3"/>
                      <a:pt x="15" y="3"/>
                    </a:cubicBezTo>
                    <a:cubicBezTo>
                      <a:pt x="15" y="3"/>
                      <a:pt x="14" y="3"/>
                      <a:pt x="14" y="3"/>
                    </a:cubicBezTo>
                    <a:cubicBezTo>
                      <a:pt x="13" y="3"/>
                      <a:pt x="13" y="3"/>
                      <a:pt x="12" y="2"/>
                    </a:cubicBezTo>
                    <a:cubicBezTo>
                      <a:pt x="12" y="2"/>
                      <a:pt x="11" y="2"/>
                      <a:pt x="11" y="2"/>
                    </a:cubicBezTo>
                    <a:cubicBezTo>
                      <a:pt x="11" y="2"/>
                      <a:pt x="10" y="2"/>
                      <a:pt x="10" y="2"/>
                    </a:cubicBezTo>
                    <a:cubicBezTo>
                      <a:pt x="10" y="2"/>
                      <a:pt x="9" y="2"/>
                      <a:pt x="9" y="2"/>
                    </a:cubicBezTo>
                    <a:cubicBezTo>
                      <a:pt x="9" y="2"/>
                      <a:pt x="9" y="1"/>
                      <a:pt x="8" y="1"/>
                    </a:cubicBezTo>
                    <a:cubicBezTo>
                      <a:pt x="8" y="1"/>
                      <a:pt x="8" y="1"/>
                      <a:pt x="7" y="1"/>
                    </a:cubicBezTo>
                    <a:cubicBezTo>
                      <a:pt x="7" y="1"/>
                      <a:pt x="7" y="1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6" y="2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5" y="2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4"/>
                      <a:pt x="4" y="4"/>
                      <a:pt x="4" y="5"/>
                    </a:cubicBezTo>
                    <a:cubicBezTo>
                      <a:pt x="4" y="5"/>
                      <a:pt x="4" y="5"/>
                      <a:pt x="3" y="5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7"/>
                      <a:pt x="3" y="7"/>
                    </a:cubicBezTo>
                    <a:cubicBezTo>
                      <a:pt x="3" y="7"/>
                      <a:pt x="3" y="8"/>
                      <a:pt x="3" y="8"/>
                    </a:cubicBezTo>
                    <a:cubicBezTo>
                      <a:pt x="3" y="8"/>
                      <a:pt x="4" y="9"/>
                      <a:pt x="4" y="9"/>
                    </a:cubicBezTo>
                    <a:cubicBezTo>
                      <a:pt x="4" y="10"/>
                      <a:pt x="4" y="10"/>
                      <a:pt x="3" y="10"/>
                    </a:cubicBezTo>
                    <a:cubicBezTo>
                      <a:pt x="3" y="10"/>
                      <a:pt x="3" y="9"/>
                      <a:pt x="3" y="9"/>
                    </a:cubicBezTo>
                    <a:cubicBezTo>
                      <a:pt x="3" y="9"/>
                      <a:pt x="3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1"/>
                      <a:pt x="2" y="12"/>
                      <a:pt x="3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3"/>
                      <a:pt x="2" y="14"/>
                      <a:pt x="2" y="14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2" y="14"/>
                      <a:pt x="2" y="14"/>
                      <a:pt x="2" y="15"/>
                    </a:cubicBezTo>
                    <a:cubicBezTo>
                      <a:pt x="2" y="15"/>
                      <a:pt x="2" y="15"/>
                      <a:pt x="1" y="15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0" y="17"/>
                      <a:pt x="0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1" y="17"/>
                      <a:pt x="1" y="17"/>
                      <a:pt x="1" y="18"/>
                    </a:cubicBezTo>
                    <a:cubicBezTo>
                      <a:pt x="1" y="18"/>
                      <a:pt x="0" y="18"/>
                      <a:pt x="0" y="18"/>
                    </a:cubicBezTo>
                    <a:cubicBezTo>
                      <a:pt x="0" y="18"/>
                      <a:pt x="0" y="19"/>
                      <a:pt x="0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1" y="20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2" y="20"/>
                      <a:pt x="3" y="20"/>
                      <a:pt x="3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2" y="21"/>
                      <a:pt x="2" y="21"/>
                      <a:pt x="3" y="22"/>
                    </a:cubicBezTo>
                    <a:cubicBezTo>
                      <a:pt x="3" y="22"/>
                      <a:pt x="3" y="23"/>
                      <a:pt x="3" y="23"/>
                    </a:cubicBezTo>
                    <a:cubicBezTo>
                      <a:pt x="3" y="24"/>
                      <a:pt x="3" y="25"/>
                      <a:pt x="3" y="25"/>
                    </a:cubicBezTo>
                    <a:cubicBezTo>
                      <a:pt x="2" y="25"/>
                      <a:pt x="2" y="26"/>
                      <a:pt x="2" y="26"/>
                    </a:cubicBezTo>
                    <a:cubicBezTo>
                      <a:pt x="2" y="27"/>
                      <a:pt x="2" y="27"/>
                      <a:pt x="2" y="28"/>
                    </a:cubicBezTo>
                    <a:cubicBezTo>
                      <a:pt x="3" y="28"/>
                      <a:pt x="3" y="28"/>
                      <a:pt x="3" y="28"/>
                    </a:cubicBezTo>
                    <a:cubicBezTo>
                      <a:pt x="3" y="28"/>
                      <a:pt x="4" y="28"/>
                      <a:pt x="4" y="28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5" y="28"/>
                      <a:pt x="6" y="28"/>
                      <a:pt x="6" y="28"/>
                    </a:cubicBezTo>
                    <a:cubicBezTo>
                      <a:pt x="6" y="28"/>
                      <a:pt x="6" y="27"/>
                      <a:pt x="6" y="27"/>
                    </a:cubicBezTo>
                    <a:cubicBezTo>
                      <a:pt x="5" y="27"/>
                      <a:pt x="5" y="26"/>
                      <a:pt x="5" y="25"/>
                    </a:cubicBezTo>
                    <a:cubicBezTo>
                      <a:pt x="5" y="25"/>
                      <a:pt x="6" y="24"/>
                      <a:pt x="6" y="24"/>
                    </a:cubicBezTo>
                    <a:cubicBezTo>
                      <a:pt x="6" y="24"/>
                      <a:pt x="5" y="23"/>
                      <a:pt x="5" y="22"/>
                    </a:cubicBezTo>
                    <a:cubicBezTo>
                      <a:pt x="5" y="22"/>
                      <a:pt x="5" y="21"/>
                      <a:pt x="5" y="21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8"/>
                      <a:pt x="5" y="17"/>
                      <a:pt x="5" y="17"/>
                    </a:cubicBezTo>
                    <a:cubicBezTo>
                      <a:pt x="5" y="17"/>
                      <a:pt x="6" y="17"/>
                      <a:pt x="6" y="17"/>
                    </a:cubicBezTo>
                    <a:cubicBezTo>
                      <a:pt x="6" y="17"/>
                      <a:pt x="6" y="17"/>
                      <a:pt x="7" y="16"/>
                    </a:cubicBezTo>
                    <a:cubicBezTo>
                      <a:pt x="7" y="16"/>
                      <a:pt x="7" y="16"/>
                      <a:pt x="7" y="17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8" y="17"/>
                      <a:pt x="8" y="18"/>
                      <a:pt x="8" y="18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7" y="18"/>
                      <a:pt x="7" y="19"/>
                      <a:pt x="7" y="19"/>
                    </a:cubicBezTo>
                    <a:cubicBezTo>
                      <a:pt x="7" y="19"/>
                      <a:pt x="7" y="19"/>
                      <a:pt x="7" y="20"/>
                    </a:cubicBezTo>
                    <a:cubicBezTo>
                      <a:pt x="7" y="20"/>
                      <a:pt x="8" y="20"/>
                      <a:pt x="8" y="21"/>
                    </a:cubicBezTo>
                    <a:cubicBezTo>
                      <a:pt x="8" y="21"/>
                      <a:pt x="8" y="21"/>
                      <a:pt x="9" y="21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9" y="23"/>
                      <a:pt x="9" y="23"/>
                      <a:pt x="9" y="23"/>
                    </a:cubicBezTo>
                    <a:cubicBezTo>
                      <a:pt x="9" y="23"/>
                      <a:pt x="9" y="23"/>
                      <a:pt x="9" y="23"/>
                    </a:cubicBezTo>
                    <a:cubicBezTo>
                      <a:pt x="9" y="24"/>
                      <a:pt x="9" y="24"/>
                      <a:pt x="9" y="25"/>
                    </a:cubicBezTo>
                    <a:cubicBezTo>
                      <a:pt x="9" y="25"/>
                      <a:pt x="10" y="25"/>
                      <a:pt x="10" y="25"/>
                    </a:cubicBezTo>
                    <a:cubicBezTo>
                      <a:pt x="11" y="25"/>
                      <a:pt x="11" y="24"/>
                      <a:pt x="11" y="24"/>
                    </a:cubicBezTo>
                    <a:cubicBezTo>
                      <a:pt x="11" y="24"/>
                      <a:pt x="11" y="24"/>
                      <a:pt x="11" y="24"/>
                    </a:cubicBezTo>
                    <a:cubicBezTo>
                      <a:pt x="12" y="24"/>
                      <a:pt x="12" y="23"/>
                      <a:pt x="12" y="23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3" y="23"/>
                      <a:pt x="14" y="22"/>
                      <a:pt x="14" y="22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2" y="21"/>
                      <a:pt x="12" y="21"/>
                      <a:pt x="12" y="20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12" y="20"/>
                      <a:pt x="12" y="19"/>
                      <a:pt x="12" y="19"/>
                    </a:cubicBezTo>
                    <a:cubicBezTo>
                      <a:pt x="12" y="18"/>
                      <a:pt x="12" y="18"/>
                      <a:pt x="11" y="17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17"/>
                      <a:pt x="10" y="15"/>
                      <a:pt x="10" y="15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9" y="15"/>
                      <a:pt x="9" y="14"/>
                      <a:pt x="9" y="14"/>
                    </a:cubicBezTo>
                    <a:cubicBezTo>
                      <a:pt x="8" y="14"/>
                      <a:pt x="8" y="13"/>
                      <a:pt x="8" y="13"/>
                    </a:cubicBezTo>
                    <a:cubicBezTo>
                      <a:pt x="8" y="13"/>
                      <a:pt x="9" y="13"/>
                      <a:pt x="9" y="1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65" name="Freeform 100">
                <a:extLst>
                  <a:ext uri="{FF2B5EF4-FFF2-40B4-BE49-F238E27FC236}">
                    <a16:creationId xmlns:a16="http://schemas.microsoft.com/office/drawing/2014/main" id="{7C50F9AB-7CE5-419D-920B-9084C9AF51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2" y="2387"/>
                <a:ext cx="17" cy="17"/>
              </a:xfrm>
              <a:custGeom>
                <a:avLst/>
                <a:gdLst>
                  <a:gd name="T0" fmla="*/ 6 w 7"/>
                  <a:gd name="T1" fmla="*/ 5 h 7"/>
                  <a:gd name="T2" fmla="*/ 6 w 7"/>
                  <a:gd name="T3" fmla="*/ 5 h 7"/>
                  <a:gd name="T4" fmla="*/ 6 w 7"/>
                  <a:gd name="T5" fmla="*/ 4 h 7"/>
                  <a:gd name="T6" fmla="*/ 6 w 7"/>
                  <a:gd name="T7" fmla="*/ 3 h 7"/>
                  <a:gd name="T8" fmla="*/ 7 w 7"/>
                  <a:gd name="T9" fmla="*/ 2 h 7"/>
                  <a:gd name="T10" fmla="*/ 7 w 7"/>
                  <a:gd name="T11" fmla="*/ 2 h 7"/>
                  <a:gd name="T12" fmla="*/ 7 w 7"/>
                  <a:gd name="T13" fmla="*/ 1 h 7"/>
                  <a:gd name="T14" fmla="*/ 7 w 7"/>
                  <a:gd name="T15" fmla="*/ 1 h 7"/>
                  <a:gd name="T16" fmla="*/ 6 w 7"/>
                  <a:gd name="T17" fmla="*/ 0 h 7"/>
                  <a:gd name="T18" fmla="*/ 5 w 7"/>
                  <a:gd name="T19" fmla="*/ 0 h 7"/>
                  <a:gd name="T20" fmla="*/ 4 w 7"/>
                  <a:gd name="T21" fmla="*/ 0 h 7"/>
                  <a:gd name="T22" fmla="*/ 4 w 7"/>
                  <a:gd name="T23" fmla="*/ 0 h 7"/>
                  <a:gd name="T24" fmla="*/ 3 w 7"/>
                  <a:gd name="T25" fmla="*/ 0 h 7"/>
                  <a:gd name="T26" fmla="*/ 3 w 7"/>
                  <a:gd name="T27" fmla="*/ 0 h 7"/>
                  <a:gd name="T28" fmla="*/ 2 w 7"/>
                  <a:gd name="T29" fmla="*/ 1 h 7"/>
                  <a:gd name="T30" fmla="*/ 2 w 7"/>
                  <a:gd name="T31" fmla="*/ 1 h 7"/>
                  <a:gd name="T32" fmla="*/ 1 w 7"/>
                  <a:gd name="T33" fmla="*/ 1 h 7"/>
                  <a:gd name="T34" fmla="*/ 1 w 7"/>
                  <a:gd name="T35" fmla="*/ 1 h 7"/>
                  <a:gd name="T36" fmla="*/ 1 w 7"/>
                  <a:gd name="T37" fmla="*/ 1 h 7"/>
                  <a:gd name="T38" fmla="*/ 1 w 7"/>
                  <a:gd name="T39" fmla="*/ 2 h 7"/>
                  <a:gd name="T40" fmla="*/ 0 w 7"/>
                  <a:gd name="T41" fmla="*/ 2 h 7"/>
                  <a:gd name="T42" fmla="*/ 0 w 7"/>
                  <a:gd name="T43" fmla="*/ 3 h 7"/>
                  <a:gd name="T44" fmla="*/ 0 w 7"/>
                  <a:gd name="T45" fmla="*/ 4 h 7"/>
                  <a:gd name="T46" fmla="*/ 0 w 7"/>
                  <a:gd name="T47" fmla="*/ 4 h 7"/>
                  <a:gd name="T48" fmla="*/ 0 w 7"/>
                  <a:gd name="T49" fmla="*/ 5 h 7"/>
                  <a:gd name="T50" fmla="*/ 0 w 7"/>
                  <a:gd name="T51" fmla="*/ 5 h 7"/>
                  <a:gd name="T52" fmla="*/ 0 w 7"/>
                  <a:gd name="T53" fmla="*/ 6 h 7"/>
                  <a:gd name="T54" fmla="*/ 1 w 7"/>
                  <a:gd name="T55" fmla="*/ 7 h 7"/>
                  <a:gd name="T56" fmla="*/ 1 w 7"/>
                  <a:gd name="T57" fmla="*/ 7 h 7"/>
                  <a:gd name="T58" fmla="*/ 2 w 7"/>
                  <a:gd name="T59" fmla="*/ 7 h 7"/>
                  <a:gd name="T60" fmla="*/ 3 w 7"/>
                  <a:gd name="T61" fmla="*/ 7 h 7"/>
                  <a:gd name="T62" fmla="*/ 3 w 7"/>
                  <a:gd name="T63" fmla="*/ 7 h 7"/>
                  <a:gd name="T64" fmla="*/ 4 w 7"/>
                  <a:gd name="T65" fmla="*/ 7 h 7"/>
                  <a:gd name="T66" fmla="*/ 4 w 7"/>
                  <a:gd name="T67" fmla="*/ 6 h 7"/>
                  <a:gd name="T68" fmla="*/ 5 w 7"/>
                  <a:gd name="T69" fmla="*/ 6 h 7"/>
                  <a:gd name="T70" fmla="*/ 6 w 7"/>
                  <a:gd name="T71" fmla="*/ 5 h 7"/>
                  <a:gd name="T72" fmla="*/ 6 w 7"/>
                  <a:gd name="T73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" h="7">
                    <a:moveTo>
                      <a:pt x="6" y="5"/>
                    </a:move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4"/>
                      <a:pt x="6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7" y="2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0"/>
                      <a:pt x="7" y="0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1" y="2"/>
                      <a:pt x="1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6"/>
                      <a:pt x="0" y="6"/>
                    </a:cubicBezTo>
                    <a:cubicBezTo>
                      <a:pt x="0" y="6"/>
                      <a:pt x="1" y="7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6"/>
                      <a:pt x="6" y="5"/>
                      <a:pt x="6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414B97EF-8843-45FC-9A44-F2C8CC097A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8" y="2337"/>
                <a:ext cx="16" cy="31"/>
              </a:xfrm>
              <a:custGeom>
                <a:avLst/>
                <a:gdLst>
                  <a:gd name="T0" fmla="*/ 3 w 7"/>
                  <a:gd name="T1" fmla="*/ 2 h 13"/>
                  <a:gd name="T2" fmla="*/ 3 w 7"/>
                  <a:gd name="T3" fmla="*/ 3 h 13"/>
                  <a:gd name="T4" fmla="*/ 2 w 7"/>
                  <a:gd name="T5" fmla="*/ 3 h 13"/>
                  <a:gd name="T6" fmla="*/ 1 w 7"/>
                  <a:gd name="T7" fmla="*/ 5 h 13"/>
                  <a:gd name="T8" fmla="*/ 1 w 7"/>
                  <a:gd name="T9" fmla="*/ 6 h 13"/>
                  <a:gd name="T10" fmla="*/ 1 w 7"/>
                  <a:gd name="T11" fmla="*/ 7 h 13"/>
                  <a:gd name="T12" fmla="*/ 0 w 7"/>
                  <a:gd name="T13" fmla="*/ 8 h 13"/>
                  <a:gd name="T14" fmla="*/ 1 w 7"/>
                  <a:gd name="T15" fmla="*/ 10 h 13"/>
                  <a:gd name="T16" fmla="*/ 1 w 7"/>
                  <a:gd name="T17" fmla="*/ 10 h 13"/>
                  <a:gd name="T18" fmla="*/ 1 w 7"/>
                  <a:gd name="T19" fmla="*/ 10 h 13"/>
                  <a:gd name="T20" fmla="*/ 1 w 7"/>
                  <a:gd name="T21" fmla="*/ 11 h 13"/>
                  <a:gd name="T22" fmla="*/ 2 w 7"/>
                  <a:gd name="T23" fmla="*/ 12 h 13"/>
                  <a:gd name="T24" fmla="*/ 2 w 7"/>
                  <a:gd name="T25" fmla="*/ 12 h 13"/>
                  <a:gd name="T26" fmla="*/ 2 w 7"/>
                  <a:gd name="T27" fmla="*/ 13 h 13"/>
                  <a:gd name="T28" fmla="*/ 3 w 7"/>
                  <a:gd name="T29" fmla="*/ 13 h 13"/>
                  <a:gd name="T30" fmla="*/ 3 w 7"/>
                  <a:gd name="T31" fmla="*/ 13 h 13"/>
                  <a:gd name="T32" fmla="*/ 3 w 7"/>
                  <a:gd name="T33" fmla="*/ 12 h 13"/>
                  <a:gd name="T34" fmla="*/ 3 w 7"/>
                  <a:gd name="T35" fmla="*/ 11 h 13"/>
                  <a:gd name="T36" fmla="*/ 3 w 7"/>
                  <a:gd name="T37" fmla="*/ 11 h 13"/>
                  <a:gd name="T38" fmla="*/ 4 w 7"/>
                  <a:gd name="T39" fmla="*/ 9 h 13"/>
                  <a:gd name="T40" fmla="*/ 4 w 7"/>
                  <a:gd name="T41" fmla="*/ 9 h 13"/>
                  <a:gd name="T42" fmla="*/ 4 w 7"/>
                  <a:gd name="T43" fmla="*/ 8 h 13"/>
                  <a:gd name="T44" fmla="*/ 4 w 7"/>
                  <a:gd name="T45" fmla="*/ 8 h 13"/>
                  <a:gd name="T46" fmla="*/ 5 w 7"/>
                  <a:gd name="T47" fmla="*/ 5 h 13"/>
                  <a:gd name="T48" fmla="*/ 6 w 7"/>
                  <a:gd name="T49" fmla="*/ 3 h 13"/>
                  <a:gd name="T50" fmla="*/ 6 w 7"/>
                  <a:gd name="T51" fmla="*/ 3 h 13"/>
                  <a:gd name="T52" fmla="*/ 6 w 7"/>
                  <a:gd name="T53" fmla="*/ 3 h 13"/>
                  <a:gd name="T54" fmla="*/ 6 w 7"/>
                  <a:gd name="T55" fmla="*/ 2 h 13"/>
                  <a:gd name="T56" fmla="*/ 6 w 7"/>
                  <a:gd name="T57" fmla="*/ 2 h 13"/>
                  <a:gd name="T58" fmla="*/ 7 w 7"/>
                  <a:gd name="T59" fmla="*/ 1 h 13"/>
                  <a:gd name="T60" fmla="*/ 7 w 7"/>
                  <a:gd name="T61" fmla="*/ 1 h 13"/>
                  <a:gd name="T62" fmla="*/ 6 w 7"/>
                  <a:gd name="T63" fmla="*/ 1 h 13"/>
                  <a:gd name="T64" fmla="*/ 6 w 7"/>
                  <a:gd name="T65" fmla="*/ 1 h 13"/>
                  <a:gd name="T66" fmla="*/ 6 w 7"/>
                  <a:gd name="T67" fmla="*/ 0 h 13"/>
                  <a:gd name="T68" fmla="*/ 6 w 7"/>
                  <a:gd name="T69" fmla="*/ 0 h 13"/>
                  <a:gd name="T70" fmla="*/ 5 w 7"/>
                  <a:gd name="T71" fmla="*/ 0 h 13"/>
                  <a:gd name="T72" fmla="*/ 5 w 7"/>
                  <a:gd name="T73" fmla="*/ 0 h 13"/>
                  <a:gd name="T74" fmla="*/ 4 w 7"/>
                  <a:gd name="T75" fmla="*/ 0 h 13"/>
                  <a:gd name="T76" fmla="*/ 4 w 7"/>
                  <a:gd name="T77" fmla="*/ 1 h 13"/>
                  <a:gd name="T78" fmla="*/ 4 w 7"/>
                  <a:gd name="T79" fmla="*/ 1 h 13"/>
                  <a:gd name="T80" fmla="*/ 3 w 7"/>
                  <a:gd name="T81" fmla="*/ 1 h 13"/>
                  <a:gd name="T82" fmla="*/ 3 w 7"/>
                  <a:gd name="T83" fmla="*/ 1 h 13"/>
                  <a:gd name="T84" fmla="*/ 3 w 7"/>
                  <a:gd name="T85" fmla="*/ 1 h 13"/>
                  <a:gd name="T86" fmla="*/ 3 w 7"/>
                  <a:gd name="T87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" h="13">
                    <a:moveTo>
                      <a:pt x="3" y="2"/>
                    </a:moveTo>
                    <a:cubicBezTo>
                      <a:pt x="3" y="2"/>
                      <a:pt x="3" y="2"/>
                      <a:pt x="3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4"/>
                      <a:pt x="2" y="4"/>
                      <a:pt x="1" y="5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8"/>
                      <a:pt x="0" y="8"/>
                    </a:cubicBezTo>
                    <a:cubicBezTo>
                      <a:pt x="0" y="8"/>
                      <a:pt x="1" y="9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1" y="11"/>
                      <a:pt x="1" y="11"/>
                    </a:cubicBezTo>
                    <a:cubicBezTo>
                      <a:pt x="1" y="11"/>
                      <a:pt x="1" y="11"/>
                      <a:pt x="2" y="12"/>
                    </a:cubicBezTo>
                    <a:cubicBezTo>
                      <a:pt x="3" y="12"/>
                      <a:pt x="2" y="12"/>
                      <a:pt x="2" y="12"/>
                    </a:cubicBezTo>
                    <a:cubicBezTo>
                      <a:pt x="2" y="12"/>
                      <a:pt x="2" y="13"/>
                      <a:pt x="2" y="13"/>
                    </a:cubicBezTo>
                    <a:cubicBezTo>
                      <a:pt x="2" y="13"/>
                      <a:pt x="3" y="13"/>
                      <a:pt x="3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3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4" y="10"/>
                      <a:pt x="4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5" y="7"/>
                      <a:pt x="5" y="6"/>
                      <a:pt x="5" y="5"/>
                    </a:cubicBezTo>
                    <a:cubicBezTo>
                      <a:pt x="5" y="5"/>
                      <a:pt x="6" y="4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4" y="0"/>
                    </a:cubicBezTo>
                    <a:cubicBezTo>
                      <a:pt x="4" y="0"/>
                      <a:pt x="4" y="0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2"/>
                      <a:pt x="3" y="2"/>
                      <a:pt x="3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67" name="Freeform 102">
                <a:extLst>
                  <a:ext uri="{FF2B5EF4-FFF2-40B4-BE49-F238E27FC236}">
                    <a16:creationId xmlns:a16="http://schemas.microsoft.com/office/drawing/2014/main" id="{AC3CB181-03ED-4921-A925-A87D80CDA5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9" y="2133"/>
                <a:ext cx="45" cy="45"/>
              </a:xfrm>
              <a:custGeom>
                <a:avLst/>
                <a:gdLst>
                  <a:gd name="T0" fmla="*/ 0 w 19"/>
                  <a:gd name="T1" fmla="*/ 12 h 19"/>
                  <a:gd name="T2" fmla="*/ 0 w 19"/>
                  <a:gd name="T3" fmla="*/ 14 h 19"/>
                  <a:gd name="T4" fmla="*/ 0 w 19"/>
                  <a:gd name="T5" fmla="*/ 18 h 19"/>
                  <a:gd name="T6" fmla="*/ 2 w 19"/>
                  <a:gd name="T7" fmla="*/ 16 h 19"/>
                  <a:gd name="T8" fmla="*/ 3 w 19"/>
                  <a:gd name="T9" fmla="*/ 16 h 19"/>
                  <a:gd name="T10" fmla="*/ 4 w 19"/>
                  <a:gd name="T11" fmla="*/ 16 h 19"/>
                  <a:gd name="T12" fmla="*/ 2 w 19"/>
                  <a:gd name="T13" fmla="*/ 15 h 19"/>
                  <a:gd name="T14" fmla="*/ 2 w 19"/>
                  <a:gd name="T15" fmla="*/ 12 h 19"/>
                  <a:gd name="T16" fmla="*/ 4 w 19"/>
                  <a:gd name="T17" fmla="*/ 13 h 19"/>
                  <a:gd name="T18" fmla="*/ 9 w 19"/>
                  <a:gd name="T19" fmla="*/ 15 h 19"/>
                  <a:gd name="T20" fmla="*/ 11 w 19"/>
                  <a:gd name="T21" fmla="*/ 15 h 19"/>
                  <a:gd name="T22" fmla="*/ 13 w 19"/>
                  <a:gd name="T23" fmla="*/ 11 h 19"/>
                  <a:gd name="T24" fmla="*/ 15 w 19"/>
                  <a:gd name="T25" fmla="*/ 11 h 19"/>
                  <a:gd name="T26" fmla="*/ 16 w 19"/>
                  <a:gd name="T27" fmla="*/ 11 h 19"/>
                  <a:gd name="T28" fmla="*/ 17 w 19"/>
                  <a:gd name="T29" fmla="*/ 10 h 19"/>
                  <a:gd name="T30" fmla="*/ 18 w 19"/>
                  <a:gd name="T31" fmla="*/ 10 h 19"/>
                  <a:gd name="T32" fmla="*/ 19 w 19"/>
                  <a:gd name="T33" fmla="*/ 9 h 19"/>
                  <a:gd name="T34" fmla="*/ 18 w 19"/>
                  <a:gd name="T35" fmla="*/ 9 h 19"/>
                  <a:gd name="T36" fmla="*/ 16 w 19"/>
                  <a:gd name="T37" fmla="*/ 7 h 19"/>
                  <a:gd name="T38" fmla="*/ 17 w 19"/>
                  <a:gd name="T39" fmla="*/ 6 h 19"/>
                  <a:gd name="T40" fmla="*/ 17 w 19"/>
                  <a:gd name="T41" fmla="*/ 5 h 19"/>
                  <a:gd name="T42" fmla="*/ 15 w 19"/>
                  <a:gd name="T43" fmla="*/ 7 h 19"/>
                  <a:gd name="T44" fmla="*/ 13 w 19"/>
                  <a:gd name="T45" fmla="*/ 6 h 19"/>
                  <a:gd name="T46" fmla="*/ 12 w 19"/>
                  <a:gd name="T47" fmla="*/ 5 h 19"/>
                  <a:gd name="T48" fmla="*/ 9 w 19"/>
                  <a:gd name="T49" fmla="*/ 3 h 19"/>
                  <a:gd name="T50" fmla="*/ 6 w 19"/>
                  <a:gd name="T51" fmla="*/ 0 h 19"/>
                  <a:gd name="T52" fmla="*/ 6 w 19"/>
                  <a:gd name="T53" fmla="*/ 3 h 19"/>
                  <a:gd name="T54" fmla="*/ 4 w 19"/>
                  <a:gd name="T55" fmla="*/ 7 h 19"/>
                  <a:gd name="T56" fmla="*/ 4 w 19"/>
                  <a:gd name="T57" fmla="*/ 10 h 19"/>
                  <a:gd name="T58" fmla="*/ 2 w 19"/>
                  <a:gd name="T59" fmla="*/ 9 h 19"/>
                  <a:gd name="T60" fmla="*/ 1 w 19"/>
                  <a:gd name="T61" fmla="*/ 10 h 19"/>
                  <a:gd name="T62" fmla="*/ 0 w 19"/>
                  <a:gd name="T63" fmla="*/ 1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" h="19">
                    <a:moveTo>
                      <a:pt x="0" y="12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3"/>
                      <a:pt x="0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5"/>
                      <a:pt x="0" y="15"/>
                      <a:pt x="1" y="15"/>
                    </a:cubicBezTo>
                    <a:cubicBezTo>
                      <a:pt x="1" y="16"/>
                      <a:pt x="0" y="17"/>
                      <a:pt x="0" y="18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" y="17"/>
                      <a:pt x="1" y="17"/>
                      <a:pt x="2" y="16"/>
                    </a:cubicBezTo>
                    <a:cubicBezTo>
                      <a:pt x="2" y="16"/>
                      <a:pt x="2" y="16"/>
                      <a:pt x="3" y="16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3" y="15"/>
                      <a:pt x="2" y="15"/>
                    </a:cubicBezTo>
                    <a:cubicBezTo>
                      <a:pt x="1" y="14"/>
                      <a:pt x="1" y="14"/>
                      <a:pt x="2" y="13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3" y="13"/>
                      <a:pt x="4" y="14"/>
                      <a:pt x="4" y="14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3"/>
                      <a:pt x="5" y="12"/>
                      <a:pt x="6" y="13"/>
                    </a:cubicBezTo>
                    <a:cubicBezTo>
                      <a:pt x="7" y="13"/>
                      <a:pt x="8" y="14"/>
                      <a:pt x="9" y="15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6"/>
                      <a:pt x="11" y="15"/>
                      <a:pt x="11" y="15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1" y="13"/>
                      <a:pt x="12" y="12"/>
                      <a:pt x="13" y="11"/>
                    </a:cubicBezTo>
                    <a:cubicBezTo>
                      <a:pt x="13" y="11"/>
                      <a:pt x="14" y="11"/>
                      <a:pt x="15" y="11"/>
                    </a:cubicBezTo>
                    <a:cubicBezTo>
                      <a:pt x="16" y="11"/>
                      <a:pt x="15" y="11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7" y="10"/>
                      <a:pt x="17" y="10"/>
                      <a:pt x="17" y="10"/>
                    </a:cubicBezTo>
                    <a:cubicBezTo>
                      <a:pt x="17" y="10"/>
                      <a:pt x="17" y="10"/>
                      <a:pt x="18" y="10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9" y="9"/>
                      <a:pt x="18" y="9"/>
                      <a:pt x="18" y="9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7" y="10"/>
                      <a:pt x="17" y="9"/>
                      <a:pt x="17" y="9"/>
                    </a:cubicBezTo>
                    <a:cubicBezTo>
                      <a:pt x="17" y="9"/>
                      <a:pt x="16" y="8"/>
                      <a:pt x="16" y="7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7" y="7"/>
                      <a:pt x="17" y="6"/>
                      <a:pt x="17" y="6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5" y="7"/>
                      <a:pt x="15" y="6"/>
                      <a:pt x="15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6"/>
                      <a:pt x="14" y="6"/>
                      <a:pt x="13" y="6"/>
                    </a:cubicBezTo>
                    <a:cubicBezTo>
                      <a:pt x="13" y="6"/>
                      <a:pt x="12" y="6"/>
                      <a:pt x="12" y="6"/>
                    </a:cubicBezTo>
                    <a:cubicBezTo>
                      <a:pt x="13" y="6"/>
                      <a:pt x="12" y="5"/>
                      <a:pt x="12" y="5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0" y="5"/>
                      <a:pt x="9" y="4"/>
                      <a:pt x="9" y="3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2"/>
                      <a:pt x="8" y="1"/>
                      <a:pt x="6" y="0"/>
                    </a:cubicBezTo>
                    <a:cubicBezTo>
                      <a:pt x="6" y="1"/>
                      <a:pt x="6" y="0"/>
                      <a:pt x="5" y="0"/>
                    </a:cubicBezTo>
                    <a:cubicBezTo>
                      <a:pt x="4" y="1"/>
                      <a:pt x="6" y="2"/>
                      <a:pt x="6" y="3"/>
                    </a:cubicBezTo>
                    <a:cubicBezTo>
                      <a:pt x="6" y="4"/>
                      <a:pt x="6" y="4"/>
                      <a:pt x="6" y="6"/>
                    </a:cubicBezTo>
                    <a:cubicBezTo>
                      <a:pt x="6" y="7"/>
                      <a:pt x="5" y="6"/>
                      <a:pt x="4" y="7"/>
                    </a:cubicBezTo>
                    <a:cubicBezTo>
                      <a:pt x="4" y="7"/>
                      <a:pt x="4" y="7"/>
                      <a:pt x="5" y="9"/>
                    </a:cubicBezTo>
                    <a:cubicBezTo>
                      <a:pt x="5" y="10"/>
                      <a:pt x="4" y="10"/>
                      <a:pt x="4" y="10"/>
                    </a:cubicBezTo>
                    <a:cubicBezTo>
                      <a:pt x="4" y="10"/>
                      <a:pt x="3" y="10"/>
                      <a:pt x="3" y="10"/>
                    </a:cubicBezTo>
                    <a:cubicBezTo>
                      <a:pt x="3" y="10"/>
                      <a:pt x="3" y="10"/>
                      <a:pt x="2" y="9"/>
                    </a:cubicBezTo>
                    <a:cubicBezTo>
                      <a:pt x="1" y="8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2" y="10"/>
                      <a:pt x="2" y="11"/>
                      <a:pt x="1" y="11"/>
                    </a:cubicBezTo>
                    <a:cubicBezTo>
                      <a:pt x="1" y="11"/>
                      <a:pt x="1" y="12"/>
                      <a:pt x="0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68" name="Freeform 103">
                <a:extLst>
                  <a:ext uri="{FF2B5EF4-FFF2-40B4-BE49-F238E27FC236}">
                    <a16:creationId xmlns:a16="http://schemas.microsoft.com/office/drawing/2014/main" id="{B9575560-C197-41D6-95A2-AED0B1ED0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9" y="2143"/>
                <a:ext cx="10" cy="9"/>
              </a:xfrm>
              <a:custGeom>
                <a:avLst/>
                <a:gdLst>
                  <a:gd name="T0" fmla="*/ 3 w 4"/>
                  <a:gd name="T1" fmla="*/ 0 h 4"/>
                  <a:gd name="T2" fmla="*/ 3 w 4"/>
                  <a:gd name="T3" fmla="*/ 0 h 4"/>
                  <a:gd name="T4" fmla="*/ 3 w 4"/>
                  <a:gd name="T5" fmla="*/ 0 h 4"/>
                  <a:gd name="T6" fmla="*/ 1 w 4"/>
                  <a:gd name="T7" fmla="*/ 2 h 4"/>
                  <a:gd name="T8" fmla="*/ 0 w 4"/>
                  <a:gd name="T9" fmla="*/ 3 h 4"/>
                  <a:gd name="T10" fmla="*/ 1 w 4"/>
                  <a:gd name="T11" fmla="*/ 4 h 4"/>
                  <a:gd name="T12" fmla="*/ 1 w 4"/>
                  <a:gd name="T13" fmla="*/ 4 h 4"/>
                  <a:gd name="T14" fmla="*/ 1 w 4"/>
                  <a:gd name="T15" fmla="*/ 3 h 4"/>
                  <a:gd name="T16" fmla="*/ 3 w 4"/>
                  <a:gd name="T17" fmla="*/ 2 h 4"/>
                  <a:gd name="T18" fmla="*/ 3 w 4"/>
                  <a:gd name="T19" fmla="*/ 1 h 4"/>
                  <a:gd name="T20" fmla="*/ 4 w 4"/>
                  <a:gd name="T21" fmla="*/ 0 h 4"/>
                  <a:gd name="T22" fmla="*/ 4 w 4"/>
                  <a:gd name="T23" fmla="*/ 0 h 4"/>
                  <a:gd name="T24" fmla="*/ 3 w 4"/>
                  <a:gd name="T2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1"/>
                      <a:pt x="2" y="1"/>
                      <a:pt x="1" y="2"/>
                    </a:cubicBezTo>
                    <a:cubicBezTo>
                      <a:pt x="1" y="2"/>
                      <a:pt x="0" y="3"/>
                      <a:pt x="0" y="3"/>
                    </a:cubicBezTo>
                    <a:cubicBezTo>
                      <a:pt x="0" y="3"/>
                      <a:pt x="0" y="3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3"/>
                      <a:pt x="1" y="3"/>
                    </a:cubicBezTo>
                    <a:cubicBezTo>
                      <a:pt x="1" y="3"/>
                      <a:pt x="2" y="2"/>
                      <a:pt x="3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4" y="1"/>
                      <a:pt x="4" y="1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69" name="Freeform 104">
                <a:extLst>
                  <a:ext uri="{FF2B5EF4-FFF2-40B4-BE49-F238E27FC236}">
                    <a16:creationId xmlns:a16="http://schemas.microsoft.com/office/drawing/2014/main" id="{EB49E2DF-3608-4FCD-88A7-B77B0B7F47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1" y="2131"/>
                <a:ext cx="17" cy="14"/>
              </a:xfrm>
              <a:custGeom>
                <a:avLst/>
                <a:gdLst>
                  <a:gd name="T0" fmla="*/ 6 w 7"/>
                  <a:gd name="T1" fmla="*/ 0 h 6"/>
                  <a:gd name="T2" fmla="*/ 4 w 7"/>
                  <a:gd name="T3" fmla="*/ 1 h 6"/>
                  <a:gd name="T4" fmla="*/ 4 w 7"/>
                  <a:gd name="T5" fmla="*/ 1 h 6"/>
                  <a:gd name="T6" fmla="*/ 3 w 7"/>
                  <a:gd name="T7" fmla="*/ 1 h 6"/>
                  <a:gd name="T8" fmla="*/ 3 w 7"/>
                  <a:gd name="T9" fmla="*/ 1 h 6"/>
                  <a:gd name="T10" fmla="*/ 3 w 7"/>
                  <a:gd name="T11" fmla="*/ 2 h 6"/>
                  <a:gd name="T12" fmla="*/ 3 w 7"/>
                  <a:gd name="T13" fmla="*/ 2 h 6"/>
                  <a:gd name="T14" fmla="*/ 2 w 7"/>
                  <a:gd name="T15" fmla="*/ 2 h 6"/>
                  <a:gd name="T16" fmla="*/ 2 w 7"/>
                  <a:gd name="T17" fmla="*/ 3 h 6"/>
                  <a:gd name="T18" fmla="*/ 1 w 7"/>
                  <a:gd name="T19" fmla="*/ 3 h 6"/>
                  <a:gd name="T20" fmla="*/ 1 w 7"/>
                  <a:gd name="T21" fmla="*/ 4 h 6"/>
                  <a:gd name="T22" fmla="*/ 0 w 7"/>
                  <a:gd name="T23" fmla="*/ 5 h 6"/>
                  <a:gd name="T24" fmla="*/ 0 w 7"/>
                  <a:gd name="T25" fmla="*/ 5 h 6"/>
                  <a:gd name="T26" fmla="*/ 0 w 7"/>
                  <a:gd name="T27" fmla="*/ 5 h 6"/>
                  <a:gd name="T28" fmla="*/ 1 w 7"/>
                  <a:gd name="T29" fmla="*/ 5 h 6"/>
                  <a:gd name="T30" fmla="*/ 2 w 7"/>
                  <a:gd name="T31" fmla="*/ 5 h 6"/>
                  <a:gd name="T32" fmla="*/ 2 w 7"/>
                  <a:gd name="T33" fmla="*/ 4 h 6"/>
                  <a:gd name="T34" fmla="*/ 3 w 7"/>
                  <a:gd name="T35" fmla="*/ 3 h 6"/>
                  <a:gd name="T36" fmla="*/ 4 w 7"/>
                  <a:gd name="T37" fmla="*/ 2 h 6"/>
                  <a:gd name="T38" fmla="*/ 6 w 7"/>
                  <a:gd name="T39" fmla="*/ 2 h 6"/>
                  <a:gd name="T40" fmla="*/ 7 w 7"/>
                  <a:gd name="T41" fmla="*/ 1 h 6"/>
                  <a:gd name="T42" fmla="*/ 6 w 7"/>
                  <a:gd name="T43" fmla="*/ 0 h 6"/>
                  <a:gd name="T44" fmla="*/ 6 w 7"/>
                  <a:gd name="T4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" h="6">
                    <a:moveTo>
                      <a:pt x="6" y="0"/>
                    </a:moveTo>
                    <a:cubicBezTo>
                      <a:pt x="5" y="1"/>
                      <a:pt x="5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3"/>
                    </a:cubicBezTo>
                    <a:cubicBezTo>
                      <a:pt x="2" y="3"/>
                      <a:pt x="1" y="3"/>
                      <a:pt x="1" y="3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0" y="4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1" y="5"/>
                      <a:pt x="1" y="5"/>
                    </a:cubicBezTo>
                    <a:cubicBezTo>
                      <a:pt x="1" y="5"/>
                      <a:pt x="1" y="5"/>
                      <a:pt x="2" y="5"/>
                    </a:cubicBezTo>
                    <a:cubicBezTo>
                      <a:pt x="2" y="5"/>
                      <a:pt x="2" y="4"/>
                      <a:pt x="2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4" y="3"/>
                      <a:pt x="4" y="2"/>
                    </a:cubicBezTo>
                    <a:cubicBezTo>
                      <a:pt x="4" y="2"/>
                      <a:pt x="5" y="2"/>
                      <a:pt x="6" y="2"/>
                    </a:cubicBezTo>
                    <a:cubicBezTo>
                      <a:pt x="6" y="1"/>
                      <a:pt x="7" y="1"/>
                      <a:pt x="7" y="1"/>
                    </a:cubicBezTo>
                    <a:cubicBezTo>
                      <a:pt x="7" y="1"/>
                      <a:pt x="7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70" name="Freeform 105">
                <a:extLst>
                  <a:ext uri="{FF2B5EF4-FFF2-40B4-BE49-F238E27FC236}">
                    <a16:creationId xmlns:a16="http://schemas.microsoft.com/office/drawing/2014/main" id="{064D6726-C4D0-4C7D-8063-CA99E57324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0" y="2124"/>
                <a:ext cx="10" cy="7"/>
              </a:xfrm>
              <a:custGeom>
                <a:avLst/>
                <a:gdLst>
                  <a:gd name="T0" fmla="*/ 2 w 4"/>
                  <a:gd name="T1" fmla="*/ 1 h 3"/>
                  <a:gd name="T2" fmla="*/ 1 w 4"/>
                  <a:gd name="T3" fmla="*/ 2 h 3"/>
                  <a:gd name="T4" fmla="*/ 0 w 4"/>
                  <a:gd name="T5" fmla="*/ 3 h 3"/>
                  <a:gd name="T6" fmla="*/ 1 w 4"/>
                  <a:gd name="T7" fmla="*/ 3 h 3"/>
                  <a:gd name="T8" fmla="*/ 2 w 4"/>
                  <a:gd name="T9" fmla="*/ 3 h 3"/>
                  <a:gd name="T10" fmla="*/ 3 w 4"/>
                  <a:gd name="T11" fmla="*/ 2 h 3"/>
                  <a:gd name="T12" fmla="*/ 4 w 4"/>
                  <a:gd name="T13" fmla="*/ 1 h 3"/>
                  <a:gd name="T14" fmla="*/ 4 w 4"/>
                  <a:gd name="T15" fmla="*/ 0 h 3"/>
                  <a:gd name="T16" fmla="*/ 2 w 4"/>
                  <a:gd name="T1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3">
                    <a:moveTo>
                      <a:pt x="2" y="1"/>
                    </a:moveTo>
                    <a:cubicBezTo>
                      <a:pt x="2" y="1"/>
                      <a:pt x="1" y="2"/>
                      <a:pt x="1" y="2"/>
                    </a:cubicBezTo>
                    <a:cubicBezTo>
                      <a:pt x="1" y="3"/>
                      <a:pt x="1" y="3"/>
                      <a:pt x="0" y="3"/>
                    </a:cubicBezTo>
                    <a:cubicBezTo>
                      <a:pt x="0" y="3"/>
                      <a:pt x="1" y="3"/>
                      <a:pt x="1" y="3"/>
                    </a:cubicBezTo>
                    <a:cubicBezTo>
                      <a:pt x="1" y="3"/>
                      <a:pt x="2" y="3"/>
                      <a:pt x="2" y="3"/>
                    </a:cubicBezTo>
                    <a:cubicBezTo>
                      <a:pt x="2" y="2"/>
                      <a:pt x="2" y="2"/>
                      <a:pt x="3" y="2"/>
                    </a:cubicBezTo>
                    <a:cubicBezTo>
                      <a:pt x="3" y="2"/>
                      <a:pt x="3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3" y="0"/>
                      <a:pt x="2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71" name="Freeform 106">
                <a:extLst>
                  <a:ext uri="{FF2B5EF4-FFF2-40B4-BE49-F238E27FC236}">
                    <a16:creationId xmlns:a16="http://schemas.microsoft.com/office/drawing/2014/main" id="{CB1DC118-D315-44C6-90CF-4480FD9433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0" y="2176"/>
                <a:ext cx="86" cy="81"/>
              </a:xfrm>
              <a:custGeom>
                <a:avLst/>
                <a:gdLst>
                  <a:gd name="T0" fmla="*/ 14 w 36"/>
                  <a:gd name="T1" fmla="*/ 25 h 34"/>
                  <a:gd name="T2" fmla="*/ 9 w 36"/>
                  <a:gd name="T3" fmla="*/ 25 h 34"/>
                  <a:gd name="T4" fmla="*/ 6 w 36"/>
                  <a:gd name="T5" fmla="*/ 26 h 34"/>
                  <a:gd name="T6" fmla="*/ 3 w 36"/>
                  <a:gd name="T7" fmla="*/ 29 h 34"/>
                  <a:gd name="T8" fmla="*/ 1 w 36"/>
                  <a:gd name="T9" fmla="*/ 30 h 34"/>
                  <a:gd name="T10" fmla="*/ 1 w 36"/>
                  <a:gd name="T11" fmla="*/ 32 h 34"/>
                  <a:gd name="T12" fmla="*/ 3 w 36"/>
                  <a:gd name="T13" fmla="*/ 32 h 34"/>
                  <a:gd name="T14" fmla="*/ 4 w 36"/>
                  <a:gd name="T15" fmla="*/ 32 h 34"/>
                  <a:gd name="T16" fmla="*/ 6 w 36"/>
                  <a:gd name="T17" fmla="*/ 30 h 34"/>
                  <a:gd name="T18" fmla="*/ 6 w 36"/>
                  <a:gd name="T19" fmla="*/ 30 h 34"/>
                  <a:gd name="T20" fmla="*/ 8 w 36"/>
                  <a:gd name="T21" fmla="*/ 30 h 34"/>
                  <a:gd name="T22" fmla="*/ 10 w 36"/>
                  <a:gd name="T23" fmla="*/ 30 h 34"/>
                  <a:gd name="T24" fmla="*/ 12 w 36"/>
                  <a:gd name="T25" fmla="*/ 29 h 34"/>
                  <a:gd name="T26" fmla="*/ 15 w 36"/>
                  <a:gd name="T27" fmla="*/ 30 h 34"/>
                  <a:gd name="T28" fmla="*/ 14 w 36"/>
                  <a:gd name="T29" fmla="*/ 31 h 34"/>
                  <a:gd name="T30" fmla="*/ 16 w 36"/>
                  <a:gd name="T31" fmla="*/ 34 h 34"/>
                  <a:gd name="T32" fmla="*/ 17 w 36"/>
                  <a:gd name="T33" fmla="*/ 32 h 34"/>
                  <a:gd name="T34" fmla="*/ 19 w 36"/>
                  <a:gd name="T35" fmla="*/ 31 h 34"/>
                  <a:gd name="T36" fmla="*/ 18 w 36"/>
                  <a:gd name="T37" fmla="*/ 28 h 34"/>
                  <a:gd name="T38" fmla="*/ 21 w 36"/>
                  <a:gd name="T39" fmla="*/ 29 h 34"/>
                  <a:gd name="T40" fmla="*/ 25 w 36"/>
                  <a:gd name="T41" fmla="*/ 27 h 34"/>
                  <a:gd name="T42" fmla="*/ 27 w 36"/>
                  <a:gd name="T43" fmla="*/ 27 h 34"/>
                  <a:gd name="T44" fmla="*/ 29 w 36"/>
                  <a:gd name="T45" fmla="*/ 25 h 34"/>
                  <a:gd name="T46" fmla="*/ 29 w 36"/>
                  <a:gd name="T47" fmla="*/ 27 h 34"/>
                  <a:gd name="T48" fmla="*/ 31 w 36"/>
                  <a:gd name="T49" fmla="*/ 26 h 34"/>
                  <a:gd name="T50" fmla="*/ 32 w 36"/>
                  <a:gd name="T51" fmla="*/ 25 h 34"/>
                  <a:gd name="T52" fmla="*/ 33 w 36"/>
                  <a:gd name="T53" fmla="*/ 17 h 34"/>
                  <a:gd name="T54" fmla="*/ 34 w 36"/>
                  <a:gd name="T55" fmla="*/ 13 h 34"/>
                  <a:gd name="T56" fmla="*/ 35 w 36"/>
                  <a:gd name="T57" fmla="*/ 11 h 34"/>
                  <a:gd name="T58" fmla="*/ 36 w 36"/>
                  <a:gd name="T59" fmla="*/ 7 h 34"/>
                  <a:gd name="T60" fmla="*/ 34 w 36"/>
                  <a:gd name="T61" fmla="*/ 4 h 34"/>
                  <a:gd name="T62" fmla="*/ 34 w 36"/>
                  <a:gd name="T63" fmla="*/ 0 h 34"/>
                  <a:gd name="T64" fmla="*/ 32 w 36"/>
                  <a:gd name="T65" fmla="*/ 0 h 34"/>
                  <a:gd name="T66" fmla="*/ 33 w 36"/>
                  <a:gd name="T67" fmla="*/ 2 h 34"/>
                  <a:gd name="T68" fmla="*/ 31 w 36"/>
                  <a:gd name="T69" fmla="*/ 1 h 34"/>
                  <a:gd name="T70" fmla="*/ 29 w 36"/>
                  <a:gd name="T71" fmla="*/ 3 h 34"/>
                  <a:gd name="T72" fmla="*/ 28 w 36"/>
                  <a:gd name="T73" fmla="*/ 5 h 34"/>
                  <a:gd name="T74" fmla="*/ 29 w 36"/>
                  <a:gd name="T75" fmla="*/ 9 h 34"/>
                  <a:gd name="T76" fmla="*/ 24 w 36"/>
                  <a:gd name="T77" fmla="*/ 18 h 34"/>
                  <a:gd name="T78" fmla="*/ 20 w 36"/>
                  <a:gd name="T79" fmla="*/ 19 h 34"/>
                  <a:gd name="T80" fmla="*/ 21 w 36"/>
                  <a:gd name="T81" fmla="*/ 17 h 34"/>
                  <a:gd name="T82" fmla="*/ 18 w 36"/>
                  <a:gd name="T83" fmla="*/ 21 h 34"/>
                  <a:gd name="T84" fmla="*/ 17 w 36"/>
                  <a:gd name="T85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6" h="34">
                    <a:moveTo>
                      <a:pt x="16" y="25"/>
                    </a:moveTo>
                    <a:cubicBezTo>
                      <a:pt x="15" y="25"/>
                      <a:pt x="14" y="26"/>
                      <a:pt x="14" y="25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4" y="24"/>
                      <a:pt x="13" y="25"/>
                      <a:pt x="13" y="25"/>
                    </a:cubicBezTo>
                    <a:cubicBezTo>
                      <a:pt x="12" y="25"/>
                      <a:pt x="11" y="26"/>
                      <a:pt x="9" y="25"/>
                    </a:cubicBezTo>
                    <a:cubicBezTo>
                      <a:pt x="8" y="25"/>
                      <a:pt x="8" y="25"/>
                      <a:pt x="8" y="26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25"/>
                      <a:pt x="7" y="25"/>
                      <a:pt x="6" y="26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6" y="26"/>
                      <a:pt x="6" y="26"/>
                      <a:pt x="5" y="27"/>
                    </a:cubicBezTo>
                    <a:cubicBezTo>
                      <a:pt x="4" y="28"/>
                      <a:pt x="4" y="29"/>
                      <a:pt x="3" y="29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9"/>
                      <a:pt x="2" y="30"/>
                      <a:pt x="2" y="30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0" y="31"/>
                      <a:pt x="0" y="32"/>
                      <a:pt x="1" y="32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2"/>
                      <a:pt x="1" y="32"/>
                      <a:pt x="2" y="32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3" y="32"/>
                      <a:pt x="4" y="32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4" y="32"/>
                      <a:pt x="4" y="31"/>
                      <a:pt x="4" y="31"/>
                    </a:cubicBezTo>
                    <a:cubicBezTo>
                      <a:pt x="4" y="31"/>
                      <a:pt x="4" y="31"/>
                      <a:pt x="5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30"/>
                      <a:pt x="6" y="30"/>
                      <a:pt x="7" y="31"/>
                    </a:cubicBezTo>
                    <a:cubicBezTo>
                      <a:pt x="7" y="31"/>
                      <a:pt x="7" y="31"/>
                      <a:pt x="8" y="3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0"/>
                      <a:pt x="8" y="30"/>
                      <a:pt x="9" y="30"/>
                    </a:cubicBezTo>
                    <a:cubicBezTo>
                      <a:pt x="9" y="29"/>
                      <a:pt x="9" y="29"/>
                      <a:pt x="10" y="30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0" y="29"/>
                      <a:pt x="11" y="29"/>
                      <a:pt x="11" y="29"/>
                    </a:cubicBezTo>
                    <a:cubicBezTo>
                      <a:pt x="11" y="28"/>
                      <a:pt x="12" y="29"/>
                      <a:pt x="12" y="29"/>
                    </a:cubicBezTo>
                    <a:cubicBezTo>
                      <a:pt x="12" y="29"/>
                      <a:pt x="13" y="29"/>
                      <a:pt x="13" y="29"/>
                    </a:cubicBezTo>
                    <a:cubicBezTo>
                      <a:pt x="14" y="29"/>
                      <a:pt x="14" y="29"/>
                      <a:pt x="14" y="29"/>
                    </a:cubicBezTo>
                    <a:cubicBezTo>
                      <a:pt x="15" y="29"/>
                      <a:pt x="15" y="29"/>
                      <a:pt x="15" y="30"/>
                    </a:cubicBezTo>
                    <a:cubicBezTo>
                      <a:pt x="15" y="31"/>
                      <a:pt x="14" y="30"/>
                      <a:pt x="14" y="30"/>
                    </a:cubicBezTo>
                    <a:cubicBezTo>
                      <a:pt x="13" y="31"/>
                      <a:pt x="14" y="31"/>
                      <a:pt x="14" y="31"/>
                    </a:cubicBezTo>
                    <a:cubicBezTo>
                      <a:pt x="14" y="31"/>
                      <a:pt x="14" y="31"/>
                      <a:pt x="14" y="31"/>
                    </a:cubicBezTo>
                    <a:cubicBezTo>
                      <a:pt x="14" y="32"/>
                      <a:pt x="14" y="33"/>
                      <a:pt x="14" y="33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4" y="34"/>
                      <a:pt x="15" y="34"/>
                      <a:pt x="16" y="34"/>
                    </a:cubicBezTo>
                    <a:cubicBezTo>
                      <a:pt x="17" y="34"/>
                      <a:pt x="16" y="34"/>
                      <a:pt x="16" y="34"/>
                    </a:cubicBezTo>
                    <a:cubicBezTo>
                      <a:pt x="16" y="33"/>
                      <a:pt x="17" y="33"/>
                      <a:pt x="17" y="33"/>
                    </a:cubicBezTo>
                    <a:cubicBezTo>
                      <a:pt x="17" y="32"/>
                      <a:pt x="17" y="32"/>
                      <a:pt x="17" y="32"/>
                    </a:cubicBezTo>
                    <a:cubicBezTo>
                      <a:pt x="17" y="32"/>
                      <a:pt x="17" y="31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1"/>
                      <a:pt x="19" y="31"/>
                    </a:cubicBezTo>
                    <a:cubicBezTo>
                      <a:pt x="19" y="31"/>
                      <a:pt x="19" y="30"/>
                      <a:pt x="19" y="30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8" y="29"/>
                      <a:pt x="18" y="29"/>
                      <a:pt x="18" y="28"/>
                    </a:cubicBezTo>
                    <a:cubicBezTo>
                      <a:pt x="18" y="27"/>
                      <a:pt x="19" y="27"/>
                      <a:pt x="19" y="28"/>
                    </a:cubicBezTo>
                    <a:cubicBezTo>
                      <a:pt x="19" y="28"/>
                      <a:pt x="19" y="28"/>
                      <a:pt x="20" y="29"/>
                    </a:cubicBezTo>
                    <a:cubicBezTo>
                      <a:pt x="21" y="30"/>
                      <a:pt x="20" y="29"/>
                      <a:pt x="21" y="29"/>
                    </a:cubicBezTo>
                    <a:cubicBezTo>
                      <a:pt x="22" y="29"/>
                      <a:pt x="23" y="29"/>
                      <a:pt x="24" y="29"/>
                    </a:cubicBezTo>
                    <a:cubicBezTo>
                      <a:pt x="24" y="29"/>
                      <a:pt x="24" y="29"/>
                      <a:pt x="24" y="28"/>
                    </a:cubicBezTo>
                    <a:cubicBezTo>
                      <a:pt x="24" y="27"/>
                      <a:pt x="25" y="27"/>
                      <a:pt x="25" y="27"/>
                    </a:cubicBezTo>
                    <a:cubicBezTo>
                      <a:pt x="25" y="26"/>
                      <a:pt x="25" y="28"/>
                      <a:pt x="25" y="28"/>
                    </a:cubicBezTo>
                    <a:cubicBezTo>
                      <a:pt x="25" y="28"/>
                      <a:pt x="26" y="29"/>
                      <a:pt x="26" y="30"/>
                    </a:cubicBezTo>
                    <a:cubicBezTo>
                      <a:pt x="26" y="30"/>
                      <a:pt x="26" y="28"/>
                      <a:pt x="27" y="27"/>
                    </a:cubicBezTo>
                    <a:cubicBezTo>
                      <a:pt x="27" y="26"/>
                      <a:pt x="27" y="27"/>
                      <a:pt x="27" y="27"/>
                    </a:cubicBezTo>
                    <a:cubicBezTo>
                      <a:pt x="28" y="27"/>
                      <a:pt x="28" y="27"/>
                      <a:pt x="28" y="26"/>
                    </a:cubicBezTo>
                    <a:cubicBezTo>
                      <a:pt x="29" y="26"/>
                      <a:pt x="28" y="26"/>
                      <a:pt x="29" y="25"/>
                    </a:cubicBezTo>
                    <a:cubicBezTo>
                      <a:pt x="29" y="25"/>
                      <a:pt x="28" y="26"/>
                      <a:pt x="28" y="25"/>
                    </a:cubicBezTo>
                    <a:cubicBezTo>
                      <a:pt x="28" y="23"/>
                      <a:pt x="29" y="24"/>
                      <a:pt x="29" y="25"/>
                    </a:cubicBezTo>
                    <a:cubicBezTo>
                      <a:pt x="30" y="26"/>
                      <a:pt x="29" y="26"/>
                      <a:pt x="29" y="27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29" y="28"/>
                      <a:pt x="29" y="28"/>
                      <a:pt x="30" y="27"/>
                    </a:cubicBezTo>
                    <a:cubicBezTo>
                      <a:pt x="31" y="27"/>
                      <a:pt x="30" y="27"/>
                      <a:pt x="31" y="26"/>
                    </a:cubicBezTo>
                    <a:cubicBezTo>
                      <a:pt x="31" y="26"/>
                      <a:pt x="31" y="25"/>
                      <a:pt x="31" y="25"/>
                    </a:cubicBezTo>
                    <a:cubicBezTo>
                      <a:pt x="32" y="25"/>
                      <a:pt x="32" y="25"/>
                      <a:pt x="32" y="25"/>
                    </a:cubicBezTo>
                    <a:cubicBezTo>
                      <a:pt x="32" y="25"/>
                      <a:pt x="32" y="25"/>
                      <a:pt x="32" y="25"/>
                    </a:cubicBezTo>
                    <a:cubicBezTo>
                      <a:pt x="32" y="24"/>
                      <a:pt x="32" y="24"/>
                      <a:pt x="32" y="24"/>
                    </a:cubicBezTo>
                    <a:cubicBezTo>
                      <a:pt x="31" y="23"/>
                      <a:pt x="31" y="23"/>
                      <a:pt x="31" y="21"/>
                    </a:cubicBezTo>
                    <a:cubicBezTo>
                      <a:pt x="32" y="20"/>
                      <a:pt x="32" y="19"/>
                      <a:pt x="33" y="17"/>
                    </a:cubicBezTo>
                    <a:cubicBezTo>
                      <a:pt x="33" y="15"/>
                      <a:pt x="33" y="16"/>
                      <a:pt x="32" y="14"/>
                    </a:cubicBezTo>
                    <a:cubicBezTo>
                      <a:pt x="32" y="13"/>
                      <a:pt x="33" y="13"/>
                      <a:pt x="33" y="13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4" y="12"/>
                      <a:pt x="34" y="11"/>
                      <a:pt x="35" y="11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6" y="9"/>
                      <a:pt x="36" y="9"/>
                      <a:pt x="36" y="8"/>
                    </a:cubicBezTo>
                    <a:cubicBezTo>
                      <a:pt x="36" y="8"/>
                      <a:pt x="36" y="7"/>
                      <a:pt x="36" y="7"/>
                    </a:cubicBezTo>
                    <a:cubicBezTo>
                      <a:pt x="35" y="7"/>
                      <a:pt x="35" y="6"/>
                      <a:pt x="35" y="6"/>
                    </a:cubicBezTo>
                    <a:cubicBezTo>
                      <a:pt x="36" y="6"/>
                      <a:pt x="35" y="4"/>
                      <a:pt x="34" y="4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34" y="3"/>
                      <a:pt x="34" y="2"/>
                      <a:pt x="34" y="2"/>
                    </a:cubicBezTo>
                    <a:cubicBezTo>
                      <a:pt x="34" y="1"/>
                      <a:pt x="34" y="0"/>
                      <a:pt x="34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3" y="0"/>
                      <a:pt x="32" y="0"/>
                      <a:pt x="3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"/>
                      <a:pt x="32" y="1"/>
                      <a:pt x="33" y="0"/>
                    </a:cubicBezTo>
                    <a:cubicBezTo>
                      <a:pt x="34" y="0"/>
                      <a:pt x="33" y="1"/>
                      <a:pt x="33" y="1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3" y="2"/>
                      <a:pt x="32" y="2"/>
                      <a:pt x="32" y="2"/>
                    </a:cubicBezTo>
                    <a:cubicBezTo>
                      <a:pt x="32" y="2"/>
                      <a:pt x="32" y="2"/>
                      <a:pt x="32" y="2"/>
                    </a:cubicBezTo>
                    <a:cubicBezTo>
                      <a:pt x="32" y="3"/>
                      <a:pt x="31" y="1"/>
                      <a:pt x="31" y="1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0" y="0"/>
                      <a:pt x="30" y="0"/>
                      <a:pt x="30" y="1"/>
                    </a:cubicBezTo>
                    <a:cubicBezTo>
                      <a:pt x="31" y="2"/>
                      <a:pt x="30" y="2"/>
                      <a:pt x="29" y="3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9" y="4"/>
                      <a:pt x="29" y="3"/>
                      <a:pt x="29" y="5"/>
                    </a:cubicBezTo>
                    <a:cubicBezTo>
                      <a:pt x="29" y="7"/>
                      <a:pt x="29" y="5"/>
                      <a:pt x="28" y="5"/>
                    </a:cubicBezTo>
                    <a:cubicBezTo>
                      <a:pt x="27" y="4"/>
                      <a:pt x="28" y="6"/>
                      <a:pt x="29" y="7"/>
                    </a:cubicBezTo>
                    <a:cubicBezTo>
                      <a:pt x="29" y="7"/>
                      <a:pt x="29" y="7"/>
                      <a:pt x="29" y="8"/>
                    </a:cubicBezTo>
                    <a:cubicBezTo>
                      <a:pt x="29" y="8"/>
                      <a:pt x="29" y="9"/>
                      <a:pt x="29" y="9"/>
                    </a:cubicBezTo>
                    <a:cubicBezTo>
                      <a:pt x="28" y="10"/>
                      <a:pt x="28" y="12"/>
                      <a:pt x="27" y="15"/>
                    </a:cubicBezTo>
                    <a:cubicBezTo>
                      <a:pt x="25" y="17"/>
                      <a:pt x="25" y="15"/>
                      <a:pt x="25" y="16"/>
                    </a:cubicBezTo>
                    <a:cubicBezTo>
                      <a:pt x="25" y="18"/>
                      <a:pt x="25" y="17"/>
                      <a:pt x="24" y="18"/>
                    </a:cubicBezTo>
                    <a:cubicBezTo>
                      <a:pt x="23" y="19"/>
                      <a:pt x="22" y="19"/>
                      <a:pt x="21" y="19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0" y="20"/>
                      <a:pt x="20" y="19"/>
                      <a:pt x="20" y="19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20" y="19"/>
                      <a:pt x="20" y="18"/>
                      <a:pt x="20" y="18"/>
                    </a:cubicBezTo>
                    <a:cubicBezTo>
                      <a:pt x="20" y="18"/>
                      <a:pt x="21" y="18"/>
                      <a:pt x="21" y="17"/>
                    </a:cubicBezTo>
                    <a:cubicBezTo>
                      <a:pt x="22" y="17"/>
                      <a:pt x="21" y="17"/>
                      <a:pt x="20" y="17"/>
                    </a:cubicBezTo>
                    <a:cubicBezTo>
                      <a:pt x="20" y="17"/>
                      <a:pt x="19" y="18"/>
                      <a:pt x="19" y="19"/>
                    </a:cubicBezTo>
                    <a:cubicBezTo>
                      <a:pt x="19" y="19"/>
                      <a:pt x="18" y="20"/>
                      <a:pt x="18" y="21"/>
                    </a:cubicBezTo>
                    <a:cubicBezTo>
                      <a:pt x="18" y="22"/>
                      <a:pt x="18" y="22"/>
                      <a:pt x="17" y="23"/>
                    </a:cubicBezTo>
                    <a:cubicBezTo>
                      <a:pt x="16" y="23"/>
                      <a:pt x="16" y="24"/>
                      <a:pt x="16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7" y="25"/>
                      <a:pt x="16" y="25"/>
                      <a:pt x="16" y="2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72" name="Freeform 107">
                <a:extLst>
                  <a:ext uri="{FF2B5EF4-FFF2-40B4-BE49-F238E27FC236}">
                    <a16:creationId xmlns:a16="http://schemas.microsoft.com/office/drawing/2014/main" id="{8BA33AC7-8DFA-45DD-8688-68D1D123D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0" y="2247"/>
                <a:ext cx="19" cy="19"/>
              </a:xfrm>
              <a:custGeom>
                <a:avLst/>
                <a:gdLst>
                  <a:gd name="T0" fmla="*/ 3 w 8"/>
                  <a:gd name="T1" fmla="*/ 2 h 8"/>
                  <a:gd name="T2" fmla="*/ 2 w 8"/>
                  <a:gd name="T3" fmla="*/ 1 h 8"/>
                  <a:gd name="T4" fmla="*/ 2 w 8"/>
                  <a:gd name="T5" fmla="*/ 3 h 8"/>
                  <a:gd name="T6" fmla="*/ 1 w 8"/>
                  <a:gd name="T7" fmla="*/ 4 h 8"/>
                  <a:gd name="T8" fmla="*/ 1 w 8"/>
                  <a:gd name="T9" fmla="*/ 4 h 8"/>
                  <a:gd name="T10" fmla="*/ 1 w 8"/>
                  <a:gd name="T11" fmla="*/ 5 h 8"/>
                  <a:gd name="T12" fmla="*/ 1 w 8"/>
                  <a:gd name="T13" fmla="*/ 6 h 8"/>
                  <a:gd name="T14" fmla="*/ 2 w 8"/>
                  <a:gd name="T15" fmla="*/ 7 h 8"/>
                  <a:gd name="T16" fmla="*/ 3 w 8"/>
                  <a:gd name="T17" fmla="*/ 7 h 8"/>
                  <a:gd name="T18" fmla="*/ 4 w 8"/>
                  <a:gd name="T19" fmla="*/ 5 h 8"/>
                  <a:gd name="T20" fmla="*/ 4 w 8"/>
                  <a:gd name="T21" fmla="*/ 4 h 8"/>
                  <a:gd name="T22" fmla="*/ 6 w 8"/>
                  <a:gd name="T23" fmla="*/ 4 h 8"/>
                  <a:gd name="T24" fmla="*/ 6 w 8"/>
                  <a:gd name="T25" fmla="*/ 4 h 8"/>
                  <a:gd name="T26" fmla="*/ 7 w 8"/>
                  <a:gd name="T27" fmla="*/ 4 h 8"/>
                  <a:gd name="T28" fmla="*/ 8 w 8"/>
                  <a:gd name="T29" fmla="*/ 3 h 8"/>
                  <a:gd name="T30" fmla="*/ 8 w 8"/>
                  <a:gd name="T31" fmla="*/ 2 h 8"/>
                  <a:gd name="T32" fmla="*/ 8 w 8"/>
                  <a:gd name="T33" fmla="*/ 2 h 8"/>
                  <a:gd name="T34" fmla="*/ 8 w 8"/>
                  <a:gd name="T35" fmla="*/ 2 h 8"/>
                  <a:gd name="T36" fmla="*/ 8 w 8"/>
                  <a:gd name="T37" fmla="*/ 1 h 8"/>
                  <a:gd name="T38" fmla="*/ 8 w 8"/>
                  <a:gd name="T39" fmla="*/ 0 h 8"/>
                  <a:gd name="T40" fmla="*/ 7 w 8"/>
                  <a:gd name="T41" fmla="*/ 0 h 8"/>
                  <a:gd name="T42" fmla="*/ 5 w 8"/>
                  <a:gd name="T43" fmla="*/ 1 h 8"/>
                  <a:gd name="T44" fmla="*/ 5 w 8"/>
                  <a:gd name="T45" fmla="*/ 1 h 8"/>
                  <a:gd name="T46" fmla="*/ 4 w 8"/>
                  <a:gd name="T47" fmla="*/ 2 h 8"/>
                  <a:gd name="T48" fmla="*/ 3 w 8"/>
                  <a:gd name="T4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8">
                    <a:moveTo>
                      <a:pt x="3" y="2"/>
                    </a:moveTo>
                    <a:cubicBezTo>
                      <a:pt x="2" y="2"/>
                      <a:pt x="3" y="2"/>
                      <a:pt x="2" y="1"/>
                    </a:cubicBezTo>
                    <a:cubicBezTo>
                      <a:pt x="2" y="1"/>
                      <a:pt x="2" y="2"/>
                      <a:pt x="2" y="3"/>
                    </a:cubicBezTo>
                    <a:cubicBezTo>
                      <a:pt x="2" y="4"/>
                      <a:pt x="2" y="3"/>
                      <a:pt x="1" y="4"/>
                    </a:cubicBezTo>
                    <a:cubicBezTo>
                      <a:pt x="0" y="5"/>
                      <a:pt x="0" y="4"/>
                      <a:pt x="1" y="4"/>
                    </a:cubicBezTo>
                    <a:cubicBezTo>
                      <a:pt x="1" y="4"/>
                      <a:pt x="1" y="5"/>
                      <a:pt x="1" y="5"/>
                    </a:cubicBezTo>
                    <a:cubicBezTo>
                      <a:pt x="0" y="6"/>
                      <a:pt x="1" y="6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3" y="8"/>
                      <a:pt x="3" y="7"/>
                      <a:pt x="3" y="7"/>
                    </a:cubicBezTo>
                    <a:cubicBezTo>
                      <a:pt x="3" y="6"/>
                      <a:pt x="3" y="6"/>
                      <a:pt x="4" y="5"/>
                    </a:cubicBezTo>
                    <a:cubicBezTo>
                      <a:pt x="4" y="5"/>
                      <a:pt x="4" y="5"/>
                      <a:pt x="4" y="4"/>
                    </a:cubicBezTo>
                    <a:cubicBezTo>
                      <a:pt x="4" y="4"/>
                      <a:pt x="5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7" y="4"/>
                      <a:pt x="7" y="4"/>
                    </a:cubicBezTo>
                    <a:cubicBezTo>
                      <a:pt x="7" y="4"/>
                      <a:pt x="8" y="3"/>
                      <a:pt x="8" y="3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6" y="0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5" y="1"/>
                      <a:pt x="4" y="2"/>
                    </a:cubicBezTo>
                    <a:cubicBezTo>
                      <a:pt x="4" y="3"/>
                      <a:pt x="4" y="2"/>
                      <a:pt x="3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73" name="Freeform 108">
                <a:extLst>
                  <a:ext uri="{FF2B5EF4-FFF2-40B4-BE49-F238E27FC236}">
                    <a16:creationId xmlns:a16="http://schemas.microsoft.com/office/drawing/2014/main" id="{B21D9352-05D5-475A-8D24-04AD8DC02E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1" y="2252"/>
                <a:ext cx="19" cy="28"/>
              </a:xfrm>
              <a:custGeom>
                <a:avLst/>
                <a:gdLst>
                  <a:gd name="T0" fmla="*/ 4 w 8"/>
                  <a:gd name="T1" fmla="*/ 0 h 12"/>
                  <a:gd name="T2" fmla="*/ 3 w 8"/>
                  <a:gd name="T3" fmla="*/ 1 h 12"/>
                  <a:gd name="T4" fmla="*/ 3 w 8"/>
                  <a:gd name="T5" fmla="*/ 1 h 12"/>
                  <a:gd name="T6" fmla="*/ 2 w 8"/>
                  <a:gd name="T7" fmla="*/ 1 h 12"/>
                  <a:gd name="T8" fmla="*/ 2 w 8"/>
                  <a:gd name="T9" fmla="*/ 2 h 12"/>
                  <a:gd name="T10" fmla="*/ 1 w 8"/>
                  <a:gd name="T11" fmla="*/ 2 h 12"/>
                  <a:gd name="T12" fmla="*/ 1 w 8"/>
                  <a:gd name="T13" fmla="*/ 2 h 12"/>
                  <a:gd name="T14" fmla="*/ 1 w 8"/>
                  <a:gd name="T15" fmla="*/ 2 h 12"/>
                  <a:gd name="T16" fmla="*/ 0 w 8"/>
                  <a:gd name="T17" fmla="*/ 3 h 12"/>
                  <a:gd name="T18" fmla="*/ 0 w 8"/>
                  <a:gd name="T19" fmla="*/ 3 h 12"/>
                  <a:gd name="T20" fmla="*/ 0 w 8"/>
                  <a:gd name="T21" fmla="*/ 3 h 12"/>
                  <a:gd name="T22" fmla="*/ 0 w 8"/>
                  <a:gd name="T23" fmla="*/ 3 h 12"/>
                  <a:gd name="T24" fmla="*/ 0 w 8"/>
                  <a:gd name="T25" fmla="*/ 5 h 12"/>
                  <a:gd name="T26" fmla="*/ 1 w 8"/>
                  <a:gd name="T27" fmla="*/ 5 h 12"/>
                  <a:gd name="T28" fmla="*/ 2 w 8"/>
                  <a:gd name="T29" fmla="*/ 5 h 12"/>
                  <a:gd name="T30" fmla="*/ 2 w 8"/>
                  <a:gd name="T31" fmla="*/ 5 h 12"/>
                  <a:gd name="T32" fmla="*/ 2 w 8"/>
                  <a:gd name="T33" fmla="*/ 4 h 12"/>
                  <a:gd name="T34" fmla="*/ 2 w 8"/>
                  <a:gd name="T35" fmla="*/ 4 h 12"/>
                  <a:gd name="T36" fmla="*/ 2 w 8"/>
                  <a:gd name="T37" fmla="*/ 3 h 12"/>
                  <a:gd name="T38" fmla="*/ 2 w 8"/>
                  <a:gd name="T39" fmla="*/ 4 h 12"/>
                  <a:gd name="T40" fmla="*/ 3 w 8"/>
                  <a:gd name="T41" fmla="*/ 5 h 12"/>
                  <a:gd name="T42" fmla="*/ 3 w 8"/>
                  <a:gd name="T43" fmla="*/ 5 h 12"/>
                  <a:gd name="T44" fmla="*/ 3 w 8"/>
                  <a:gd name="T45" fmla="*/ 6 h 12"/>
                  <a:gd name="T46" fmla="*/ 3 w 8"/>
                  <a:gd name="T47" fmla="*/ 7 h 12"/>
                  <a:gd name="T48" fmla="*/ 2 w 8"/>
                  <a:gd name="T49" fmla="*/ 8 h 12"/>
                  <a:gd name="T50" fmla="*/ 2 w 8"/>
                  <a:gd name="T51" fmla="*/ 8 h 12"/>
                  <a:gd name="T52" fmla="*/ 2 w 8"/>
                  <a:gd name="T53" fmla="*/ 9 h 12"/>
                  <a:gd name="T54" fmla="*/ 2 w 8"/>
                  <a:gd name="T55" fmla="*/ 9 h 12"/>
                  <a:gd name="T56" fmla="*/ 2 w 8"/>
                  <a:gd name="T57" fmla="*/ 10 h 12"/>
                  <a:gd name="T58" fmla="*/ 2 w 8"/>
                  <a:gd name="T59" fmla="*/ 11 h 12"/>
                  <a:gd name="T60" fmla="*/ 2 w 8"/>
                  <a:gd name="T61" fmla="*/ 11 h 12"/>
                  <a:gd name="T62" fmla="*/ 3 w 8"/>
                  <a:gd name="T63" fmla="*/ 11 h 12"/>
                  <a:gd name="T64" fmla="*/ 3 w 8"/>
                  <a:gd name="T65" fmla="*/ 11 h 12"/>
                  <a:gd name="T66" fmla="*/ 3 w 8"/>
                  <a:gd name="T67" fmla="*/ 10 h 12"/>
                  <a:gd name="T68" fmla="*/ 3 w 8"/>
                  <a:gd name="T69" fmla="*/ 9 h 12"/>
                  <a:gd name="T70" fmla="*/ 4 w 8"/>
                  <a:gd name="T71" fmla="*/ 10 h 12"/>
                  <a:gd name="T72" fmla="*/ 4 w 8"/>
                  <a:gd name="T73" fmla="*/ 10 h 12"/>
                  <a:gd name="T74" fmla="*/ 4 w 8"/>
                  <a:gd name="T75" fmla="*/ 11 h 12"/>
                  <a:gd name="T76" fmla="*/ 4 w 8"/>
                  <a:gd name="T77" fmla="*/ 12 h 12"/>
                  <a:gd name="T78" fmla="*/ 4 w 8"/>
                  <a:gd name="T79" fmla="*/ 12 h 12"/>
                  <a:gd name="T80" fmla="*/ 5 w 8"/>
                  <a:gd name="T81" fmla="*/ 11 h 12"/>
                  <a:gd name="T82" fmla="*/ 4 w 8"/>
                  <a:gd name="T83" fmla="*/ 11 h 12"/>
                  <a:gd name="T84" fmla="*/ 5 w 8"/>
                  <a:gd name="T85" fmla="*/ 11 h 12"/>
                  <a:gd name="T86" fmla="*/ 6 w 8"/>
                  <a:gd name="T87" fmla="*/ 11 h 12"/>
                  <a:gd name="T88" fmla="*/ 6 w 8"/>
                  <a:gd name="T89" fmla="*/ 10 h 12"/>
                  <a:gd name="T90" fmla="*/ 6 w 8"/>
                  <a:gd name="T91" fmla="*/ 9 h 12"/>
                  <a:gd name="T92" fmla="*/ 7 w 8"/>
                  <a:gd name="T93" fmla="*/ 6 h 12"/>
                  <a:gd name="T94" fmla="*/ 7 w 8"/>
                  <a:gd name="T95" fmla="*/ 5 h 12"/>
                  <a:gd name="T96" fmla="*/ 8 w 8"/>
                  <a:gd name="T97" fmla="*/ 4 h 12"/>
                  <a:gd name="T98" fmla="*/ 7 w 8"/>
                  <a:gd name="T99" fmla="*/ 4 h 12"/>
                  <a:gd name="T100" fmla="*/ 7 w 8"/>
                  <a:gd name="T101" fmla="*/ 4 h 12"/>
                  <a:gd name="T102" fmla="*/ 7 w 8"/>
                  <a:gd name="T103" fmla="*/ 3 h 12"/>
                  <a:gd name="T104" fmla="*/ 7 w 8"/>
                  <a:gd name="T105" fmla="*/ 3 h 12"/>
                  <a:gd name="T106" fmla="*/ 6 w 8"/>
                  <a:gd name="T107" fmla="*/ 3 h 12"/>
                  <a:gd name="T108" fmla="*/ 6 w 8"/>
                  <a:gd name="T109" fmla="*/ 3 h 12"/>
                  <a:gd name="T110" fmla="*/ 7 w 8"/>
                  <a:gd name="T111" fmla="*/ 2 h 12"/>
                  <a:gd name="T112" fmla="*/ 7 w 8"/>
                  <a:gd name="T113" fmla="*/ 2 h 12"/>
                  <a:gd name="T114" fmla="*/ 6 w 8"/>
                  <a:gd name="T115" fmla="*/ 1 h 12"/>
                  <a:gd name="T116" fmla="*/ 5 w 8"/>
                  <a:gd name="T117" fmla="*/ 2 h 12"/>
                  <a:gd name="T118" fmla="*/ 5 w 8"/>
                  <a:gd name="T119" fmla="*/ 2 h 12"/>
                  <a:gd name="T120" fmla="*/ 5 w 8"/>
                  <a:gd name="T121" fmla="*/ 1 h 12"/>
                  <a:gd name="T122" fmla="*/ 4 w 8"/>
                  <a:gd name="T123" fmla="*/ 1 h 12"/>
                  <a:gd name="T124" fmla="*/ 4 w 8"/>
                  <a:gd name="T12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" h="12">
                    <a:moveTo>
                      <a:pt x="4" y="0"/>
                    </a:moveTo>
                    <a:cubicBezTo>
                      <a:pt x="3" y="0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5"/>
                    </a:cubicBezTo>
                    <a:cubicBezTo>
                      <a:pt x="1" y="5"/>
                      <a:pt x="1" y="6"/>
                      <a:pt x="1" y="5"/>
                    </a:cubicBezTo>
                    <a:cubicBezTo>
                      <a:pt x="1" y="5"/>
                      <a:pt x="1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4"/>
                    </a:cubicBezTo>
                    <a:cubicBezTo>
                      <a:pt x="2" y="4"/>
                      <a:pt x="3" y="4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6"/>
                    </a:cubicBezTo>
                    <a:cubicBezTo>
                      <a:pt x="3" y="6"/>
                      <a:pt x="3" y="6"/>
                      <a:pt x="3" y="7"/>
                    </a:cubicBezTo>
                    <a:cubicBezTo>
                      <a:pt x="3" y="7"/>
                      <a:pt x="2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9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2" y="10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3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3" y="9"/>
                      <a:pt x="3" y="9"/>
                    </a:cubicBezTo>
                    <a:cubicBezTo>
                      <a:pt x="4" y="9"/>
                      <a:pt x="4" y="9"/>
                      <a:pt x="4" y="10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3" y="10"/>
                      <a:pt x="3" y="10"/>
                      <a:pt x="4" y="11"/>
                    </a:cubicBezTo>
                    <a:cubicBezTo>
                      <a:pt x="4" y="11"/>
                      <a:pt x="4" y="11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11"/>
                      <a:pt x="5" y="11"/>
                      <a:pt x="5" y="11"/>
                    </a:cubicBezTo>
                    <a:cubicBezTo>
                      <a:pt x="5" y="11"/>
                      <a:pt x="6" y="11"/>
                      <a:pt x="6" y="11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6" y="8"/>
                      <a:pt x="7" y="6"/>
                      <a:pt x="7" y="6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8" y="5"/>
                      <a:pt x="8" y="4"/>
                      <a:pt x="8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2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74" name="Freeform 109">
                <a:extLst>
                  <a:ext uri="{FF2B5EF4-FFF2-40B4-BE49-F238E27FC236}">
                    <a16:creationId xmlns:a16="http://schemas.microsoft.com/office/drawing/2014/main" id="{0C7E7DC5-57A6-4BF2-A7D9-6C86C1755E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0" y="2022"/>
                <a:ext cx="2" cy="4"/>
              </a:xfrm>
              <a:custGeom>
                <a:avLst/>
                <a:gdLst>
                  <a:gd name="T0" fmla="*/ 1 w 1"/>
                  <a:gd name="T1" fmla="*/ 1 h 2"/>
                  <a:gd name="T2" fmla="*/ 1 w 1"/>
                  <a:gd name="T3" fmla="*/ 1 h 2"/>
                  <a:gd name="T4" fmla="*/ 1 w 1"/>
                  <a:gd name="T5" fmla="*/ 0 h 2"/>
                  <a:gd name="T6" fmla="*/ 0 w 1"/>
                  <a:gd name="T7" fmla="*/ 0 h 2"/>
                  <a:gd name="T8" fmla="*/ 0 w 1"/>
                  <a:gd name="T9" fmla="*/ 1 h 2"/>
                  <a:gd name="T10" fmla="*/ 1 w 1"/>
                  <a:gd name="T11" fmla="*/ 1 h 2"/>
                  <a:gd name="T12" fmla="*/ 1 w 1"/>
                  <a:gd name="T13" fmla="*/ 2 h 2"/>
                  <a:gd name="T14" fmla="*/ 1 w 1"/>
                  <a:gd name="T1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" h="2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75" name="Freeform 110">
                <a:extLst>
                  <a:ext uri="{FF2B5EF4-FFF2-40B4-BE49-F238E27FC236}">
                    <a16:creationId xmlns:a16="http://schemas.microsoft.com/office/drawing/2014/main" id="{DD0B464C-C5D4-4755-A74C-04855A0657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50" y="1993"/>
                <a:ext cx="21" cy="36"/>
              </a:xfrm>
              <a:custGeom>
                <a:avLst/>
                <a:gdLst>
                  <a:gd name="T0" fmla="*/ 7 w 9"/>
                  <a:gd name="T1" fmla="*/ 1 h 15"/>
                  <a:gd name="T2" fmla="*/ 5 w 9"/>
                  <a:gd name="T3" fmla="*/ 2 h 15"/>
                  <a:gd name="T4" fmla="*/ 3 w 9"/>
                  <a:gd name="T5" fmla="*/ 3 h 15"/>
                  <a:gd name="T6" fmla="*/ 1 w 9"/>
                  <a:gd name="T7" fmla="*/ 4 h 15"/>
                  <a:gd name="T8" fmla="*/ 0 w 9"/>
                  <a:gd name="T9" fmla="*/ 9 h 15"/>
                  <a:gd name="T10" fmla="*/ 2 w 9"/>
                  <a:gd name="T11" fmla="*/ 12 h 15"/>
                  <a:gd name="T12" fmla="*/ 2 w 9"/>
                  <a:gd name="T13" fmla="*/ 14 h 15"/>
                  <a:gd name="T14" fmla="*/ 5 w 9"/>
                  <a:gd name="T15" fmla="*/ 14 h 15"/>
                  <a:gd name="T16" fmla="*/ 5 w 9"/>
                  <a:gd name="T17" fmla="*/ 12 h 15"/>
                  <a:gd name="T18" fmla="*/ 5 w 9"/>
                  <a:gd name="T19" fmla="*/ 12 h 15"/>
                  <a:gd name="T20" fmla="*/ 8 w 9"/>
                  <a:gd name="T21" fmla="*/ 13 h 15"/>
                  <a:gd name="T22" fmla="*/ 7 w 9"/>
                  <a:gd name="T23" fmla="*/ 11 h 15"/>
                  <a:gd name="T24" fmla="*/ 6 w 9"/>
                  <a:gd name="T25" fmla="*/ 11 h 15"/>
                  <a:gd name="T26" fmla="*/ 5 w 9"/>
                  <a:gd name="T27" fmla="*/ 10 h 15"/>
                  <a:gd name="T28" fmla="*/ 6 w 9"/>
                  <a:gd name="T29" fmla="*/ 10 h 15"/>
                  <a:gd name="T30" fmla="*/ 7 w 9"/>
                  <a:gd name="T31" fmla="*/ 9 h 15"/>
                  <a:gd name="T32" fmla="*/ 7 w 9"/>
                  <a:gd name="T33" fmla="*/ 8 h 15"/>
                  <a:gd name="T34" fmla="*/ 7 w 9"/>
                  <a:gd name="T35" fmla="*/ 7 h 15"/>
                  <a:gd name="T36" fmla="*/ 8 w 9"/>
                  <a:gd name="T37" fmla="*/ 8 h 15"/>
                  <a:gd name="T38" fmla="*/ 9 w 9"/>
                  <a:gd name="T39" fmla="*/ 8 h 15"/>
                  <a:gd name="T40" fmla="*/ 9 w 9"/>
                  <a:gd name="T41" fmla="*/ 7 h 15"/>
                  <a:gd name="T42" fmla="*/ 7 w 9"/>
                  <a:gd name="T43" fmla="*/ 5 h 15"/>
                  <a:gd name="T44" fmla="*/ 7 w 9"/>
                  <a:gd name="T45" fmla="*/ 4 h 15"/>
                  <a:gd name="T46" fmla="*/ 8 w 9"/>
                  <a:gd name="T47" fmla="*/ 2 h 15"/>
                  <a:gd name="T48" fmla="*/ 8 w 9"/>
                  <a:gd name="T49" fmla="*/ 1 h 15"/>
                  <a:gd name="T50" fmla="*/ 1 w 9"/>
                  <a:gd name="T51" fmla="*/ 6 h 15"/>
                  <a:gd name="T52" fmla="*/ 1 w 9"/>
                  <a:gd name="T53" fmla="*/ 6 h 15"/>
                  <a:gd name="T54" fmla="*/ 1 w 9"/>
                  <a:gd name="T55" fmla="*/ 5 h 15"/>
                  <a:gd name="T56" fmla="*/ 2 w 9"/>
                  <a:gd name="T57" fmla="*/ 5 h 15"/>
                  <a:gd name="T58" fmla="*/ 2 w 9"/>
                  <a:gd name="T59" fmla="*/ 6 h 15"/>
                  <a:gd name="T60" fmla="*/ 2 w 9"/>
                  <a:gd name="T61" fmla="*/ 6 h 15"/>
                  <a:gd name="T62" fmla="*/ 2 w 9"/>
                  <a:gd name="T63" fmla="*/ 5 h 15"/>
                  <a:gd name="T64" fmla="*/ 2 w 9"/>
                  <a:gd name="T65" fmla="*/ 4 h 15"/>
                  <a:gd name="T66" fmla="*/ 3 w 9"/>
                  <a:gd name="T67" fmla="*/ 5 h 15"/>
                  <a:gd name="T68" fmla="*/ 3 w 9"/>
                  <a:gd name="T69" fmla="*/ 5 h 15"/>
                  <a:gd name="T70" fmla="*/ 3 w 9"/>
                  <a:gd name="T71" fmla="*/ 5 h 15"/>
                  <a:gd name="T72" fmla="*/ 3 w 9"/>
                  <a:gd name="T73" fmla="*/ 6 h 15"/>
                  <a:gd name="T74" fmla="*/ 4 w 9"/>
                  <a:gd name="T75" fmla="*/ 6 h 15"/>
                  <a:gd name="T76" fmla="*/ 4 w 9"/>
                  <a:gd name="T77" fmla="*/ 4 h 15"/>
                  <a:gd name="T78" fmla="*/ 4 w 9"/>
                  <a:gd name="T79" fmla="*/ 5 h 15"/>
                  <a:gd name="T80" fmla="*/ 3 w 9"/>
                  <a:gd name="T81" fmla="*/ 4 h 15"/>
                  <a:gd name="T82" fmla="*/ 4 w 9"/>
                  <a:gd name="T83" fmla="*/ 4 h 15"/>
                  <a:gd name="T84" fmla="*/ 5 w 9"/>
                  <a:gd name="T85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9" h="15">
                    <a:moveTo>
                      <a:pt x="8" y="0"/>
                    </a:moveTo>
                    <a:cubicBezTo>
                      <a:pt x="9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2"/>
                      <a:pt x="5" y="2"/>
                    </a:cubicBezTo>
                    <a:cubicBezTo>
                      <a:pt x="5" y="2"/>
                      <a:pt x="5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2" y="3"/>
                      <a:pt x="2" y="3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0" y="5"/>
                      <a:pt x="0" y="5"/>
                    </a:cubicBezTo>
                    <a:cubicBezTo>
                      <a:pt x="0" y="6"/>
                      <a:pt x="0" y="7"/>
                      <a:pt x="0" y="7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0" y="10"/>
                      <a:pt x="0" y="10"/>
                      <a:pt x="0" y="11"/>
                    </a:cubicBezTo>
                    <a:cubicBezTo>
                      <a:pt x="0" y="11"/>
                      <a:pt x="0" y="11"/>
                      <a:pt x="1" y="11"/>
                    </a:cubicBezTo>
                    <a:cubicBezTo>
                      <a:pt x="1" y="11"/>
                      <a:pt x="1" y="12"/>
                      <a:pt x="2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5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4"/>
                      <a:pt x="5" y="13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5" y="13"/>
                      <a:pt x="5" y="13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2"/>
                      <a:pt x="5" y="12"/>
                    </a:cubicBezTo>
                    <a:cubicBezTo>
                      <a:pt x="5" y="12"/>
                      <a:pt x="6" y="12"/>
                      <a:pt x="6" y="12"/>
                    </a:cubicBezTo>
                    <a:cubicBezTo>
                      <a:pt x="6" y="13"/>
                      <a:pt x="7" y="13"/>
                      <a:pt x="7" y="13"/>
                    </a:cubicBezTo>
                    <a:cubicBezTo>
                      <a:pt x="7" y="13"/>
                      <a:pt x="8" y="13"/>
                      <a:pt x="8" y="13"/>
                    </a:cubicBezTo>
                    <a:cubicBezTo>
                      <a:pt x="9" y="13"/>
                      <a:pt x="9" y="13"/>
                      <a:pt x="9" y="12"/>
                    </a:cubicBezTo>
                    <a:cubicBezTo>
                      <a:pt x="9" y="12"/>
                      <a:pt x="9" y="12"/>
                      <a:pt x="8" y="12"/>
                    </a:cubicBezTo>
                    <a:cubicBezTo>
                      <a:pt x="8" y="11"/>
                      <a:pt x="8" y="11"/>
                      <a:pt x="7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1"/>
                      <a:pt x="5" y="11"/>
                      <a:pt x="5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10"/>
                      <a:pt x="6" y="10"/>
                      <a:pt x="6" y="9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6" y="9"/>
                      <a:pt x="7" y="9"/>
                      <a:pt x="7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9"/>
                      <a:pt x="7" y="9"/>
                      <a:pt x="7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8"/>
                      <a:pt x="7" y="8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8" y="7"/>
                      <a:pt x="8" y="8"/>
                      <a:pt x="8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8" y="8"/>
                      <a:pt x="8" y="8"/>
                      <a:pt x="9" y="8"/>
                    </a:cubicBezTo>
                    <a:cubicBezTo>
                      <a:pt x="9" y="8"/>
                      <a:pt x="9" y="8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9" y="7"/>
                      <a:pt x="8" y="6"/>
                      <a:pt x="8" y="6"/>
                    </a:cubicBezTo>
                    <a:cubicBezTo>
                      <a:pt x="8" y="6"/>
                      <a:pt x="7" y="6"/>
                      <a:pt x="7" y="6"/>
                    </a:cubicBezTo>
                    <a:cubicBezTo>
                      <a:pt x="7" y="6"/>
                      <a:pt x="7" y="6"/>
                      <a:pt x="7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5"/>
                      <a:pt x="7" y="5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3"/>
                    </a:cubicBezTo>
                    <a:cubicBezTo>
                      <a:pt x="7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lose/>
                    <a:moveTo>
                      <a:pt x="1" y="6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lose/>
                    <a:moveTo>
                      <a:pt x="2" y="5"/>
                    </a:moveTo>
                    <a:cubicBezTo>
                      <a:pt x="2" y="5"/>
                      <a:pt x="2" y="5"/>
                      <a:pt x="1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lose/>
                    <a:moveTo>
                      <a:pt x="2" y="5"/>
                    </a:moveTo>
                    <a:cubicBezTo>
                      <a:pt x="2" y="5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lose/>
                    <a:moveTo>
                      <a:pt x="2" y="4"/>
                    </a:moveTo>
                    <a:cubicBezTo>
                      <a:pt x="2" y="4"/>
                      <a:pt x="2" y="5"/>
                      <a:pt x="2" y="5"/>
                    </a:cubicBezTo>
                    <a:cubicBezTo>
                      <a:pt x="2" y="5"/>
                      <a:pt x="2" y="4"/>
                      <a:pt x="2" y="4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3" y="4"/>
                      <a:pt x="2" y="4"/>
                      <a:pt x="2" y="4"/>
                    </a:cubicBezTo>
                    <a:close/>
                    <a:moveTo>
                      <a:pt x="3" y="5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lose/>
                    <a:moveTo>
                      <a:pt x="3" y="5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lose/>
                    <a:moveTo>
                      <a:pt x="4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lose/>
                    <a:moveTo>
                      <a:pt x="4" y="4"/>
                    </a:move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lose/>
                    <a:moveTo>
                      <a:pt x="4" y="6"/>
                    </a:moveTo>
                    <a:cubicBezTo>
                      <a:pt x="4" y="6"/>
                      <a:pt x="4" y="6"/>
                      <a:pt x="4" y="5"/>
                    </a:cubicBezTo>
                    <a:cubicBezTo>
                      <a:pt x="4" y="6"/>
                      <a:pt x="4" y="6"/>
                      <a:pt x="4" y="6"/>
                    </a:cubicBezTo>
                    <a:close/>
                    <a:moveTo>
                      <a:pt x="4" y="4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lose/>
                    <a:moveTo>
                      <a:pt x="5" y="4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6" y="4"/>
                      <a:pt x="5" y="4"/>
                      <a:pt x="5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76" name="Freeform 111">
                <a:extLst>
                  <a:ext uri="{FF2B5EF4-FFF2-40B4-BE49-F238E27FC236}">
                    <a16:creationId xmlns:a16="http://schemas.microsoft.com/office/drawing/2014/main" id="{027C5A52-240A-44F7-A19F-261D74B35C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9" y="2026"/>
                <a:ext cx="2" cy="3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1 h 1"/>
                  <a:gd name="T4" fmla="*/ 1 w 1"/>
                  <a:gd name="T5" fmla="*/ 0 h 1"/>
                  <a:gd name="T6" fmla="*/ 0 w 1"/>
                  <a:gd name="T7" fmla="*/ 0 h 1"/>
                  <a:gd name="T8" fmla="*/ 0 w 1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77" name="Freeform 112">
                <a:extLst>
                  <a:ext uri="{FF2B5EF4-FFF2-40B4-BE49-F238E27FC236}">
                    <a16:creationId xmlns:a16="http://schemas.microsoft.com/office/drawing/2014/main" id="{E70BA0EC-07EE-42A7-9D8E-8CBD3FFF52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3" y="2026"/>
                <a:ext cx="5" cy="3"/>
              </a:xfrm>
              <a:custGeom>
                <a:avLst/>
                <a:gdLst>
                  <a:gd name="T0" fmla="*/ 1 w 2"/>
                  <a:gd name="T1" fmla="*/ 0 h 1"/>
                  <a:gd name="T2" fmla="*/ 0 w 2"/>
                  <a:gd name="T3" fmla="*/ 0 h 1"/>
                  <a:gd name="T4" fmla="*/ 0 w 2"/>
                  <a:gd name="T5" fmla="*/ 0 h 1"/>
                  <a:gd name="T6" fmla="*/ 0 w 2"/>
                  <a:gd name="T7" fmla="*/ 0 h 1"/>
                  <a:gd name="T8" fmla="*/ 0 w 2"/>
                  <a:gd name="T9" fmla="*/ 1 h 1"/>
                  <a:gd name="T10" fmla="*/ 0 w 2"/>
                  <a:gd name="T11" fmla="*/ 1 h 1"/>
                  <a:gd name="T12" fmla="*/ 1 w 2"/>
                  <a:gd name="T13" fmla="*/ 1 h 1"/>
                  <a:gd name="T14" fmla="*/ 2 w 2"/>
                  <a:gd name="T15" fmla="*/ 1 h 1"/>
                  <a:gd name="T16" fmla="*/ 2 w 2"/>
                  <a:gd name="T17" fmla="*/ 1 h 1"/>
                  <a:gd name="T18" fmla="*/ 1 w 2"/>
                  <a:gd name="T1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1" y="1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78" name="Freeform 113">
                <a:extLst>
                  <a:ext uri="{FF2B5EF4-FFF2-40B4-BE49-F238E27FC236}">
                    <a16:creationId xmlns:a16="http://schemas.microsoft.com/office/drawing/2014/main" id="{BC821A79-C5DA-4F1E-A35E-1315D09F6F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71" y="2012"/>
                <a:ext cx="12" cy="17"/>
              </a:xfrm>
              <a:custGeom>
                <a:avLst/>
                <a:gdLst>
                  <a:gd name="T0" fmla="*/ 1 w 5"/>
                  <a:gd name="T1" fmla="*/ 2 h 7"/>
                  <a:gd name="T2" fmla="*/ 0 w 5"/>
                  <a:gd name="T3" fmla="*/ 2 h 7"/>
                  <a:gd name="T4" fmla="*/ 0 w 5"/>
                  <a:gd name="T5" fmla="*/ 2 h 7"/>
                  <a:gd name="T6" fmla="*/ 0 w 5"/>
                  <a:gd name="T7" fmla="*/ 2 h 7"/>
                  <a:gd name="T8" fmla="*/ 0 w 5"/>
                  <a:gd name="T9" fmla="*/ 2 h 7"/>
                  <a:gd name="T10" fmla="*/ 1 w 5"/>
                  <a:gd name="T11" fmla="*/ 3 h 7"/>
                  <a:gd name="T12" fmla="*/ 1 w 5"/>
                  <a:gd name="T13" fmla="*/ 3 h 7"/>
                  <a:gd name="T14" fmla="*/ 1 w 5"/>
                  <a:gd name="T15" fmla="*/ 4 h 7"/>
                  <a:gd name="T16" fmla="*/ 1 w 5"/>
                  <a:gd name="T17" fmla="*/ 4 h 7"/>
                  <a:gd name="T18" fmla="*/ 1 w 5"/>
                  <a:gd name="T19" fmla="*/ 5 h 7"/>
                  <a:gd name="T20" fmla="*/ 2 w 5"/>
                  <a:gd name="T21" fmla="*/ 5 h 7"/>
                  <a:gd name="T22" fmla="*/ 3 w 5"/>
                  <a:gd name="T23" fmla="*/ 5 h 7"/>
                  <a:gd name="T24" fmla="*/ 3 w 5"/>
                  <a:gd name="T25" fmla="*/ 6 h 7"/>
                  <a:gd name="T26" fmla="*/ 3 w 5"/>
                  <a:gd name="T27" fmla="*/ 7 h 7"/>
                  <a:gd name="T28" fmla="*/ 4 w 5"/>
                  <a:gd name="T29" fmla="*/ 7 h 7"/>
                  <a:gd name="T30" fmla="*/ 4 w 5"/>
                  <a:gd name="T31" fmla="*/ 6 h 7"/>
                  <a:gd name="T32" fmla="*/ 4 w 5"/>
                  <a:gd name="T33" fmla="*/ 6 h 7"/>
                  <a:gd name="T34" fmla="*/ 4 w 5"/>
                  <a:gd name="T35" fmla="*/ 5 h 7"/>
                  <a:gd name="T36" fmla="*/ 4 w 5"/>
                  <a:gd name="T37" fmla="*/ 5 h 7"/>
                  <a:gd name="T38" fmla="*/ 4 w 5"/>
                  <a:gd name="T39" fmla="*/ 5 h 7"/>
                  <a:gd name="T40" fmla="*/ 4 w 5"/>
                  <a:gd name="T41" fmla="*/ 5 h 7"/>
                  <a:gd name="T42" fmla="*/ 5 w 5"/>
                  <a:gd name="T43" fmla="*/ 4 h 7"/>
                  <a:gd name="T44" fmla="*/ 5 w 5"/>
                  <a:gd name="T45" fmla="*/ 4 h 7"/>
                  <a:gd name="T46" fmla="*/ 5 w 5"/>
                  <a:gd name="T47" fmla="*/ 4 h 7"/>
                  <a:gd name="T48" fmla="*/ 4 w 5"/>
                  <a:gd name="T49" fmla="*/ 3 h 7"/>
                  <a:gd name="T50" fmla="*/ 5 w 5"/>
                  <a:gd name="T51" fmla="*/ 3 h 7"/>
                  <a:gd name="T52" fmla="*/ 5 w 5"/>
                  <a:gd name="T53" fmla="*/ 3 h 7"/>
                  <a:gd name="T54" fmla="*/ 5 w 5"/>
                  <a:gd name="T55" fmla="*/ 2 h 7"/>
                  <a:gd name="T56" fmla="*/ 5 w 5"/>
                  <a:gd name="T57" fmla="*/ 1 h 7"/>
                  <a:gd name="T58" fmla="*/ 5 w 5"/>
                  <a:gd name="T59" fmla="*/ 0 h 7"/>
                  <a:gd name="T60" fmla="*/ 4 w 5"/>
                  <a:gd name="T61" fmla="*/ 0 h 7"/>
                  <a:gd name="T62" fmla="*/ 3 w 5"/>
                  <a:gd name="T63" fmla="*/ 1 h 7"/>
                  <a:gd name="T64" fmla="*/ 3 w 5"/>
                  <a:gd name="T65" fmla="*/ 1 h 7"/>
                  <a:gd name="T66" fmla="*/ 2 w 5"/>
                  <a:gd name="T67" fmla="*/ 1 h 7"/>
                  <a:gd name="T68" fmla="*/ 2 w 5"/>
                  <a:gd name="T69" fmla="*/ 1 h 7"/>
                  <a:gd name="T70" fmla="*/ 2 w 5"/>
                  <a:gd name="T71" fmla="*/ 1 h 7"/>
                  <a:gd name="T72" fmla="*/ 2 w 5"/>
                  <a:gd name="T73" fmla="*/ 2 h 7"/>
                  <a:gd name="T74" fmla="*/ 1 w 5"/>
                  <a:gd name="T75" fmla="*/ 2 h 7"/>
                  <a:gd name="T76" fmla="*/ 3 w 5"/>
                  <a:gd name="T77" fmla="*/ 2 h 7"/>
                  <a:gd name="T78" fmla="*/ 3 w 5"/>
                  <a:gd name="T79" fmla="*/ 2 h 7"/>
                  <a:gd name="T80" fmla="*/ 3 w 5"/>
                  <a:gd name="T81" fmla="*/ 2 h 7"/>
                  <a:gd name="T82" fmla="*/ 3 w 5"/>
                  <a:gd name="T83" fmla="*/ 2 h 7"/>
                  <a:gd name="T84" fmla="*/ 4 w 5"/>
                  <a:gd name="T85" fmla="*/ 2 h 7"/>
                  <a:gd name="T86" fmla="*/ 4 w 5"/>
                  <a:gd name="T87" fmla="*/ 3 h 7"/>
                  <a:gd name="T88" fmla="*/ 3 w 5"/>
                  <a:gd name="T89" fmla="*/ 2 h 7"/>
                  <a:gd name="T90" fmla="*/ 4 w 5"/>
                  <a:gd name="T91" fmla="*/ 3 h 7"/>
                  <a:gd name="T92" fmla="*/ 4 w 5"/>
                  <a:gd name="T93" fmla="*/ 2 h 7"/>
                  <a:gd name="T94" fmla="*/ 3 w 5"/>
                  <a:gd name="T95" fmla="*/ 1 h 7"/>
                  <a:gd name="T96" fmla="*/ 4 w 5"/>
                  <a:gd name="T97" fmla="*/ 1 h 7"/>
                  <a:gd name="T98" fmla="*/ 3 w 5"/>
                  <a:gd name="T99" fmla="*/ 1 h 7"/>
                  <a:gd name="T100" fmla="*/ 3 w 5"/>
                  <a:gd name="T101" fmla="*/ 1 h 7"/>
                  <a:gd name="T102" fmla="*/ 3 w 5"/>
                  <a:gd name="T103" fmla="*/ 1 h 7"/>
                  <a:gd name="T104" fmla="*/ 3 w 5"/>
                  <a:gd name="T105" fmla="*/ 2 h 7"/>
                  <a:gd name="T106" fmla="*/ 3 w 5"/>
                  <a:gd name="T107" fmla="*/ 2 h 7"/>
                  <a:gd name="T108" fmla="*/ 3 w 5"/>
                  <a:gd name="T109" fmla="*/ 2 h 7"/>
                  <a:gd name="T110" fmla="*/ 3 w 5"/>
                  <a:gd name="T111" fmla="*/ 2 h 7"/>
                  <a:gd name="T112" fmla="*/ 3 w 5"/>
                  <a:gd name="T113" fmla="*/ 2 h 7"/>
                  <a:gd name="T114" fmla="*/ 2 w 5"/>
                  <a:gd name="T115" fmla="*/ 2 h 7"/>
                  <a:gd name="T116" fmla="*/ 2 w 5"/>
                  <a:gd name="T117" fmla="*/ 2 h 7"/>
                  <a:gd name="T118" fmla="*/ 2 w 5"/>
                  <a:gd name="T11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" h="7">
                    <a:moveTo>
                      <a:pt x="1" y="2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5"/>
                    </a:cubicBezTo>
                    <a:cubicBezTo>
                      <a:pt x="1" y="5"/>
                      <a:pt x="2" y="5"/>
                      <a:pt x="2" y="5"/>
                    </a:cubicBezTo>
                    <a:cubicBezTo>
                      <a:pt x="2" y="5"/>
                      <a:pt x="3" y="5"/>
                      <a:pt x="3" y="5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7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5" y="5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2"/>
                      <a:pt x="5" y="2"/>
                    </a:cubicBezTo>
                    <a:cubicBezTo>
                      <a:pt x="5" y="2"/>
                      <a:pt x="5" y="1"/>
                      <a:pt x="5" y="1"/>
                    </a:cubicBezTo>
                    <a:cubicBezTo>
                      <a:pt x="5" y="1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2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  <a:moveTo>
                      <a:pt x="3" y="2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lose/>
                    <a:moveTo>
                      <a:pt x="4" y="2"/>
                    </a:moveTo>
                    <a:cubicBezTo>
                      <a:pt x="4" y="2"/>
                      <a:pt x="4" y="3"/>
                      <a:pt x="4" y="3"/>
                    </a:cubicBezTo>
                    <a:cubicBezTo>
                      <a:pt x="4" y="3"/>
                      <a:pt x="3" y="3"/>
                      <a:pt x="3" y="2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4" y="3"/>
                      <a:pt x="4" y="2"/>
                      <a:pt x="4" y="2"/>
                    </a:cubicBezTo>
                    <a:close/>
                    <a:moveTo>
                      <a:pt x="3" y="1"/>
                    </a:moveTo>
                    <a:cubicBezTo>
                      <a:pt x="3" y="1"/>
                      <a:pt x="4" y="1"/>
                      <a:pt x="4" y="1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lose/>
                    <a:moveTo>
                      <a:pt x="3" y="2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lose/>
                    <a:moveTo>
                      <a:pt x="2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79" name="Freeform 114">
                <a:extLst>
                  <a:ext uri="{FF2B5EF4-FFF2-40B4-BE49-F238E27FC236}">
                    <a16:creationId xmlns:a16="http://schemas.microsoft.com/office/drawing/2014/main" id="{307D86F1-E158-41EF-82E8-4668DA7192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8" y="2029"/>
                <a:ext cx="4" cy="4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2 h 2"/>
                  <a:gd name="T4" fmla="*/ 2 w 2"/>
                  <a:gd name="T5" fmla="*/ 2 h 2"/>
                  <a:gd name="T6" fmla="*/ 2 w 2"/>
                  <a:gd name="T7" fmla="*/ 1 h 2"/>
                  <a:gd name="T8" fmla="*/ 2 w 2"/>
                  <a:gd name="T9" fmla="*/ 1 h 2"/>
                  <a:gd name="T10" fmla="*/ 1 w 2"/>
                  <a:gd name="T11" fmla="*/ 0 h 2"/>
                  <a:gd name="T12" fmla="*/ 1 w 2"/>
                  <a:gd name="T13" fmla="*/ 0 h 2"/>
                  <a:gd name="T14" fmla="*/ 0 w 2"/>
                  <a:gd name="T15" fmla="*/ 1 h 2"/>
                  <a:gd name="T16" fmla="*/ 1 w 2"/>
                  <a:gd name="T17" fmla="*/ 2 h 2"/>
                  <a:gd name="T18" fmla="*/ 1 w 2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1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80" name="Freeform 115">
                <a:extLst>
                  <a:ext uri="{FF2B5EF4-FFF2-40B4-BE49-F238E27FC236}">
                    <a16:creationId xmlns:a16="http://schemas.microsoft.com/office/drawing/2014/main" id="{24AC1CA2-01D6-401C-B704-25EB119FB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4" y="1998"/>
                <a:ext cx="4" cy="14"/>
              </a:xfrm>
              <a:custGeom>
                <a:avLst/>
                <a:gdLst>
                  <a:gd name="T0" fmla="*/ 0 w 2"/>
                  <a:gd name="T1" fmla="*/ 5 h 6"/>
                  <a:gd name="T2" fmla="*/ 1 w 2"/>
                  <a:gd name="T3" fmla="*/ 3 h 6"/>
                  <a:gd name="T4" fmla="*/ 2 w 2"/>
                  <a:gd name="T5" fmla="*/ 1 h 6"/>
                  <a:gd name="T6" fmla="*/ 2 w 2"/>
                  <a:gd name="T7" fmla="*/ 0 h 6"/>
                  <a:gd name="T8" fmla="*/ 1 w 2"/>
                  <a:gd name="T9" fmla="*/ 0 h 6"/>
                  <a:gd name="T10" fmla="*/ 1 w 2"/>
                  <a:gd name="T11" fmla="*/ 1 h 6"/>
                  <a:gd name="T12" fmla="*/ 0 w 2"/>
                  <a:gd name="T13" fmla="*/ 2 h 6"/>
                  <a:gd name="T14" fmla="*/ 0 w 2"/>
                  <a:gd name="T15" fmla="*/ 3 h 6"/>
                  <a:gd name="T16" fmla="*/ 0 w 2"/>
                  <a:gd name="T17" fmla="*/ 4 h 6"/>
                  <a:gd name="T18" fmla="*/ 0 w 2"/>
                  <a:gd name="T19" fmla="*/ 5 h 6"/>
                  <a:gd name="T20" fmla="*/ 0 w 2"/>
                  <a:gd name="T21" fmla="*/ 6 h 6"/>
                  <a:gd name="T22" fmla="*/ 0 w 2"/>
                  <a:gd name="T2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" h="6">
                    <a:moveTo>
                      <a:pt x="0" y="5"/>
                    </a:moveTo>
                    <a:cubicBezTo>
                      <a:pt x="0" y="4"/>
                      <a:pt x="1" y="3"/>
                      <a:pt x="1" y="3"/>
                    </a:cubicBezTo>
                    <a:cubicBezTo>
                      <a:pt x="1" y="2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3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0" y="4"/>
                      <a:pt x="0" y="5"/>
                      <a:pt x="0" y="5"/>
                    </a:cubicBezTo>
                    <a:cubicBezTo>
                      <a:pt x="0" y="5"/>
                      <a:pt x="0" y="6"/>
                      <a:pt x="0" y="6"/>
                    </a:cubicBezTo>
                    <a:cubicBezTo>
                      <a:pt x="0" y="6"/>
                      <a:pt x="0" y="5"/>
                      <a:pt x="0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81" name="Freeform 116">
                <a:extLst>
                  <a:ext uri="{FF2B5EF4-FFF2-40B4-BE49-F238E27FC236}">
                    <a16:creationId xmlns:a16="http://schemas.microsoft.com/office/drawing/2014/main" id="{388B4141-5E58-4849-918E-09CD23E675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6" y="1991"/>
                <a:ext cx="7" cy="12"/>
              </a:xfrm>
              <a:custGeom>
                <a:avLst/>
                <a:gdLst>
                  <a:gd name="T0" fmla="*/ 3 w 3"/>
                  <a:gd name="T1" fmla="*/ 1 h 5"/>
                  <a:gd name="T2" fmla="*/ 3 w 3"/>
                  <a:gd name="T3" fmla="*/ 0 h 5"/>
                  <a:gd name="T4" fmla="*/ 3 w 3"/>
                  <a:gd name="T5" fmla="*/ 0 h 5"/>
                  <a:gd name="T6" fmla="*/ 2 w 3"/>
                  <a:gd name="T7" fmla="*/ 0 h 5"/>
                  <a:gd name="T8" fmla="*/ 2 w 3"/>
                  <a:gd name="T9" fmla="*/ 0 h 5"/>
                  <a:gd name="T10" fmla="*/ 1 w 3"/>
                  <a:gd name="T11" fmla="*/ 1 h 5"/>
                  <a:gd name="T12" fmla="*/ 0 w 3"/>
                  <a:gd name="T13" fmla="*/ 2 h 5"/>
                  <a:gd name="T14" fmla="*/ 0 w 3"/>
                  <a:gd name="T15" fmla="*/ 3 h 5"/>
                  <a:gd name="T16" fmla="*/ 0 w 3"/>
                  <a:gd name="T17" fmla="*/ 3 h 5"/>
                  <a:gd name="T18" fmla="*/ 0 w 3"/>
                  <a:gd name="T19" fmla="*/ 4 h 5"/>
                  <a:gd name="T20" fmla="*/ 0 w 3"/>
                  <a:gd name="T21" fmla="*/ 5 h 5"/>
                  <a:gd name="T22" fmla="*/ 1 w 3"/>
                  <a:gd name="T23" fmla="*/ 5 h 5"/>
                  <a:gd name="T24" fmla="*/ 1 w 3"/>
                  <a:gd name="T25" fmla="*/ 5 h 5"/>
                  <a:gd name="T26" fmla="*/ 1 w 3"/>
                  <a:gd name="T27" fmla="*/ 4 h 5"/>
                  <a:gd name="T28" fmla="*/ 1 w 3"/>
                  <a:gd name="T29" fmla="*/ 4 h 5"/>
                  <a:gd name="T30" fmla="*/ 2 w 3"/>
                  <a:gd name="T31" fmla="*/ 3 h 5"/>
                  <a:gd name="T32" fmla="*/ 3 w 3"/>
                  <a:gd name="T33" fmla="*/ 3 h 5"/>
                  <a:gd name="T34" fmla="*/ 3 w 3"/>
                  <a:gd name="T35" fmla="*/ 3 h 5"/>
                  <a:gd name="T36" fmla="*/ 2 w 3"/>
                  <a:gd name="T37" fmla="*/ 2 h 5"/>
                  <a:gd name="T38" fmla="*/ 2 w 3"/>
                  <a:gd name="T39" fmla="*/ 1 h 5"/>
                  <a:gd name="T40" fmla="*/ 3 w 3"/>
                  <a:gd name="T4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" h="5">
                    <a:moveTo>
                      <a:pt x="3" y="1"/>
                    </a:moveTo>
                    <a:cubicBezTo>
                      <a:pt x="3" y="1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2"/>
                    </a:cubicBezTo>
                    <a:cubicBezTo>
                      <a:pt x="0" y="2"/>
                      <a:pt x="0" y="2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5"/>
                    </a:cubicBezTo>
                    <a:cubicBezTo>
                      <a:pt x="0" y="5"/>
                      <a:pt x="0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4"/>
                      <a:pt x="2" y="4"/>
                      <a:pt x="2" y="3"/>
                    </a:cubicBezTo>
                    <a:cubicBezTo>
                      <a:pt x="2" y="3"/>
                      <a:pt x="2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2" y="2"/>
                      <a:pt x="2" y="2"/>
                    </a:cubicBezTo>
                    <a:cubicBezTo>
                      <a:pt x="2" y="2"/>
                      <a:pt x="2" y="1"/>
                      <a:pt x="2" y="1"/>
                    </a:cubicBezTo>
                    <a:cubicBezTo>
                      <a:pt x="3" y="1"/>
                      <a:pt x="3" y="1"/>
                      <a:pt x="3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82" name="Freeform 117">
                <a:extLst>
                  <a:ext uri="{FF2B5EF4-FFF2-40B4-BE49-F238E27FC236}">
                    <a16:creationId xmlns:a16="http://schemas.microsoft.com/office/drawing/2014/main" id="{1B8704EC-17AD-4887-87FD-BEBAC03979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7" y="1960"/>
                <a:ext cx="5" cy="5"/>
              </a:xfrm>
              <a:custGeom>
                <a:avLst/>
                <a:gdLst>
                  <a:gd name="T0" fmla="*/ 0 w 2"/>
                  <a:gd name="T1" fmla="*/ 1 h 2"/>
                  <a:gd name="T2" fmla="*/ 0 w 2"/>
                  <a:gd name="T3" fmla="*/ 1 h 2"/>
                  <a:gd name="T4" fmla="*/ 0 w 2"/>
                  <a:gd name="T5" fmla="*/ 2 h 2"/>
                  <a:gd name="T6" fmla="*/ 1 w 2"/>
                  <a:gd name="T7" fmla="*/ 2 h 2"/>
                  <a:gd name="T8" fmla="*/ 1 w 2"/>
                  <a:gd name="T9" fmla="*/ 2 h 2"/>
                  <a:gd name="T10" fmla="*/ 2 w 2"/>
                  <a:gd name="T11" fmla="*/ 2 h 2"/>
                  <a:gd name="T12" fmla="*/ 2 w 2"/>
                  <a:gd name="T13" fmla="*/ 1 h 2"/>
                  <a:gd name="T14" fmla="*/ 2 w 2"/>
                  <a:gd name="T15" fmla="*/ 1 h 2"/>
                  <a:gd name="T16" fmla="*/ 1 w 2"/>
                  <a:gd name="T17" fmla="*/ 0 h 2"/>
                  <a:gd name="T18" fmla="*/ 1 w 2"/>
                  <a:gd name="T19" fmla="*/ 0 h 2"/>
                  <a:gd name="T20" fmla="*/ 1 w 2"/>
                  <a:gd name="T21" fmla="*/ 1 h 2"/>
                  <a:gd name="T22" fmla="*/ 1 w 2"/>
                  <a:gd name="T23" fmla="*/ 1 h 2"/>
                  <a:gd name="T24" fmla="*/ 0 w 2"/>
                  <a:gd name="T2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2" y="2"/>
                      <a:pt x="2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83" name="Freeform 118">
                <a:extLst>
                  <a:ext uri="{FF2B5EF4-FFF2-40B4-BE49-F238E27FC236}">
                    <a16:creationId xmlns:a16="http://schemas.microsoft.com/office/drawing/2014/main" id="{BEF260F6-B062-4FF7-8329-EB5BDD396A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6" y="1967"/>
                <a:ext cx="5" cy="5"/>
              </a:xfrm>
              <a:custGeom>
                <a:avLst/>
                <a:gdLst>
                  <a:gd name="T0" fmla="*/ 1 w 2"/>
                  <a:gd name="T1" fmla="*/ 2 h 2"/>
                  <a:gd name="T2" fmla="*/ 1 w 2"/>
                  <a:gd name="T3" fmla="*/ 2 h 2"/>
                  <a:gd name="T4" fmla="*/ 2 w 2"/>
                  <a:gd name="T5" fmla="*/ 1 h 2"/>
                  <a:gd name="T6" fmla="*/ 2 w 2"/>
                  <a:gd name="T7" fmla="*/ 0 h 2"/>
                  <a:gd name="T8" fmla="*/ 2 w 2"/>
                  <a:gd name="T9" fmla="*/ 0 h 2"/>
                  <a:gd name="T10" fmla="*/ 2 w 2"/>
                  <a:gd name="T11" fmla="*/ 0 h 2"/>
                  <a:gd name="T12" fmla="*/ 1 w 2"/>
                  <a:gd name="T13" fmla="*/ 1 h 2"/>
                  <a:gd name="T14" fmla="*/ 1 w 2"/>
                  <a:gd name="T15" fmla="*/ 1 h 2"/>
                  <a:gd name="T16" fmla="*/ 0 w 2"/>
                  <a:gd name="T17" fmla="*/ 1 h 2"/>
                  <a:gd name="T18" fmla="*/ 0 w 2"/>
                  <a:gd name="T19" fmla="*/ 2 h 2"/>
                  <a:gd name="T20" fmla="*/ 0 w 2"/>
                  <a:gd name="T21" fmla="*/ 2 h 2"/>
                  <a:gd name="T22" fmla="*/ 1 w 2"/>
                  <a:gd name="T2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2" y="2"/>
                      <a:pt x="2" y="2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84" name="Freeform 119">
                <a:extLst>
                  <a:ext uri="{FF2B5EF4-FFF2-40B4-BE49-F238E27FC236}">
                    <a16:creationId xmlns:a16="http://schemas.microsoft.com/office/drawing/2014/main" id="{7384C5E5-5652-4C39-B331-B8F16C98C4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6" y="1977"/>
                <a:ext cx="7" cy="4"/>
              </a:xfrm>
              <a:custGeom>
                <a:avLst/>
                <a:gdLst>
                  <a:gd name="T0" fmla="*/ 0 w 3"/>
                  <a:gd name="T1" fmla="*/ 1 h 2"/>
                  <a:gd name="T2" fmla="*/ 0 w 3"/>
                  <a:gd name="T3" fmla="*/ 1 h 2"/>
                  <a:gd name="T4" fmla="*/ 1 w 3"/>
                  <a:gd name="T5" fmla="*/ 2 h 2"/>
                  <a:gd name="T6" fmla="*/ 1 w 3"/>
                  <a:gd name="T7" fmla="*/ 2 h 2"/>
                  <a:gd name="T8" fmla="*/ 2 w 3"/>
                  <a:gd name="T9" fmla="*/ 2 h 2"/>
                  <a:gd name="T10" fmla="*/ 2 w 3"/>
                  <a:gd name="T11" fmla="*/ 2 h 2"/>
                  <a:gd name="T12" fmla="*/ 3 w 3"/>
                  <a:gd name="T13" fmla="*/ 2 h 2"/>
                  <a:gd name="T14" fmla="*/ 3 w 3"/>
                  <a:gd name="T15" fmla="*/ 1 h 2"/>
                  <a:gd name="T16" fmla="*/ 2 w 3"/>
                  <a:gd name="T17" fmla="*/ 1 h 2"/>
                  <a:gd name="T18" fmla="*/ 2 w 3"/>
                  <a:gd name="T19" fmla="*/ 0 h 2"/>
                  <a:gd name="T20" fmla="*/ 2 w 3"/>
                  <a:gd name="T21" fmla="*/ 0 h 2"/>
                  <a:gd name="T22" fmla="*/ 1 w 3"/>
                  <a:gd name="T23" fmla="*/ 0 h 2"/>
                  <a:gd name="T24" fmla="*/ 1 w 3"/>
                  <a:gd name="T25" fmla="*/ 1 h 2"/>
                  <a:gd name="T26" fmla="*/ 1 w 3"/>
                  <a:gd name="T27" fmla="*/ 1 h 2"/>
                  <a:gd name="T28" fmla="*/ 0 w 3"/>
                  <a:gd name="T29" fmla="*/ 1 h 2"/>
                  <a:gd name="T30" fmla="*/ 0 w 3"/>
                  <a:gd name="T3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" h="2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3" y="2"/>
                      <a:pt x="3" y="1"/>
                      <a:pt x="3" y="1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85" name="Freeform 120">
                <a:extLst>
                  <a:ext uri="{FF2B5EF4-FFF2-40B4-BE49-F238E27FC236}">
                    <a16:creationId xmlns:a16="http://schemas.microsoft.com/office/drawing/2014/main" id="{B261FC8C-BB6E-4EDA-91E3-206CAE326F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" y="1984"/>
                <a:ext cx="12" cy="7"/>
              </a:xfrm>
              <a:custGeom>
                <a:avLst/>
                <a:gdLst>
                  <a:gd name="T0" fmla="*/ 0 w 5"/>
                  <a:gd name="T1" fmla="*/ 0 h 3"/>
                  <a:gd name="T2" fmla="*/ 0 w 5"/>
                  <a:gd name="T3" fmla="*/ 0 h 3"/>
                  <a:gd name="T4" fmla="*/ 0 w 5"/>
                  <a:gd name="T5" fmla="*/ 1 h 3"/>
                  <a:gd name="T6" fmla="*/ 0 w 5"/>
                  <a:gd name="T7" fmla="*/ 1 h 3"/>
                  <a:gd name="T8" fmla="*/ 1 w 5"/>
                  <a:gd name="T9" fmla="*/ 2 h 3"/>
                  <a:gd name="T10" fmla="*/ 1 w 5"/>
                  <a:gd name="T11" fmla="*/ 3 h 3"/>
                  <a:gd name="T12" fmla="*/ 0 w 5"/>
                  <a:gd name="T13" fmla="*/ 3 h 3"/>
                  <a:gd name="T14" fmla="*/ 1 w 5"/>
                  <a:gd name="T15" fmla="*/ 3 h 3"/>
                  <a:gd name="T16" fmla="*/ 1 w 5"/>
                  <a:gd name="T17" fmla="*/ 2 h 3"/>
                  <a:gd name="T18" fmla="*/ 2 w 5"/>
                  <a:gd name="T19" fmla="*/ 2 h 3"/>
                  <a:gd name="T20" fmla="*/ 2 w 5"/>
                  <a:gd name="T21" fmla="*/ 2 h 3"/>
                  <a:gd name="T22" fmla="*/ 2 w 5"/>
                  <a:gd name="T23" fmla="*/ 2 h 3"/>
                  <a:gd name="T24" fmla="*/ 3 w 5"/>
                  <a:gd name="T25" fmla="*/ 1 h 3"/>
                  <a:gd name="T26" fmla="*/ 3 w 5"/>
                  <a:gd name="T27" fmla="*/ 1 h 3"/>
                  <a:gd name="T28" fmla="*/ 3 w 5"/>
                  <a:gd name="T29" fmla="*/ 1 h 3"/>
                  <a:gd name="T30" fmla="*/ 4 w 5"/>
                  <a:gd name="T31" fmla="*/ 1 h 3"/>
                  <a:gd name="T32" fmla="*/ 4 w 5"/>
                  <a:gd name="T33" fmla="*/ 1 h 3"/>
                  <a:gd name="T34" fmla="*/ 5 w 5"/>
                  <a:gd name="T35" fmla="*/ 0 h 3"/>
                  <a:gd name="T36" fmla="*/ 4 w 5"/>
                  <a:gd name="T37" fmla="*/ 0 h 3"/>
                  <a:gd name="T38" fmla="*/ 3 w 5"/>
                  <a:gd name="T39" fmla="*/ 0 h 3"/>
                  <a:gd name="T40" fmla="*/ 3 w 5"/>
                  <a:gd name="T41" fmla="*/ 0 h 3"/>
                  <a:gd name="T42" fmla="*/ 2 w 5"/>
                  <a:gd name="T43" fmla="*/ 0 h 3"/>
                  <a:gd name="T44" fmla="*/ 2 w 5"/>
                  <a:gd name="T45" fmla="*/ 0 h 3"/>
                  <a:gd name="T46" fmla="*/ 1 w 5"/>
                  <a:gd name="T47" fmla="*/ 0 h 3"/>
                  <a:gd name="T48" fmla="*/ 1 w 5"/>
                  <a:gd name="T49" fmla="*/ 0 h 3"/>
                  <a:gd name="T50" fmla="*/ 1 w 5"/>
                  <a:gd name="T51" fmla="*/ 0 h 3"/>
                  <a:gd name="T52" fmla="*/ 0 w 5"/>
                  <a:gd name="T5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3"/>
                    </a:cubicBezTo>
                    <a:cubicBezTo>
                      <a:pt x="1" y="3"/>
                      <a:pt x="0" y="3"/>
                      <a:pt x="0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1"/>
                      <a:pt x="3" y="1"/>
                    </a:cubicBezTo>
                    <a:cubicBezTo>
                      <a:pt x="3" y="2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1"/>
                      <a:pt x="5" y="1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86" name="Freeform 121">
                <a:extLst>
                  <a:ext uri="{FF2B5EF4-FFF2-40B4-BE49-F238E27FC236}">
                    <a16:creationId xmlns:a16="http://schemas.microsoft.com/office/drawing/2014/main" id="{1439B1ED-21DC-4B2F-BBB4-6C988167F6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" y="1920"/>
                <a:ext cx="16" cy="7"/>
              </a:xfrm>
              <a:custGeom>
                <a:avLst/>
                <a:gdLst>
                  <a:gd name="T0" fmla="*/ 7 w 7"/>
                  <a:gd name="T1" fmla="*/ 1 h 3"/>
                  <a:gd name="T2" fmla="*/ 6 w 7"/>
                  <a:gd name="T3" fmla="*/ 0 h 3"/>
                  <a:gd name="T4" fmla="*/ 4 w 7"/>
                  <a:gd name="T5" fmla="*/ 1 h 3"/>
                  <a:gd name="T6" fmla="*/ 2 w 7"/>
                  <a:gd name="T7" fmla="*/ 0 h 3"/>
                  <a:gd name="T8" fmla="*/ 1 w 7"/>
                  <a:gd name="T9" fmla="*/ 0 h 3"/>
                  <a:gd name="T10" fmla="*/ 0 w 7"/>
                  <a:gd name="T11" fmla="*/ 1 h 3"/>
                  <a:gd name="T12" fmla="*/ 1 w 7"/>
                  <a:gd name="T13" fmla="*/ 2 h 3"/>
                  <a:gd name="T14" fmla="*/ 2 w 7"/>
                  <a:gd name="T15" fmla="*/ 2 h 3"/>
                  <a:gd name="T16" fmla="*/ 4 w 7"/>
                  <a:gd name="T17" fmla="*/ 2 h 3"/>
                  <a:gd name="T18" fmla="*/ 5 w 7"/>
                  <a:gd name="T19" fmla="*/ 3 h 3"/>
                  <a:gd name="T20" fmla="*/ 7 w 7"/>
                  <a:gd name="T21" fmla="*/ 3 h 3"/>
                  <a:gd name="T22" fmla="*/ 7 w 7"/>
                  <a:gd name="T23" fmla="*/ 3 h 3"/>
                  <a:gd name="T24" fmla="*/ 7 w 7"/>
                  <a:gd name="T2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6" y="1"/>
                      <a:pt x="6" y="0"/>
                      <a:pt x="6" y="0"/>
                    </a:cubicBezTo>
                    <a:cubicBezTo>
                      <a:pt x="5" y="0"/>
                      <a:pt x="5" y="0"/>
                      <a:pt x="4" y="1"/>
                    </a:cubicBezTo>
                    <a:cubicBezTo>
                      <a:pt x="3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2" y="2"/>
                      <a:pt x="2" y="2"/>
                    </a:cubicBezTo>
                    <a:cubicBezTo>
                      <a:pt x="3" y="2"/>
                      <a:pt x="3" y="2"/>
                      <a:pt x="4" y="2"/>
                    </a:cubicBezTo>
                    <a:cubicBezTo>
                      <a:pt x="4" y="2"/>
                      <a:pt x="5" y="3"/>
                      <a:pt x="5" y="3"/>
                    </a:cubicBezTo>
                    <a:cubicBezTo>
                      <a:pt x="6" y="3"/>
                      <a:pt x="6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2"/>
                      <a:pt x="7" y="2"/>
                      <a:pt x="7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87" name="Freeform 122">
                <a:extLst>
                  <a:ext uri="{FF2B5EF4-FFF2-40B4-BE49-F238E27FC236}">
                    <a16:creationId xmlns:a16="http://schemas.microsoft.com/office/drawing/2014/main" id="{D8379663-83B4-44E9-86E8-00CE1948B3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" y="1825"/>
                <a:ext cx="12" cy="4"/>
              </a:xfrm>
              <a:custGeom>
                <a:avLst/>
                <a:gdLst>
                  <a:gd name="T0" fmla="*/ 4 w 5"/>
                  <a:gd name="T1" fmla="*/ 0 h 2"/>
                  <a:gd name="T2" fmla="*/ 4 w 5"/>
                  <a:gd name="T3" fmla="*/ 0 h 2"/>
                  <a:gd name="T4" fmla="*/ 4 w 5"/>
                  <a:gd name="T5" fmla="*/ 1 h 2"/>
                  <a:gd name="T6" fmla="*/ 3 w 5"/>
                  <a:gd name="T7" fmla="*/ 1 h 2"/>
                  <a:gd name="T8" fmla="*/ 3 w 5"/>
                  <a:gd name="T9" fmla="*/ 1 h 2"/>
                  <a:gd name="T10" fmla="*/ 2 w 5"/>
                  <a:gd name="T11" fmla="*/ 1 h 2"/>
                  <a:gd name="T12" fmla="*/ 2 w 5"/>
                  <a:gd name="T13" fmla="*/ 1 h 2"/>
                  <a:gd name="T14" fmla="*/ 1 w 5"/>
                  <a:gd name="T15" fmla="*/ 1 h 2"/>
                  <a:gd name="T16" fmla="*/ 0 w 5"/>
                  <a:gd name="T17" fmla="*/ 2 h 2"/>
                  <a:gd name="T18" fmla="*/ 1 w 5"/>
                  <a:gd name="T19" fmla="*/ 2 h 2"/>
                  <a:gd name="T20" fmla="*/ 1 w 5"/>
                  <a:gd name="T21" fmla="*/ 2 h 2"/>
                  <a:gd name="T22" fmla="*/ 1 w 5"/>
                  <a:gd name="T23" fmla="*/ 2 h 2"/>
                  <a:gd name="T24" fmla="*/ 2 w 5"/>
                  <a:gd name="T25" fmla="*/ 2 h 2"/>
                  <a:gd name="T26" fmla="*/ 2 w 5"/>
                  <a:gd name="T27" fmla="*/ 2 h 2"/>
                  <a:gd name="T28" fmla="*/ 3 w 5"/>
                  <a:gd name="T29" fmla="*/ 2 h 2"/>
                  <a:gd name="T30" fmla="*/ 3 w 5"/>
                  <a:gd name="T31" fmla="*/ 2 h 2"/>
                  <a:gd name="T32" fmla="*/ 3 w 5"/>
                  <a:gd name="T33" fmla="*/ 2 h 2"/>
                  <a:gd name="T34" fmla="*/ 4 w 5"/>
                  <a:gd name="T35" fmla="*/ 2 h 2"/>
                  <a:gd name="T36" fmla="*/ 4 w 5"/>
                  <a:gd name="T37" fmla="*/ 2 h 2"/>
                  <a:gd name="T38" fmla="*/ 4 w 5"/>
                  <a:gd name="T39" fmla="*/ 1 h 2"/>
                  <a:gd name="T40" fmla="*/ 5 w 5"/>
                  <a:gd name="T41" fmla="*/ 1 h 2"/>
                  <a:gd name="T42" fmla="*/ 5 w 5"/>
                  <a:gd name="T43" fmla="*/ 1 h 2"/>
                  <a:gd name="T44" fmla="*/ 5 w 5"/>
                  <a:gd name="T45" fmla="*/ 0 h 2"/>
                  <a:gd name="T46" fmla="*/ 4 w 5"/>
                  <a:gd name="T4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" h="2">
                    <a:moveTo>
                      <a:pt x="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1"/>
                      <a:pt x="4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0"/>
                      <a:pt x="5" y="0"/>
                    </a:cubicBezTo>
                    <a:cubicBezTo>
                      <a:pt x="5" y="0"/>
                      <a:pt x="5" y="0"/>
                      <a:pt x="4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88" name="Freeform 123">
                <a:extLst>
                  <a:ext uri="{FF2B5EF4-FFF2-40B4-BE49-F238E27FC236}">
                    <a16:creationId xmlns:a16="http://schemas.microsoft.com/office/drawing/2014/main" id="{195BA384-7D6F-4A94-A7F4-31FB9CB81E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" y="1844"/>
                <a:ext cx="10" cy="7"/>
              </a:xfrm>
              <a:custGeom>
                <a:avLst/>
                <a:gdLst>
                  <a:gd name="T0" fmla="*/ 0 w 4"/>
                  <a:gd name="T1" fmla="*/ 3 h 3"/>
                  <a:gd name="T2" fmla="*/ 0 w 4"/>
                  <a:gd name="T3" fmla="*/ 3 h 3"/>
                  <a:gd name="T4" fmla="*/ 1 w 4"/>
                  <a:gd name="T5" fmla="*/ 2 h 3"/>
                  <a:gd name="T6" fmla="*/ 2 w 4"/>
                  <a:gd name="T7" fmla="*/ 2 h 3"/>
                  <a:gd name="T8" fmla="*/ 3 w 4"/>
                  <a:gd name="T9" fmla="*/ 1 h 3"/>
                  <a:gd name="T10" fmla="*/ 3 w 4"/>
                  <a:gd name="T11" fmla="*/ 1 h 3"/>
                  <a:gd name="T12" fmla="*/ 3 w 4"/>
                  <a:gd name="T13" fmla="*/ 0 h 3"/>
                  <a:gd name="T14" fmla="*/ 3 w 4"/>
                  <a:gd name="T15" fmla="*/ 0 h 3"/>
                  <a:gd name="T16" fmla="*/ 3 w 4"/>
                  <a:gd name="T17" fmla="*/ 0 h 3"/>
                  <a:gd name="T18" fmla="*/ 2 w 4"/>
                  <a:gd name="T19" fmla="*/ 0 h 3"/>
                  <a:gd name="T20" fmla="*/ 2 w 4"/>
                  <a:gd name="T21" fmla="*/ 0 h 3"/>
                  <a:gd name="T22" fmla="*/ 2 w 4"/>
                  <a:gd name="T23" fmla="*/ 0 h 3"/>
                  <a:gd name="T24" fmla="*/ 1 w 4"/>
                  <a:gd name="T25" fmla="*/ 1 h 3"/>
                  <a:gd name="T26" fmla="*/ 0 w 4"/>
                  <a:gd name="T27" fmla="*/ 1 h 3"/>
                  <a:gd name="T28" fmla="*/ 1 w 4"/>
                  <a:gd name="T29" fmla="*/ 1 h 3"/>
                  <a:gd name="T30" fmla="*/ 1 w 4"/>
                  <a:gd name="T31" fmla="*/ 1 h 3"/>
                  <a:gd name="T32" fmla="*/ 0 w 4"/>
                  <a:gd name="T3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3"/>
                      <a:pt x="1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2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  <a:cubicBezTo>
                      <a:pt x="4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2"/>
                      <a:pt x="0" y="2"/>
                      <a:pt x="0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89" name="Freeform 124">
                <a:extLst>
                  <a:ext uri="{FF2B5EF4-FFF2-40B4-BE49-F238E27FC236}">
                    <a16:creationId xmlns:a16="http://schemas.microsoft.com/office/drawing/2014/main" id="{2E673C5D-19F3-4445-85CD-A3D9F763FF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1" y="1851"/>
                <a:ext cx="3" cy="2"/>
              </a:xfrm>
              <a:custGeom>
                <a:avLst/>
                <a:gdLst>
                  <a:gd name="T0" fmla="*/ 1 w 1"/>
                  <a:gd name="T1" fmla="*/ 0 h 1"/>
                  <a:gd name="T2" fmla="*/ 1 w 1"/>
                  <a:gd name="T3" fmla="*/ 0 h 1"/>
                  <a:gd name="T4" fmla="*/ 0 w 1"/>
                  <a:gd name="T5" fmla="*/ 0 h 1"/>
                  <a:gd name="T6" fmla="*/ 1 w 1"/>
                  <a:gd name="T7" fmla="*/ 1 h 1"/>
                  <a:gd name="T8" fmla="*/ 1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90" name="Freeform 125">
                <a:extLst>
                  <a:ext uri="{FF2B5EF4-FFF2-40B4-BE49-F238E27FC236}">
                    <a16:creationId xmlns:a16="http://schemas.microsoft.com/office/drawing/2014/main" id="{2CEC5A7A-147C-44C6-966B-D6C63BE99C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5" y="1846"/>
                <a:ext cx="29" cy="21"/>
              </a:xfrm>
              <a:custGeom>
                <a:avLst/>
                <a:gdLst>
                  <a:gd name="T0" fmla="*/ 10 w 12"/>
                  <a:gd name="T1" fmla="*/ 6 h 9"/>
                  <a:gd name="T2" fmla="*/ 10 w 12"/>
                  <a:gd name="T3" fmla="*/ 5 h 9"/>
                  <a:gd name="T4" fmla="*/ 11 w 12"/>
                  <a:gd name="T5" fmla="*/ 4 h 9"/>
                  <a:gd name="T6" fmla="*/ 12 w 12"/>
                  <a:gd name="T7" fmla="*/ 4 h 9"/>
                  <a:gd name="T8" fmla="*/ 11 w 12"/>
                  <a:gd name="T9" fmla="*/ 3 h 9"/>
                  <a:gd name="T10" fmla="*/ 11 w 12"/>
                  <a:gd name="T11" fmla="*/ 3 h 9"/>
                  <a:gd name="T12" fmla="*/ 10 w 12"/>
                  <a:gd name="T13" fmla="*/ 3 h 9"/>
                  <a:gd name="T14" fmla="*/ 10 w 12"/>
                  <a:gd name="T15" fmla="*/ 2 h 9"/>
                  <a:gd name="T16" fmla="*/ 10 w 12"/>
                  <a:gd name="T17" fmla="*/ 2 h 9"/>
                  <a:gd name="T18" fmla="*/ 10 w 12"/>
                  <a:gd name="T19" fmla="*/ 2 h 9"/>
                  <a:gd name="T20" fmla="*/ 10 w 12"/>
                  <a:gd name="T21" fmla="*/ 1 h 9"/>
                  <a:gd name="T22" fmla="*/ 11 w 12"/>
                  <a:gd name="T23" fmla="*/ 1 h 9"/>
                  <a:gd name="T24" fmla="*/ 10 w 12"/>
                  <a:gd name="T25" fmla="*/ 0 h 9"/>
                  <a:gd name="T26" fmla="*/ 9 w 12"/>
                  <a:gd name="T27" fmla="*/ 1 h 9"/>
                  <a:gd name="T28" fmla="*/ 9 w 12"/>
                  <a:gd name="T29" fmla="*/ 1 h 9"/>
                  <a:gd name="T30" fmla="*/ 9 w 12"/>
                  <a:gd name="T31" fmla="*/ 1 h 9"/>
                  <a:gd name="T32" fmla="*/ 8 w 12"/>
                  <a:gd name="T33" fmla="*/ 2 h 9"/>
                  <a:gd name="T34" fmla="*/ 8 w 12"/>
                  <a:gd name="T35" fmla="*/ 2 h 9"/>
                  <a:gd name="T36" fmla="*/ 7 w 12"/>
                  <a:gd name="T37" fmla="*/ 2 h 9"/>
                  <a:gd name="T38" fmla="*/ 7 w 12"/>
                  <a:gd name="T39" fmla="*/ 3 h 9"/>
                  <a:gd name="T40" fmla="*/ 6 w 12"/>
                  <a:gd name="T41" fmla="*/ 3 h 9"/>
                  <a:gd name="T42" fmla="*/ 6 w 12"/>
                  <a:gd name="T43" fmla="*/ 3 h 9"/>
                  <a:gd name="T44" fmla="*/ 5 w 12"/>
                  <a:gd name="T45" fmla="*/ 3 h 9"/>
                  <a:gd name="T46" fmla="*/ 5 w 12"/>
                  <a:gd name="T47" fmla="*/ 4 h 9"/>
                  <a:gd name="T48" fmla="*/ 6 w 12"/>
                  <a:gd name="T49" fmla="*/ 4 h 9"/>
                  <a:gd name="T50" fmla="*/ 6 w 12"/>
                  <a:gd name="T51" fmla="*/ 4 h 9"/>
                  <a:gd name="T52" fmla="*/ 7 w 12"/>
                  <a:gd name="T53" fmla="*/ 4 h 9"/>
                  <a:gd name="T54" fmla="*/ 7 w 12"/>
                  <a:gd name="T55" fmla="*/ 5 h 9"/>
                  <a:gd name="T56" fmla="*/ 6 w 12"/>
                  <a:gd name="T57" fmla="*/ 5 h 9"/>
                  <a:gd name="T58" fmla="*/ 4 w 12"/>
                  <a:gd name="T59" fmla="*/ 6 h 9"/>
                  <a:gd name="T60" fmla="*/ 4 w 12"/>
                  <a:gd name="T61" fmla="*/ 6 h 9"/>
                  <a:gd name="T62" fmla="*/ 3 w 12"/>
                  <a:gd name="T63" fmla="*/ 6 h 9"/>
                  <a:gd name="T64" fmla="*/ 1 w 12"/>
                  <a:gd name="T65" fmla="*/ 7 h 9"/>
                  <a:gd name="T66" fmla="*/ 0 w 12"/>
                  <a:gd name="T67" fmla="*/ 8 h 9"/>
                  <a:gd name="T68" fmla="*/ 0 w 12"/>
                  <a:gd name="T69" fmla="*/ 8 h 9"/>
                  <a:gd name="T70" fmla="*/ 1 w 12"/>
                  <a:gd name="T71" fmla="*/ 9 h 9"/>
                  <a:gd name="T72" fmla="*/ 1 w 12"/>
                  <a:gd name="T73" fmla="*/ 8 h 9"/>
                  <a:gd name="T74" fmla="*/ 2 w 12"/>
                  <a:gd name="T75" fmla="*/ 8 h 9"/>
                  <a:gd name="T76" fmla="*/ 3 w 12"/>
                  <a:gd name="T77" fmla="*/ 7 h 9"/>
                  <a:gd name="T78" fmla="*/ 4 w 12"/>
                  <a:gd name="T79" fmla="*/ 7 h 9"/>
                  <a:gd name="T80" fmla="*/ 6 w 12"/>
                  <a:gd name="T81" fmla="*/ 7 h 9"/>
                  <a:gd name="T82" fmla="*/ 7 w 12"/>
                  <a:gd name="T83" fmla="*/ 6 h 9"/>
                  <a:gd name="T84" fmla="*/ 8 w 12"/>
                  <a:gd name="T85" fmla="*/ 6 h 9"/>
                  <a:gd name="T86" fmla="*/ 9 w 12"/>
                  <a:gd name="T87" fmla="*/ 5 h 9"/>
                  <a:gd name="T88" fmla="*/ 10 w 12"/>
                  <a:gd name="T89" fmla="*/ 6 h 9"/>
                  <a:gd name="T90" fmla="*/ 10 w 12"/>
                  <a:gd name="T91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2" h="9">
                    <a:moveTo>
                      <a:pt x="10" y="6"/>
                    </a:moveTo>
                    <a:cubicBezTo>
                      <a:pt x="10" y="6"/>
                      <a:pt x="10" y="5"/>
                      <a:pt x="10" y="5"/>
                    </a:cubicBezTo>
                    <a:cubicBezTo>
                      <a:pt x="10" y="5"/>
                      <a:pt x="11" y="4"/>
                      <a:pt x="11" y="4"/>
                    </a:cubicBezTo>
                    <a:cubicBezTo>
                      <a:pt x="11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1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3"/>
                      <a:pt x="10" y="3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1"/>
                    </a:cubicBezTo>
                    <a:cubicBezTo>
                      <a:pt x="10" y="1"/>
                      <a:pt x="11" y="1"/>
                      <a:pt x="11" y="1"/>
                    </a:cubicBezTo>
                    <a:cubicBezTo>
                      <a:pt x="11" y="0"/>
                      <a:pt x="10" y="0"/>
                      <a:pt x="10" y="0"/>
                    </a:cubicBezTo>
                    <a:cubicBezTo>
                      <a:pt x="10" y="1"/>
                      <a:pt x="10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2"/>
                      <a:pt x="8" y="2"/>
                      <a:pt x="8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5" y="3"/>
                    </a:cubicBezTo>
                    <a:cubicBezTo>
                      <a:pt x="5" y="3"/>
                      <a:pt x="5" y="4"/>
                      <a:pt x="5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7" y="4"/>
                      <a:pt x="7" y="4"/>
                    </a:cubicBezTo>
                    <a:cubicBezTo>
                      <a:pt x="7" y="4"/>
                      <a:pt x="8" y="5"/>
                      <a:pt x="7" y="5"/>
                    </a:cubicBezTo>
                    <a:cubicBezTo>
                      <a:pt x="7" y="5"/>
                      <a:pt x="7" y="5"/>
                      <a:pt x="6" y="5"/>
                    </a:cubicBezTo>
                    <a:cubicBezTo>
                      <a:pt x="6" y="5"/>
                      <a:pt x="5" y="5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3" y="6"/>
                      <a:pt x="3" y="6"/>
                    </a:cubicBezTo>
                    <a:cubicBezTo>
                      <a:pt x="3" y="6"/>
                      <a:pt x="1" y="7"/>
                      <a:pt x="1" y="7"/>
                    </a:cubicBezTo>
                    <a:cubicBezTo>
                      <a:pt x="1" y="7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1" y="9"/>
                      <a:pt x="1" y="9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5" y="7"/>
                      <a:pt x="5" y="7"/>
                      <a:pt x="6" y="7"/>
                    </a:cubicBezTo>
                    <a:cubicBezTo>
                      <a:pt x="6" y="6"/>
                      <a:pt x="6" y="6"/>
                      <a:pt x="7" y="6"/>
                    </a:cubicBezTo>
                    <a:cubicBezTo>
                      <a:pt x="7" y="6"/>
                      <a:pt x="7" y="6"/>
                      <a:pt x="8" y="6"/>
                    </a:cubicBezTo>
                    <a:cubicBezTo>
                      <a:pt x="8" y="6"/>
                      <a:pt x="9" y="5"/>
                      <a:pt x="9" y="5"/>
                    </a:cubicBezTo>
                    <a:cubicBezTo>
                      <a:pt x="9" y="5"/>
                      <a:pt x="9" y="5"/>
                      <a:pt x="10" y="6"/>
                    </a:cubicBezTo>
                    <a:cubicBezTo>
                      <a:pt x="10" y="6"/>
                      <a:pt x="10" y="6"/>
                      <a:pt x="10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91" name="Freeform 126">
                <a:extLst>
                  <a:ext uri="{FF2B5EF4-FFF2-40B4-BE49-F238E27FC236}">
                    <a16:creationId xmlns:a16="http://schemas.microsoft.com/office/drawing/2014/main" id="{87E211FA-2F69-419F-A418-F221FEFAB3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6" y="1988"/>
                <a:ext cx="2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92" name="Freeform 127">
                <a:extLst>
                  <a:ext uri="{FF2B5EF4-FFF2-40B4-BE49-F238E27FC236}">
                    <a16:creationId xmlns:a16="http://schemas.microsoft.com/office/drawing/2014/main" id="{070BB692-E7C3-4CE4-9FAB-976DAE6490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1" y="1981"/>
                <a:ext cx="61" cy="102"/>
              </a:xfrm>
              <a:custGeom>
                <a:avLst/>
                <a:gdLst>
                  <a:gd name="T0" fmla="*/ 1 w 26"/>
                  <a:gd name="T1" fmla="*/ 10 h 43"/>
                  <a:gd name="T2" fmla="*/ 0 w 26"/>
                  <a:gd name="T3" fmla="*/ 12 h 43"/>
                  <a:gd name="T4" fmla="*/ 4 w 26"/>
                  <a:gd name="T5" fmla="*/ 10 h 43"/>
                  <a:gd name="T6" fmla="*/ 2 w 26"/>
                  <a:gd name="T7" fmla="*/ 13 h 43"/>
                  <a:gd name="T8" fmla="*/ 1 w 26"/>
                  <a:gd name="T9" fmla="*/ 17 h 43"/>
                  <a:gd name="T10" fmla="*/ 4 w 26"/>
                  <a:gd name="T11" fmla="*/ 14 h 43"/>
                  <a:gd name="T12" fmla="*/ 4 w 26"/>
                  <a:gd name="T13" fmla="*/ 19 h 43"/>
                  <a:gd name="T14" fmla="*/ 5 w 26"/>
                  <a:gd name="T15" fmla="*/ 20 h 43"/>
                  <a:gd name="T16" fmla="*/ 6 w 26"/>
                  <a:gd name="T17" fmla="*/ 20 h 43"/>
                  <a:gd name="T18" fmla="*/ 8 w 26"/>
                  <a:gd name="T19" fmla="*/ 19 h 43"/>
                  <a:gd name="T20" fmla="*/ 9 w 26"/>
                  <a:gd name="T21" fmla="*/ 22 h 43"/>
                  <a:gd name="T22" fmla="*/ 11 w 26"/>
                  <a:gd name="T23" fmla="*/ 24 h 43"/>
                  <a:gd name="T24" fmla="*/ 10 w 26"/>
                  <a:gd name="T25" fmla="*/ 27 h 43"/>
                  <a:gd name="T26" fmla="*/ 8 w 26"/>
                  <a:gd name="T27" fmla="*/ 27 h 43"/>
                  <a:gd name="T28" fmla="*/ 5 w 26"/>
                  <a:gd name="T29" fmla="*/ 29 h 43"/>
                  <a:gd name="T30" fmla="*/ 7 w 26"/>
                  <a:gd name="T31" fmla="*/ 30 h 43"/>
                  <a:gd name="T32" fmla="*/ 5 w 26"/>
                  <a:gd name="T33" fmla="*/ 33 h 43"/>
                  <a:gd name="T34" fmla="*/ 3 w 26"/>
                  <a:gd name="T35" fmla="*/ 34 h 43"/>
                  <a:gd name="T36" fmla="*/ 6 w 26"/>
                  <a:gd name="T37" fmla="*/ 35 h 43"/>
                  <a:gd name="T38" fmla="*/ 7 w 26"/>
                  <a:gd name="T39" fmla="*/ 36 h 43"/>
                  <a:gd name="T40" fmla="*/ 9 w 26"/>
                  <a:gd name="T41" fmla="*/ 36 h 43"/>
                  <a:gd name="T42" fmla="*/ 12 w 26"/>
                  <a:gd name="T43" fmla="*/ 34 h 43"/>
                  <a:gd name="T44" fmla="*/ 9 w 26"/>
                  <a:gd name="T45" fmla="*/ 37 h 43"/>
                  <a:gd name="T46" fmla="*/ 6 w 26"/>
                  <a:gd name="T47" fmla="*/ 38 h 43"/>
                  <a:gd name="T48" fmla="*/ 2 w 26"/>
                  <a:gd name="T49" fmla="*/ 42 h 43"/>
                  <a:gd name="T50" fmla="*/ 4 w 26"/>
                  <a:gd name="T51" fmla="*/ 42 h 43"/>
                  <a:gd name="T52" fmla="*/ 7 w 26"/>
                  <a:gd name="T53" fmla="*/ 41 h 43"/>
                  <a:gd name="T54" fmla="*/ 10 w 26"/>
                  <a:gd name="T55" fmla="*/ 40 h 43"/>
                  <a:gd name="T56" fmla="*/ 15 w 26"/>
                  <a:gd name="T57" fmla="*/ 39 h 43"/>
                  <a:gd name="T58" fmla="*/ 20 w 26"/>
                  <a:gd name="T59" fmla="*/ 39 h 43"/>
                  <a:gd name="T60" fmla="*/ 24 w 26"/>
                  <a:gd name="T61" fmla="*/ 38 h 43"/>
                  <a:gd name="T62" fmla="*/ 24 w 26"/>
                  <a:gd name="T63" fmla="*/ 36 h 43"/>
                  <a:gd name="T64" fmla="*/ 23 w 26"/>
                  <a:gd name="T65" fmla="*/ 35 h 43"/>
                  <a:gd name="T66" fmla="*/ 25 w 26"/>
                  <a:gd name="T67" fmla="*/ 34 h 43"/>
                  <a:gd name="T68" fmla="*/ 22 w 26"/>
                  <a:gd name="T69" fmla="*/ 29 h 43"/>
                  <a:gd name="T70" fmla="*/ 21 w 26"/>
                  <a:gd name="T71" fmla="*/ 28 h 43"/>
                  <a:gd name="T72" fmla="*/ 19 w 26"/>
                  <a:gd name="T73" fmla="*/ 25 h 43"/>
                  <a:gd name="T74" fmla="*/ 20 w 26"/>
                  <a:gd name="T75" fmla="*/ 23 h 43"/>
                  <a:gd name="T76" fmla="*/ 18 w 26"/>
                  <a:gd name="T77" fmla="*/ 21 h 43"/>
                  <a:gd name="T78" fmla="*/ 15 w 26"/>
                  <a:gd name="T79" fmla="*/ 17 h 43"/>
                  <a:gd name="T80" fmla="*/ 14 w 26"/>
                  <a:gd name="T81" fmla="*/ 14 h 43"/>
                  <a:gd name="T82" fmla="*/ 9 w 26"/>
                  <a:gd name="T83" fmla="*/ 14 h 43"/>
                  <a:gd name="T84" fmla="*/ 11 w 26"/>
                  <a:gd name="T85" fmla="*/ 13 h 43"/>
                  <a:gd name="T86" fmla="*/ 13 w 26"/>
                  <a:gd name="T87" fmla="*/ 8 h 43"/>
                  <a:gd name="T88" fmla="*/ 13 w 26"/>
                  <a:gd name="T89" fmla="*/ 5 h 43"/>
                  <a:gd name="T90" fmla="*/ 10 w 26"/>
                  <a:gd name="T91" fmla="*/ 5 h 43"/>
                  <a:gd name="T92" fmla="*/ 7 w 26"/>
                  <a:gd name="T93" fmla="*/ 6 h 43"/>
                  <a:gd name="T94" fmla="*/ 9 w 26"/>
                  <a:gd name="T95" fmla="*/ 3 h 43"/>
                  <a:gd name="T96" fmla="*/ 9 w 26"/>
                  <a:gd name="T97" fmla="*/ 1 h 43"/>
                  <a:gd name="T98" fmla="*/ 6 w 26"/>
                  <a:gd name="T99" fmla="*/ 1 h 43"/>
                  <a:gd name="T100" fmla="*/ 4 w 26"/>
                  <a:gd name="T101" fmla="*/ 1 h 43"/>
                  <a:gd name="T102" fmla="*/ 4 w 26"/>
                  <a:gd name="T103" fmla="*/ 3 h 43"/>
                  <a:gd name="T104" fmla="*/ 3 w 26"/>
                  <a:gd name="T105" fmla="*/ 4 h 43"/>
                  <a:gd name="T106" fmla="*/ 2 w 26"/>
                  <a:gd name="T107" fmla="*/ 4 h 43"/>
                  <a:gd name="T108" fmla="*/ 2 w 26"/>
                  <a:gd name="T109" fmla="*/ 5 h 43"/>
                  <a:gd name="T110" fmla="*/ 1 w 26"/>
                  <a:gd name="T111" fmla="*/ 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6" h="43">
                    <a:moveTo>
                      <a:pt x="2" y="8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1" y="9"/>
                      <a:pt x="1" y="9"/>
                    </a:cubicBezTo>
                    <a:cubicBezTo>
                      <a:pt x="1" y="9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1" y="11"/>
                    </a:cubicBezTo>
                    <a:cubicBezTo>
                      <a:pt x="1" y="12"/>
                      <a:pt x="1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1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1"/>
                      <a:pt x="2" y="11"/>
                      <a:pt x="3" y="11"/>
                    </a:cubicBezTo>
                    <a:cubicBezTo>
                      <a:pt x="3" y="10"/>
                      <a:pt x="4" y="10"/>
                      <a:pt x="4" y="10"/>
                    </a:cubicBezTo>
                    <a:cubicBezTo>
                      <a:pt x="4" y="10"/>
                      <a:pt x="4" y="10"/>
                      <a:pt x="4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1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4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2" y="14"/>
                      <a:pt x="2" y="15"/>
                      <a:pt x="2" y="15"/>
                    </a:cubicBezTo>
                    <a:cubicBezTo>
                      <a:pt x="2" y="15"/>
                      <a:pt x="2" y="16"/>
                      <a:pt x="2" y="16"/>
                    </a:cubicBezTo>
                    <a:cubicBezTo>
                      <a:pt x="2" y="16"/>
                      <a:pt x="1" y="17"/>
                      <a:pt x="1" y="17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2" y="17"/>
                      <a:pt x="2" y="17"/>
                      <a:pt x="2" y="16"/>
                    </a:cubicBezTo>
                    <a:cubicBezTo>
                      <a:pt x="3" y="16"/>
                      <a:pt x="3" y="15"/>
                      <a:pt x="3" y="15"/>
                    </a:cubicBezTo>
                    <a:cubicBezTo>
                      <a:pt x="3" y="15"/>
                      <a:pt x="3" y="15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5"/>
                      <a:pt x="4" y="15"/>
                      <a:pt x="5" y="15"/>
                    </a:cubicBezTo>
                    <a:cubicBezTo>
                      <a:pt x="5" y="15"/>
                      <a:pt x="5" y="16"/>
                      <a:pt x="5" y="16"/>
                    </a:cubicBezTo>
                    <a:cubicBezTo>
                      <a:pt x="5" y="16"/>
                      <a:pt x="5" y="17"/>
                      <a:pt x="5" y="17"/>
                    </a:cubicBezTo>
                    <a:cubicBezTo>
                      <a:pt x="4" y="18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4" y="21"/>
                      <a:pt x="4" y="21"/>
                      <a:pt x="5" y="21"/>
                    </a:cubicBezTo>
                    <a:cubicBezTo>
                      <a:pt x="5" y="21"/>
                      <a:pt x="5" y="20"/>
                      <a:pt x="5" y="20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5" y="20"/>
                      <a:pt x="5" y="20"/>
                      <a:pt x="6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6" y="19"/>
                      <a:pt x="7" y="20"/>
                      <a:pt x="7" y="20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7" y="20"/>
                      <a:pt x="8" y="20"/>
                      <a:pt x="8" y="20"/>
                    </a:cubicBezTo>
                    <a:cubicBezTo>
                      <a:pt x="8" y="20"/>
                      <a:pt x="8" y="19"/>
                      <a:pt x="8" y="19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9" y="19"/>
                      <a:pt x="9" y="19"/>
                      <a:pt x="10" y="19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9"/>
                      <a:pt x="9" y="20"/>
                      <a:pt x="9" y="20"/>
                    </a:cubicBezTo>
                    <a:cubicBezTo>
                      <a:pt x="9" y="21"/>
                      <a:pt x="9" y="21"/>
                      <a:pt x="9" y="22"/>
                    </a:cubicBezTo>
                    <a:cubicBezTo>
                      <a:pt x="9" y="22"/>
                      <a:pt x="10" y="23"/>
                      <a:pt x="10" y="23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3"/>
                      <a:pt x="11" y="23"/>
                      <a:pt x="11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1" y="23"/>
                      <a:pt x="11" y="24"/>
                      <a:pt x="11" y="24"/>
                    </a:cubicBezTo>
                    <a:cubicBezTo>
                      <a:pt x="11" y="24"/>
                      <a:pt x="11" y="24"/>
                      <a:pt x="11" y="24"/>
                    </a:cubicBezTo>
                    <a:cubicBezTo>
                      <a:pt x="11" y="24"/>
                      <a:pt x="11" y="25"/>
                      <a:pt x="10" y="25"/>
                    </a:cubicBezTo>
                    <a:cubicBezTo>
                      <a:pt x="10" y="25"/>
                      <a:pt x="10" y="26"/>
                      <a:pt x="10" y="26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10" y="26"/>
                      <a:pt x="10" y="27"/>
                      <a:pt x="10" y="27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10" y="27"/>
                      <a:pt x="9" y="27"/>
                      <a:pt x="9" y="27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9" y="27"/>
                      <a:pt x="8" y="27"/>
                      <a:pt x="8" y="27"/>
                    </a:cubicBezTo>
                    <a:cubicBezTo>
                      <a:pt x="8" y="27"/>
                      <a:pt x="7" y="27"/>
                      <a:pt x="7" y="27"/>
                    </a:cubicBezTo>
                    <a:cubicBezTo>
                      <a:pt x="7" y="27"/>
                      <a:pt x="7" y="28"/>
                      <a:pt x="7" y="28"/>
                    </a:cubicBezTo>
                    <a:cubicBezTo>
                      <a:pt x="7" y="28"/>
                      <a:pt x="6" y="28"/>
                      <a:pt x="6" y="28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5" y="28"/>
                      <a:pt x="5" y="28"/>
                      <a:pt x="5" y="29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5" y="29"/>
                      <a:pt x="5" y="30"/>
                      <a:pt x="5" y="30"/>
                    </a:cubicBezTo>
                    <a:cubicBezTo>
                      <a:pt x="5" y="30"/>
                      <a:pt x="6" y="30"/>
                      <a:pt x="6" y="29"/>
                    </a:cubicBezTo>
                    <a:cubicBezTo>
                      <a:pt x="6" y="29"/>
                      <a:pt x="7" y="29"/>
                      <a:pt x="7" y="29"/>
                    </a:cubicBezTo>
                    <a:cubicBezTo>
                      <a:pt x="7" y="29"/>
                      <a:pt x="7" y="29"/>
                      <a:pt x="7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31"/>
                      <a:pt x="7" y="31"/>
                      <a:pt x="7" y="31"/>
                    </a:cubicBezTo>
                    <a:cubicBezTo>
                      <a:pt x="7" y="31"/>
                      <a:pt x="7" y="32"/>
                      <a:pt x="7" y="32"/>
                    </a:cubicBezTo>
                    <a:cubicBezTo>
                      <a:pt x="6" y="32"/>
                      <a:pt x="6" y="32"/>
                      <a:pt x="5" y="33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4" y="33"/>
                      <a:pt x="4" y="33"/>
                      <a:pt x="3" y="33"/>
                    </a:cubicBezTo>
                    <a:cubicBezTo>
                      <a:pt x="3" y="33"/>
                      <a:pt x="3" y="34"/>
                      <a:pt x="3" y="34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3" y="34"/>
                      <a:pt x="4" y="35"/>
                      <a:pt x="4" y="35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5" y="35"/>
                      <a:pt x="5" y="35"/>
                      <a:pt x="6" y="35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7" y="35"/>
                      <a:pt x="7" y="35"/>
                      <a:pt x="6" y="35"/>
                    </a:cubicBezTo>
                    <a:cubicBezTo>
                      <a:pt x="6" y="35"/>
                      <a:pt x="6" y="35"/>
                      <a:pt x="7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7" y="36"/>
                      <a:pt x="7" y="35"/>
                      <a:pt x="8" y="35"/>
                    </a:cubicBezTo>
                    <a:cubicBezTo>
                      <a:pt x="8" y="35"/>
                      <a:pt x="8" y="35"/>
                      <a:pt x="8" y="35"/>
                    </a:cubicBezTo>
                    <a:cubicBezTo>
                      <a:pt x="8" y="35"/>
                      <a:pt x="8" y="36"/>
                      <a:pt x="9" y="36"/>
                    </a:cubicBezTo>
                    <a:cubicBezTo>
                      <a:pt x="9" y="36"/>
                      <a:pt x="9" y="36"/>
                      <a:pt x="9" y="36"/>
                    </a:cubicBezTo>
                    <a:cubicBezTo>
                      <a:pt x="9" y="36"/>
                      <a:pt x="9" y="36"/>
                      <a:pt x="9" y="36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11" y="35"/>
                      <a:pt x="11" y="35"/>
                      <a:pt x="11" y="35"/>
                    </a:cubicBezTo>
                    <a:cubicBezTo>
                      <a:pt x="11" y="35"/>
                      <a:pt x="11" y="35"/>
                      <a:pt x="12" y="34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2" y="34"/>
                      <a:pt x="12" y="35"/>
                      <a:pt x="12" y="35"/>
                    </a:cubicBezTo>
                    <a:cubicBezTo>
                      <a:pt x="12" y="35"/>
                      <a:pt x="11" y="35"/>
                      <a:pt x="11" y="36"/>
                    </a:cubicBezTo>
                    <a:cubicBezTo>
                      <a:pt x="11" y="36"/>
                      <a:pt x="11" y="37"/>
                      <a:pt x="10" y="37"/>
                    </a:cubicBezTo>
                    <a:cubicBezTo>
                      <a:pt x="10" y="37"/>
                      <a:pt x="10" y="37"/>
                      <a:pt x="10" y="37"/>
                    </a:cubicBezTo>
                    <a:cubicBezTo>
                      <a:pt x="9" y="37"/>
                      <a:pt x="9" y="37"/>
                      <a:pt x="9" y="37"/>
                    </a:cubicBezTo>
                    <a:cubicBezTo>
                      <a:pt x="8" y="37"/>
                      <a:pt x="7" y="37"/>
                      <a:pt x="7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7" y="37"/>
                      <a:pt x="7" y="38"/>
                      <a:pt x="6" y="38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6" y="39"/>
                      <a:pt x="5" y="39"/>
                      <a:pt x="5" y="39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5" y="40"/>
                      <a:pt x="4" y="40"/>
                      <a:pt x="4" y="40"/>
                    </a:cubicBezTo>
                    <a:cubicBezTo>
                      <a:pt x="4" y="40"/>
                      <a:pt x="4" y="40"/>
                      <a:pt x="3" y="41"/>
                    </a:cubicBezTo>
                    <a:cubicBezTo>
                      <a:pt x="3" y="41"/>
                      <a:pt x="2" y="42"/>
                      <a:pt x="2" y="42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2" y="43"/>
                      <a:pt x="2" y="43"/>
                      <a:pt x="2" y="42"/>
                    </a:cubicBezTo>
                    <a:cubicBezTo>
                      <a:pt x="2" y="42"/>
                      <a:pt x="3" y="42"/>
                      <a:pt x="3" y="42"/>
                    </a:cubicBezTo>
                    <a:cubicBezTo>
                      <a:pt x="3" y="43"/>
                      <a:pt x="4" y="43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5" y="42"/>
                      <a:pt x="5" y="42"/>
                    </a:cubicBezTo>
                    <a:cubicBezTo>
                      <a:pt x="5" y="42"/>
                      <a:pt x="5" y="41"/>
                      <a:pt x="5" y="41"/>
                    </a:cubicBezTo>
                    <a:cubicBezTo>
                      <a:pt x="5" y="41"/>
                      <a:pt x="6" y="41"/>
                      <a:pt x="6" y="41"/>
                    </a:cubicBezTo>
                    <a:cubicBezTo>
                      <a:pt x="6" y="41"/>
                      <a:pt x="7" y="41"/>
                      <a:pt x="7" y="41"/>
                    </a:cubicBezTo>
                    <a:cubicBezTo>
                      <a:pt x="7" y="41"/>
                      <a:pt x="7" y="41"/>
                      <a:pt x="8" y="42"/>
                    </a:cubicBezTo>
                    <a:cubicBezTo>
                      <a:pt x="8" y="42"/>
                      <a:pt x="8" y="42"/>
                      <a:pt x="8" y="42"/>
                    </a:cubicBezTo>
                    <a:cubicBezTo>
                      <a:pt x="9" y="42"/>
                      <a:pt x="9" y="41"/>
                      <a:pt x="9" y="41"/>
                    </a:cubicBezTo>
                    <a:cubicBezTo>
                      <a:pt x="9" y="40"/>
                      <a:pt x="9" y="40"/>
                      <a:pt x="10" y="40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11" y="39"/>
                      <a:pt x="11" y="40"/>
                      <a:pt x="12" y="40"/>
                    </a:cubicBezTo>
                    <a:cubicBezTo>
                      <a:pt x="12" y="40"/>
                      <a:pt x="12" y="40"/>
                      <a:pt x="13" y="40"/>
                    </a:cubicBezTo>
                    <a:cubicBezTo>
                      <a:pt x="13" y="40"/>
                      <a:pt x="13" y="40"/>
                      <a:pt x="14" y="40"/>
                    </a:cubicBezTo>
                    <a:cubicBezTo>
                      <a:pt x="14" y="40"/>
                      <a:pt x="14" y="40"/>
                      <a:pt x="14" y="39"/>
                    </a:cubicBezTo>
                    <a:cubicBezTo>
                      <a:pt x="14" y="39"/>
                      <a:pt x="14" y="39"/>
                      <a:pt x="15" y="39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16" y="39"/>
                      <a:pt x="16" y="38"/>
                      <a:pt x="16" y="39"/>
                    </a:cubicBezTo>
                    <a:cubicBezTo>
                      <a:pt x="17" y="39"/>
                      <a:pt x="17" y="39"/>
                      <a:pt x="18" y="39"/>
                    </a:cubicBezTo>
                    <a:cubicBezTo>
                      <a:pt x="18" y="39"/>
                      <a:pt x="19" y="39"/>
                      <a:pt x="19" y="39"/>
                    </a:cubicBezTo>
                    <a:cubicBezTo>
                      <a:pt x="19" y="39"/>
                      <a:pt x="20" y="39"/>
                      <a:pt x="20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2" y="39"/>
                      <a:pt x="22" y="39"/>
                    </a:cubicBezTo>
                    <a:cubicBezTo>
                      <a:pt x="22" y="39"/>
                      <a:pt x="22" y="39"/>
                      <a:pt x="23" y="39"/>
                    </a:cubicBezTo>
                    <a:cubicBezTo>
                      <a:pt x="23" y="39"/>
                      <a:pt x="23" y="38"/>
                      <a:pt x="23" y="38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8"/>
                      <a:pt x="24" y="37"/>
                      <a:pt x="24" y="37"/>
                    </a:cubicBezTo>
                    <a:cubicBezTo>
                      <a:pt x="24" y="37"/>
                      <a:pt x="24" y="37"/>
                      <a:pt x="24" y="37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5" y="36"/>
                      <a:pt x="25" y="36"/>
                      <a:pt x="24" y="36"/>
                    </a:cubicBezTo>
                    <a:cubicBezTo>
                      <a:pt x="24" y="36"/>
                      <a:pt x="24" y="36"/>
                      <a:pt x="23" y="36"/>
                    </a:cubicBezTo>
                    <a:cubicBezTo>
                      <a:pt x="23" y="36"/>
                      <a:pt x="22" y="36"/>
                      <a:pt x="22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6"/>
                      <a:pt x="23" y="35"/>
                      <a:pt x="23" y="35"/>
                    </a:cubicBezTo>
                    <a:cubicBezTo>
                      <a:pt x="23" y="35"/>
                      <a:pt x="23" y="35"/>
                      <a:pt x="23" y="35"/>
                    </a:cubicBezTo>
                    <a:cubicBezTo>
                      <a:pt x="23" y="35"/>
                      <a:pt x="23" y="35"/>
                      <a:pt x="23" y="34"/>
                    </a:cubicBezTo>
                    <a:cubicBezTo>
                      <a:pt x="23" y="34"/>
                      <a:pt x="23" y="34"/>
                      <a:pt x="23" y="34"/>
                    </a:cubicBezTo>
                    <a:cubicBezTo>
                      <a:pt x="23" y="34"/>
                      <a:pt x="23" y="34"/>
                      <a:pt x="23" y="34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4"/>
                      <a:pt x="24" y="34"/>
                      <a:pt x="25" y="34"/>
                    </a:cubicBezTo>
                    <a:cubicBezTo>
                      <a:pt x="25" y="33"/>
                      <a:pt x="25" y="33"/>
                      <a:pt x="26" y="32"/>
                    </a:cubicBezTo>
                    <a:cubicBezTo>
                      <a:pt x="26" y="31"/>
                      <a:pt x="26" y="31"/>
                      <a:pt x="26" y="31"/>
                    </a:cubicBezTo>
                    <a:cubicBezTo>
                      <a:pt x="26" y="30"/>
                      <a:pt x="26" y="30"/>
                      <a:pt x="26" y="30"/>
                    </a:cubicBezTo>
                    <a:cubicBezTo>
                      <a:pt x="26" y="29"/>
                      <a:pt x="24" y="29"/>
                      <a:pt x="23" y="29"/>
                    </a:cubicBezTo>
                    <a:cubicBezTo>
                      <a:pt x="23" y="28"/>
                      <a:pt x="23" y="29"/>
                      <a:pt x="22" y="29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29"/>
                      <a:pt x="21" y="29"/>
                      <a:pt x="21" y="29"/>
                    </a:cubicBezTo>
                    <a:cubicBezTo>
                      <a:pt x="21" y="29"/>
                      <a:pt x="21" y="29"/>
                      <a:pt x="20" y="29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0" y="29"/>
                      <a:pt x="21" y="29"/>
                      <a:pt x="21" y="28"/>
                    </a:cubicBezTo>
                    <a:cubicBezTo>
                      <a:pt x="21" y="28"/>
                      <a:pt x="21" y="28"/>
                      <a:pt x="21" y="28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7"/>
                      <a:pt x="20" y="26"/>
                      <a:pt x="20" y="26"/>
                    </a:cubicBezTo>
                    <a:cubicBezTo>
                      <a:pt x="20" y="26"/>
                      <a:pt x="19" y="26"/>
                      <a:pt x="19" y="25"/>
                    </a:cubicBezTo>
                    <a:cubicBezTo>
                      <a:pt x="19" y="25"/>
                      <a:pt x="19" y="25"/>
                      <a:pt x="20" y="25"/>
                    </a:cubicBezTo>
                    <a:cubicBezTo>
                      <a:pt x="20" y="25"/>
                      <a:pt x="20" y="25"/>
                      <a:pt x="20" y="25"/>
                    </a:cubicBezTo>
                    <a:cubicBezTo>
                      <a:pt x="20" y="25"/>
                      <a:pt x="20" y="25"/>
                      <a:pt x="20" y="25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0" y="24"/>
                      <a:pt x="20" y="23"/>
                      <a:pt x="20" y="23"/>
                    </a:cubicBezTo>
                    <a:cubicBezTo>
                      <a:pt x="20" y="23"/>
                      <a:pt x="20" y="23"/>
                      <a:pt x="20" y="23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19" y="21"/>
                      <a:pt x="18" y="21"/>
                      <a:pt x="18" y="21"/>
                    </a:cubicBezTo>
                    <a:cubicBezTo>
                      <a:pt x="18" y="21"/>
                      <a:pt x="17" y="21"/>
                      <a:pt x="17" y="21"/>
                    </a:cubicBezTo>
                    <a:cubicBezTo>
                      <a:pt x="17" y="21"/>
                      <a:pt x="17" y="20"/>
                      <a:pt x="17" y="20"/>
                    </a:cubicBezTo>
                    <a:cubicBezTo>
                      <a:pt x="16" y="20"/>
                      <a:pt x="16" y="20"/>
                      <a:pt x="16" y="19"/>
                    </a:cubicBezTo>
                    <a:cubicBezTo>
                      <a:pt x="16" y="19"/>
                      <a:pt x="16" y="18"/>
                      <a:pt x="15" y="17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5" y="17"/>
                      <a:pt x="15" y="16"/>
                      <a:pt x="15" y="16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3" y="14"/>
                      <a:pt x="12" y="14"/>
                      <a:pt x="12" y="14"/>
                    </a:cubicBezTo>
                    <a:cubicBezTo>
                      <a:pt x="12" y="14"/>
                      <a:pt x="11" y="14"/>
                      <a:pt x="11" y="14"/>
                    </a:cubicBezTo>
                    <a:cubicBezTo>
                      <a:pt x="11" y="14"/>
                      <a:pt x="11" y="14"/>
                      <a:pt x="10" y="14"/>
                    </a:cubicBezTo>
                    <a:cubicBezTo>
                      <a:pt x="10" y="14"/>
                      <a:pt x="9" y="14"/>
                      <a:pt x="9" y="14"/>
                    </a:cubicBezTo>
                    <a:cubicBezTo>
                      <a:pt x="8" y="14"/>
                      <a:pt x="8" y="13"/>
                      <a:pt x="8" y="13"/>
                    </a:cubicBezTo>
                    <a:cubicBezTo>
                      <a:pt x="8" y="13"/>
                      <a:pt x="9" y="13"/>
                      <a:pt x="9" y="13"/>
                    </a:cubicBezTo>
                    <a:cubicBezTo>
                      <a:pt x="9" y="13"/>
                      <a:pt x="10" y="13"/>
                      <a:pt x="10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2" y="13"/>
                      <a:pt x="12" y="12"/>
                      <a:pt x="12" y="12"/>
                    </a:cubicBezTo>
                    <a:cubicBezTo>
                      <a:pt x="12" y="12"/>
                      <a:pt x="11" y="12"/>
                      <a:pt x="11" y="12"/>
                    </a:cubicBezTo>
                    <a:cubicBezTo>
                      <a:pt x="11" y="12"/>
                      <a:pt x="12" y="11"/>
                      <a:pt x="12" y="11"/>
                    </a:cubicBezTo>
                    <a:cubicBezTo>
                      <a:pt x="12" y="11"/>
                      <a:pt x="13" y="10"/>
                      <a:pt x="13" y="10"/>
                    </a:cubicBezTo>
                    <a:cubicBezTo>
                      <a:pt x="13" y="9"/>
                      <a:pt x="13" y="9"/>
                      <a:pt x="13" y="8"/>
                    </a:cubicBezTo>
                    <a:cubicBezTo>
                      <a:pt x="13" y="8"/>
                      <a:pt x="14" y="7"/>
                      <a:pt x="14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7"/>
                      <a:pt x="15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5"/>
                      <a:pt x="13" y="5"/>
                      <a:pt x="13" y="5"/>
                    </a:cubicBezTo>
                    <a:cubicBezTo>
                      <a:pt x="13" y="5"/>
                      <a:pt x="12" y="5"/>
                      <a:pt x="12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1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5"/>
                      <a:pt x="9" y="5"/>
                      <a:pt x="9" y="6"/>
                    </a:cubicBezTo>
                    <a:cubicBezTo>
                      <a:pt x="9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7" y="6"/>
                      <a:pt x="7" y="6"/>
                    </a:cubicBezTo>
                    <a:cubicBezTo>
                      <a:pt x="7" y="6"/>
                      <a:pt x="7" y="5"/>
                      <a:pt x="7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10" y="2"/>
                      <a:pt x="10" y="2"/>
                    </a:cubicBezTo>
                    <a:cubicBezTo>
                      <a:pt x="10" y="2"/>
                      <a:pt x="11" y="1"/>
                      <a:pt x="11" y="1"/>
                    </a:cubicBezTo>
                    <a:cubicBezTo>
                      <a:pt x="11" y="1"/>
                      <a:pt x="10" y="1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0"/>
                      <a:pt x="9" y="0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8" y="1"/>
                      <a:pt x="8" y="1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3"/>
                    </a:cubicBezTo>
                    <a:cubicBezTo>
                      <a:pt x="5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1" y="4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1" y="6"/>
                      <a:pt x="2" y="6"/>
                    </a:cubicBezTo>
                    <a:cubicBezTo>
                      <a:pt x="2" y="6"/>
                      <a:pt x="2" y="6"/>
                      <a:pt x="1" y="6"/>
                    </a:cubicBezTo>
                    <a:cubicBezTo>
                      <a:pt x="1" y="6"/>
                      <a:pt x="1" y="6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93" name="Freeform 128">
                <a:extLst>
                  <a:ext uri="{FF2B5EF4-FFF2-40B4-BE49-F238E27FC236}">
                    <a16:creationId xmlns:a16="http://schemas.microsoft.com/office/drawing/2014/main" id="{42779F50-8B1F-458E-8FE5-2EA79E3A44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8" y="2012"/>
                <a:ext cx="8" cy="7"/>
              </a:xfrm>
              <a:custGeom>
                <a:avLst/>
                <a:gdLst>
                  <a:gd name="T0" fmla="*/ 3 w 3"/>
                  <a:gd name="T1" fmla="*/ 0 h 3"/>
                  <a:gd name="T2" fmla="*/ 3 w 3"/>
                  <a:gd name="T3" fmla="*/ 0 h 3"/>
                  <a:gd name="T4" fmla="*/ 2 w 3"/>
                  <a:gd name="T5" fmla="*/ 1 h 3"/>
                  <a:gd name="T6" fmla="*/ 2 w 3"/>
                  <a:gd name="T7" fmla="*/ 1 h 3"/>
                  <a:gd name="T8" fmla="*/ 2 w 3"/>
                  <a:gd name="T9" fmla="*/ 1 h 3"/>
                  <a:gd name="T10" fmla="*/ 1 w 3"/>
                  <a:gd name="T11" fmla="*/ 1 h 3"/>
                  <a:gd name="T12" fmla="*/ 1 w 3"/>
                  <a:gd name="T13" fmla="*/ 1 h 3"/>
                  <a:gd name="T14" fmla="*/ 0 w 3"/>
                  <a:gd name="T15" fmla="*/ 2 h 3"/>
                  <a:gd name="T16" fmla="*/ 0 w 3"/>
                  <a:gd name="T17" fmla="*/ 2 h 3"/>
                  <a:gd name="T18" fmla="*/ 1 w 3"/>
                  <a:gd name="T19" fmla="*/ 2 h 3"/>
                  <a:gd name="T20" fmla="*/ 1 w 3"/>
                  <a:gd name="T21" fmla="*/ 3 h 3"/>
                  <a:gd name="T22" fmla="*/ 2 w 3"/>
                  <a:gd name="T23" fmla="*/ 3 h 3"/>
                  <a:gd name="T24" fmla="*/ 2 w 3"/>
                  <a:gd name="T25" fmla="*/ 3 h 3"/>
                  <a:gd name="T26" fmla="*/ 2 w 3"/>
                  <a:gd name="T27" fmla="*/ 2 h 3"/>
                  <a:gd name="T28" fmla="*/ 2 w 3"/>
                  <a:gd name="T29" fmla="*/ 2 h 3"/>
                  <a:gd name="T30" fmla="*/ 2 w 3"/>
                  <a:gd name="T31" fmla="*/ 1 h 3"/>
                  <a:gd name="T32" fmla="*/ 3 w 3"/>
                  <a:gd name="T3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3"/>
                    </a:cubicBezTo>
                    <a:cubicBezTo>
                      <a:pt x="1" y="3"/>
                      <a:pt x="1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1"/>
                      <a:pt x="2" y="1"/>
                    </a:cubicBezTo>
                    <a:cubicBezTo>
                      <a:pt x="2" y="1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94" name="Freeform 129">
                <a:extLst>
                  <a:ext uri="{FF2B5EF4-FFF2-40B4-BE49-F238E27FC236}">
                    <a16:creationId xmlns:a16="http://schemas.microsoft.com/office/drawing/2014/main" id="{626BC7AA-A86B-43DE-A74A-052BC5F176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6" y="1993"/>
                <a:ext cx="7" cy="7"/>
              </a:xfrm>
              <a:custGeom>
                <a:avLst/>
                <a:gdLst>
                  <a:gd name="T0" fmla="*/ 2 w 3"/>
                  <a:gd name="T1" fmla="*/ 0 h 3"/>
                  <a:gd name="T2" fmla="*/ 2 w 3"/>
                  <a:gd name="T3" fmla="*/ 0 h 3"/>
                  <a:gd name="T4" fmla="*/ 2 w 3"/>
                  <a:gd name="T5" fmla="*/ 0 h 3"/>
                  <a:gd name="T6" fmla="*/ 2 w 3"/>
                  <a:gd name="T7" fmla="*/ 1 h 3"/>
                  <a:gd name="T8" fmla="*/ 1 w 3"/>
                  <a:gd name="T9" fmla="*/ 1 h 3"/>
                  <a:gd name="T10" fmla="*/ 1 w 3"/>
                  <a:gd name="T11" fmla="*/ 1 h 3"/>
                  <a:gd name="T12" fmla="*/ 1 w 3"/>
                  <a:gd name="T13" fmla="*/ 1 h 3"/>
                  <a:gd name="T14" fmla="*/ 0 w 3"/>
                  <a:gd name="T15" fmla="*/ 2 h 3"/>
                  <a:gd name="T16" fmla="*/ 1 w 3"/>
                  <a:gd name="T17" fmla="*/ 2 h 3"/>
                  <a:gd name="T18" fmla="*/ 2 w 3"/>
                  <a:gd name="T19" fmla="*/ 2 h 3"/>
                  <a:gd name="T20" fmla="*/ 2 w 3"/>
                  <a:gd name="T21" fmla="*/ 3 h 3"/>
                  <a:gd name="T22" fmla="*/ 2 w 3"/>
                  <a:gd name="T23" fmla="*/ 3 h 3"/>
                  <a:gd name="T24" fmla="*/ 2 w 3"/>
                  <a:gd name="T25" fmla="*/ 3 h 3"/>
                  <a:gd name="T26" fmla="*/ 3 w 3"/>
                  <a:gd name="T27" fmla="*/ 3 h 3"/>
                  <a:gd name="T28" fmla="*/ 3 w 3"/>
                  <a:gd name="T29" fmla="*/ 3 h 3"/>
                  <a:gd name="T30" fmla="*/ 3 w 3"/>
                  <a:gd name="T31" fmla="*/ 2 h 3"/>
                  <a:gd name="T32" fmla="*/ 3 w 3"/>
                  <a:gd name="T33" fmla="*/ 2 h 3"/>
                  <a:gd name="T34" fmla="*/ 2 w 3"/>
                  <a:gd name="T35" fmla="*/ 1 h 3"/>
                  <a:gd name="T36" fmla="*/ 2 w 3"/>
                  <a:gd name="T3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1"/>
                      <a:pt x="2" y="1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2"/>
                      <a:pt x="2" y="2"/>
                      <a:pt x="2" y="2"/>
                    </a:cubicBezTo>
                    <a:cubicBezTo>
                      <a:pt x="2" y="2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2" y="2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95" name="Freeform 130">
                <a:extLst>
                  <a:ext uri="{FF2B5EF4-FFF2-40B4-BE49-F238E27FC236}">
                    <a16:creationId xmlns:a16="http://schemas.microsoft.com/office/drawing/2014/main" id="{D25E1E6C-74B6-4069-AF79-36987C77B0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4" y="1984"/>
                <a:ext cx="9" cy="9"/>
              </a:xfrm>
              <a:custGeom>
                <a:avLst/>
                <a:gdLst>
                  <a:gd name="T0" fmla="*/ 2 w 4"/>
                  <a:gd name="T1" fmla="*/ 1 h 4"/>
                  <a:gd name="T2" fmla="*/ 2 w 4"/>
                  <a:gd name="T3" fmla="*/ 1 h 4"/>
                  <a:gd name="T4" fmla="*/ 1 w 4"/>
                  <a:gd name="T5" fmla="*/ 1 h 4"/>
                  <a:gd name="T6" fmla="*/ 1 w 4"/>
                  <a:gd name="T7" fmla="*/ 1 h 4"/>
                  <a:gd name="T8" fmla="*/ 0 w 4"/>
                  <a:gd name="T9" fmla="*/ 2 h 4"/>
                  <a:gd name="T10" fmla="*/ 0 w 4"/>
                  <a:gd name="T11" fmla="*/ 2 h 4"/>
                  <a:gd name="T12" fmla="*/ 0 w 4"/>
                  <a:gd name="T13" fmla="*/ 3 h 4"/>
                  <a:gd name="T14" fmla="*/ 1 w 4"/>
                  <a:gd name="T15" fmla="*/ 3 h 4"/>
                  <a:gd name="T16" fmla="*/ 1 w 4"/>
                  <a:gd name="T17" fmla="*/ 3 h 4"/>
                  <a:gd name="T18" fmla="*/ 1 w 4"/>
                  <a:gd name="T19" fmla="*/ 3 h 4"/>
                  <a:gd name="T20" fmla="*/ 0 w 4"/>
                  <a:gd name="T21" fmla="*/ 4 h 4"/>
                  <a:gd name="T22" fmla="*/ 1 w 4"/>
                  <a:gd name="T23" fmla="*/ 4 h 4"/>
                  <a:gd name="T24" fmla="*/ 1 w 4"/>
                  <a:gd name="T25" fmla="*/ 4 h 4"/>
                  <a:gd name="T26" fmla="*/ 1 w 4"/>
                  <a:gd name="T27" fmla="*/ 4 h 4"/>
                  <a:gd name="T28" fmla="*/ 2 w 4"/>
                  <a:gd name="T29" fmla="*/ 4 h 4"/>
                  <a:gd name="T30" fmla="*/ 2 w 4"/>
                  <a:gd name="T31" fmla="*/ 3 h 4"/>
                  <a:gd name="T32" fmla="*/ 3 w 4"/>
                  <a:gd name="T33" fmla="*/ 3 h 4"/>
                  <a:gd name="T34" fmla="*/ 3 w 4"/>
                  <a:gd name="T35" fmla="*/ 2 h 4"/>
                  <a:gd name="T36" fmla="*/ 3 w 4"/>
                  <a:gd name="T37" fmla="*/ 2 h 4"/>
                  <a:gd name="T38" fmla="*/ 4 w 4"/>
                  <a:gd name="T39" fmla="*/ 2 h 4"/>
                  <a:gd name="T40" fmla="*/ 3 w 4"/>
                  <a:gd name="T41" fmla="*/ 1 h 4"/>
                  <a:gd name="T42" fmla="*/ 3 w 4"/>
                  <a:gd name="T43" fmla="*/ 1 h 4"/>
                  <a:gd name="T44" fmla="*/ 4 w 4"/>
                  <a:gd name="T45" fmla="*/ 0 h 4"/>
                  <a:gd name="T46" fmla="*/ 3 w 4"/>
                  <a:gd name="T47" fmla="*/ 0 h 4"/>
                  <a:gd name="T48" fmla="*/ 3 w 4"/>
                  <a:gd name="T49" fmla="*/ 0 h 4"/>
                  <a:gd name="T50" fmla="*/ 2 w 4"/>
                  <a:gd name="T5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" h="4"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1"/>
                    </a:cubicBezTo>
                    <a:cubicBezTo>
                      <a:pt x="1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3" y="3"/>
                    </a:cubicBezTo>
                    <a:cubicBezTo>
                      <a:pt x="3" y="3"/>
                      <a:pt x="3" y="3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4" y="1"/>
                      <a:pt x="4" y="1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1"/>
                      <a:pt x="2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96" name="Freeform 131">
                <a:extLst>
                  <a:ext uri="{FF2B5EF4-FFF2-40B4-BE49-F238E27FC236}">
                    <a16:creationId xmlns:a16="http://schemas.microsoft.com/office/drawing/2014/main" id="{2B409CD9-20E4-475D-8022-92D263949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1" y="1998"/>
                <a:ext cx="3" cy="5"/>
              </a:xfrm>
              <a:custGeom>
                <a:avLst/>
                <a:gdLst>
                  <a:gd name="T0" fmla="*/ 1 w 1"/>
                  <a:gd name="T1" fmla="*/ 1 h 2"/>
                  <a:gd name="T2" fmla="*/ 1 w 1"/>
                  <a:gd name="T3" fmla="*/ 1 h 2"/>
                  <a:gd name="T4" fmla="*/ 1 w 1"/>
                  <a:gd name="T5" fmla="*/ 1 h 2"/>
                  <a:gd name="T6" fmla="*/ 1 w 1"/>
                  <a:gd name="T7" fmla="*/ 1 h 2"/>
                  <a:gd name="T8" fmla="*/ 1 w 1"/>
                  <a:gd name="T9" fmla="*/ 0 h 2"/>
                  <a:gd name="T10" fmla="*/ 1 w 1"/>
                  <a:gd name="T11" fmla="*/ 0 h 2"/>
                  <a:gd name="T12" fmla="*/ 1 w 1"/>
                  <a:gd name="T13" fmla="*/ 0 h 2"/>
                  <a:gd name="T14" fmla="*/ 0 w 1"/>
                  <a:gd name="T15" fmla="*/ 0 h 2"/>
                  <a:gd name="T16" fmla="*/ 0 w 1"/>
                  <a:gd name="T17" fmla="*/ 1 h 2"/>
                  <a:gd name="T18" fmla="*/ 1 w 1"/>
                  <a:gd name="T1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2">
                    <a:moveTo>
                      <a:pt x="1" y="1"/>
                    </a:moveTo>
                    <a:cubicBezTo>
                      <a:pt x="1" y="2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97" name="Freeform 132">
                <a:extLst>
                  <a:ext uri="{FF2B5EF4-FFF2-40B4-BE49-F238E27FC236}">
                    <a16:creationId xmlns:a16="http://schemas.microsoft.com/office/drawing/2014/main" id="{F0DE139A-11F5-4CDE-9E78-FD84CE49C2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" y="2017"/>
                <a:ext cx="2" cy="5"/>
              </a:xfrm>
              <a:custGeom>
                <a:avLst/>
                <a:gdLst>
                  <a:gd name="T0" fmla="*/ 1 w 1"/>
                  <a:gd name="T1" fmla="*/ 2 h 2"/>
                  <a:gd name="T2" fmla="*/ 1 w 1"/>
                  <a:gd name="T3" fmla="*/ 1 h 2"/>
                  <a:gd name="T4" fmla="*/ 1 w 1"/>
                  <a:gd name="T5" fmla="*/ 1 h 2"/>
                  <a:gd name="T6" fmla="*/ 0 w 1"/>
                  <a:gd name="T7" fmla="*/ 0 h 2"/>
                  <a:gd name="T8" fmla="*/ 0 w 1"/>
                  <a:gd name="T9" fmla="*/ 1 h 2"/>
                  <a:gd name="T10" fmla="*/ 0 w 1"/>
                  <a:gd name="T11" fmla="*/ 1 h 2"/>
                  <a:gd name="T12" fmla="*/ 1 w 1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cubicBezTo>
                      <a:pt x="1" y="2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98" name="Freeform 133">
                <a:extLst>
                  <a:ext uri="{FF2B5EF4-FFF2-40B4-BE49-F238E27FC236}">
                    <a16:creationId xmlns:a16="http://schemas.microsoft.com/office/drawing/2014/main" id="{DABD4B57-EB7C-415E-B11F-2D08556B7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5" y="2088"/>
                <a:ext cx="2" cy="2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1 h 1"/>
                  <a:gd name="T8" fmla="*/ 1 w 1"/>
                  <a:gd name="T9" fmla="*/ 1 h 1"/>
                  <a:gd name="T10" fmla="*/ 1 w 1"/>
                  <a:gd name="T11" fmla="*/ 0 h 1"/>
                  <a:gd name="T12" fmla="*/ 1 w 1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99" name="Freeform 134">
                <a:extLst>
                  <a:ext uri="{FF2B5EF4-FFF2-40B4-BE49-F238E27FC236}">
                    <a16:creationId xmlns:a16="http://schemas.microsoft.com/office/drawing/2014/main" id="{6454985F-FF8D-4AE0-AFCB-DF63961A45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" y="2033"/>
                <a:ext cx="2" cy="3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0 w 1"/>
                  <a:gd name="T5" fmla="*/ 1 h 1"/>
                  <a:gd name="T6" fmla="*/ 0 w 1"/>
                  <a:gd name="T7" fmla="*/ 1 h 1"/>
                  <a:gd name="T8" fmla="*/ 0 w 1"/>
                  <a:gd name="T9" fmla="*/ 1 h 1"/>
                  <a:gd name="T10" fmla="*/ 0 w 1"/>
                  <a:gd name="T11" fmla="*/ 1 h 1"/>
                  <a:gd name="T12" fmla="*/ 1 w 1"/>
                  <a:gd name="T13" fmla="*/ 1 h 1"/>
                  <a:gd name="T14" fmla="*/ 1 w 1"/>
                  <a:gd name="T15" fmla="*/ 1 h 1"/>
                  <a:gd name="T16" fmla="*/ 1 w 1"/>
                  <a:gd name="T17" fmla="*/ 0 h 1"/>
                  <a:gd name="T18" fmla="*/ 1 w 1"/>
                  <a:gd name="T1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00" name="Freeform 135">
                <a:extLst>
                  <a:ext uri="{FF2B5EF4-FFF2-40B4-BE49-F238E27FC236}">
                    <a16:creationId xmlns:a16="http://schemas.microsoft.com/office/drawing/2014/main" id="{D8851D3B-B2D4-4777-8832-12F7710213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" y="2043"/>
                <a:ext cx="4" cy="2"/>
              </a:xfrm>
              <a:custGeom>
                <a:avLst/>
                <a:gdLst>
                  <a:gd name="T0" fmla="*/ 1 w 2"/>
                  <a:gd name="T1" fmla="*/ 0 h 1"/>
                  <a:gd name="T2" fmla="*/ 0 w 2"/>
                  <a:gd name="T3" fmla="*/ 1 h 1"/>
                  <a:gd name="T4" fmla="*/ 1 w 2"/>
                  <a:gd name="T5" fmla="*/ 1 h 1"/>
                  <a:gd name="T6" fmla="*/ 1 w 2"/>
                  <a:gd name="T7" fmla="*/ 1 h 1"/>
                  <a:gd name="T8" fmla="*/ 2 w 2"/>
                  <a:gd name="T9" fmla="*/ 1 h 1"/>
                  <a:gd name="T10" fmla="*/ 2 w 2"/>
                  <a:gd name="T11" fmla="*/ 1 h 1"/>
                  <a:gd name="T12" fmla="*/ 2 w 2"/>
                  <a:gd name="T13" fmla="*/ 0 h 1"/>
                  <a:gd name="T14" fmla="*/ 1 w 2"/>
                  <a:gd name="T1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01" name="Freeform 136">
                <a:extLst>
                  <a:ext uri="{FF2B5EF4-FFF2-40B4-BE49-F238E27FC236}">
                    <a16:creationId xmlns:a16="http://schemas.microsoft.com/office/drawing/2014/main" id="{1C6A1523-16D7-40A2-B1A6-E08E0AABF6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6" y="2074"/>
                <a:ext cx="5" cy="2"/>
              </a:xfrm>
              <a:custGeom>
                <a:avLst/>
                <a:gdLst>
                  <a:gd name="T0" fmla="*/ 1 w 2"/>
                  <a:gd name="T1" fmla="*/ 0 h 1"/>
                  <a:gd name="T2" fmla="*/ 1 w 2"/>
                  <a:gd name="T3" fmla="*/ 0 h 1"/>
                  <a:gd name="T4" fmla="*/ 1 w 2"/>
                  <a:gd name="T5" fmla="*/ 1 h 1"/>
                  <a:gd name="T6" fmla="*/ 1 w 2"/>
                  <a:gd name="T7" fmla="*/ 1 h 1"/>
                  <a:gd name="T8" fmla="*/ 1 w 2"/>
                  <a:gd name="T9" fmla="*/ 1 h 1"/>
                  <a:gd name="T10" fmla="*/ 2 w 2"/>
                  <a:gd name="T11" fmla="*/ 1 h 1"/>
                  <a:gd name="T12" fmla="*/ 2 w 2"/>
                  <a:gd name="T13" fmla="*/ 1 h 1"/>
                  <a:gd name="T14" fmla="*/ 2 w 2"/>
                  <a:gd name="T15" fmla="*/ 0 h 1"/>
                  <a:gd name="T16" fmla="*/ 1 w 2"/>
                  <a:gd name="T1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02" name="Freeform 137">
                <a:extLst>
                  <a:ext uri="{FF2B5EF4-FFF2-40B4-BE49-F238E27FC236}">
                    <a16:creationId xmlns:a16="http://schemas.microsoft.com/office/drawing/2014/main" id="{887333DB-B1EF-4AEB-A4BF-E81914DC3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9" y="2090"/>
                <a:ext cx="3" cy="3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1 h 1"/>
                  <a:gd name="T6" fmla="*/ 0 w 1"/>
                  <a:gd name="T7" fmla="*/ 1 h 1"/>
                  <a:gd name="T8" fmla="*/ 1 w 1"/>
                  <a:gd name="T9" fmla="*/ 1 h 1"/>
                  <a:gd name="T10" fmla="*/ 1 w 1"/>
                  <a:gd name="T11" fmla="*/ 1 h 1"/>
                  <a:gd name="T12" fmla="*/ 1 w 1"/>
                  <a:gd name="T13" fmla="*/ 1 h 1"/>
                  <a:gd name="T14" fmla="*/ 1 w 1"/>
                  <a:gd name="T15" fmla="*/ 0 h 1"/>
                  <a:gd name="T16" fmla="*/ 1 w 1"/>
                  <a:gd name="T17" fmla="*/ 0 h 1"/>
                  <a:gd name="T18" fmla="*/ 0 w 1"/>
                  <a:gd name="T1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03" name="Freeform 138">
                <a:extLst>
                  <a:ext uri="{FF2B5EF4-FFF2-40B4-BE49-F238E27FC236}">
                    <a16:creationId xmlns:a16="http://schemas.microsoft.com/office/drawing/2014/main" id="{0F2AA9D1-92DA-4610-BAE3-EDC79B1ED8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2" y="1977"/>
                <a:ext cx="5" cy="2"/>
              </a:xfrm>
              <a:custGeom>
                <a:avLst/>
                <a:gdLst>
                  <a:gd name="T0" fmla="*/ 2 w 2"/>
                  <a:gd name="T1" fmla="*/ 1 h 1"/>
                  <a:gd name="T2" fmla="*/ 2 w 2"/>
                  <a:gd name="T3" fmla="*/ 1 h 1"/>
                  <a:gd name="T4" fmla="*/ 2 w 2"/>
                  <a:gd name="T5" fmla="*/ 1 h 1"/>
                  <a:gd name="T6" fmla="*/ 2 w 2"/>
                  <a:gd name="T7" fmla="*/ 1 h 1"/>
                  <a:gd name="T8" fmla="*/ 1 w 2"/>
                  <a:gd name="T9" fmla="*/ 0 h 1"/>
                  <a:gd name="T10" fmla="*/ 1 w 2"/>
                  <a:gd name="T11" fmla="*/ 0 h 1"/>
                  <a:gd name="T12" fmla="*/ 1 w 2"/>
                  <a:gd name="T13" fmla="*/ 0 h 1"/>
                  <a:gd name="T14" fmla="*/ 1 w 2"/>
                  <a:gd name="T15" fmla="*/ 0 h 1"/>
                  <a:gd name="T16" fmla="*/ 0 w 2"/>
                  <a:gd name="T17" fmla="*/ 1 h 1"/>
                  <a:gd name="T18" fmla="*/ 1 w 2"/>
                  <a:gd name="T19" fmla="*/ 1 h 1"/>
                  <a:gd name="T20" fmla="*/ 2 w 2"/>
                  <a:gd name="T2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2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04" name="Freeform 139">
                <a:extLst>
                  <a:ext uri="{FF2B5EF4-FFF2-40B4-BE49-F238E27FC236}">
                    <a16:creationId xmlns:a16="http://schemas.microsoft.com/office/drawing/2014/main" id="{9E8AF47A-172D-4187-A2D3-D971029C4E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" y="1974"/>
                <a:ext cx="2" cy="3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  <a:gd name="T6" fmla="*/ 0 w 1"/>
                  <a:gd name="T7" fmla="*/ 1 h 1"/>
                  <a:gd name="T8" fmla="*/ 0 w 1"/>
                  <a:gd name="T9" fmla="*/ 1 h 1"/>
                  <a:gd name="T10" fmla="*/ 1 w 1"/>
                  <a:gd name="T1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05" name="Freeform 140">
                <a:extLst>
                  <a:ext uri="{FF2B5EF4-FFF2-40B4-BE49-F238E27FC236}">
                    <a16:creationId xmlns:a16="http://schemas.microsoft.com/office/drawing/2014/main" id="{6FC293D6-3999-4137-B41F-0AC6D1887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6" y="1955"/>
                <a:ext cx="7" cy="12"/>
              </a:xfrm>
              <a:custGeom>
                <a:avLst/>
                <a:gdLst>
                  <a:gd name="T0" fmla="*/ 1 w 3"/>
                  <a:gd name="T1" fmla="*/ 4 h 5"/>
                  <a:gd name="T2" fmla="*/ 1 w 3"/>
                  <a:gd name="T3" fmla="*/ 4 h 5"/>
                  <a:gd name="T4" fmla="*/ 1 w 3"/>
                  <a:gd name="T5" fmla="*/ 5 h 5"/>
                  <a:gd name="T6" fmla="*/ 1 w 3"/>
                  <a:gd name="T7" fmla="*/ 5 h 5"/>
                  <a:gd name="T8" fmla="*/ 1 w 3"/>
                  <a:gd name="T9" fmla="*/ 5 h 5"/>
                  <a:gd name="T10" fmla="*/ 2 w 3"/>
                  <a:gd name="T11" fmla="*/ 4 h 5"/>
                  <a:gd name="T12" fmla="*/ 2 w 3"/>
                  <a:gd name="T13" fmla="*/ 3 h 5"/>
                  <a:gd name="T14" fmla="*/ 2 w 3"/>
                  <a:gd name="T15" fmla="*/ 2 h 5"/>
                  <a:gd name="T16" fmla="*/ 2 w 3"/>
                  <a:gd name="T17" fmla="*/ 2 h 5"/>
                  <a:gd name="T18" fmla="*/ 2 w 3"/>
                  <a:gd name="T19" fmla="*/ 2 h 5"/>
                  <a:gd name="T20" fmla="*/ 3 w 3"/>
                  <a:gd name="T21" fmla="*/ 1 h 5"/>
                  <a:gd name="T22" fmla="*/ 2 w 3"/>
                  <a:gd name="T23" fmla="*/ 1 h 5"/>
                  <a:gd name="T24" fmla="*/ 2 w 3"/>
                  <a:gd name="T25" fmla="*/ 0 h 5"/>
                  <a:gd name="T26" fmla="*/ 2 w 3"/>
                  <a:gd name="T27" fmla="*/ 0 h 5"/>
                  <a:gd name="T28" fmla="*/ 2 w 3"/>
                  <a:gd name="T29" fmla="*/ 1 h 5"/>
                  <a:gd name="T30" fmla="*/ 1 w 3"/>
                  <a:gd name="T31" fmla="*/ 1 h 5"/>
                  <a:gd name="T32" fmla="*/ 1 w 3"/>
                  <a:gd name="T33" fmla="*/ 2 h 5"/>
                  <a:gd name="T34" fmla="*/ 1 w 3"/>
                  <a:gd name="T35" fmla="*/ 2 h 5"/>
                  <a:gd name="T36" fmla="*/ 1 w 3"/>
                  <a:gd name="T37" fmla="*/ 2 h 5"/>
                  <a:gd name="T38" fmla="*/ 0 w 3"/>
                  <a:gd name="T39" fmla="*/ 2 h 5"/>
                  <a:gd name="T40" fmla="*/ 0 w 3"/>
                  <a:gd name="T41" fmla="*/ 2 h 5"/>
                  <a:gd name="T42" fmla="*/ 1 w 3"/>
                  <a:gd name="T43" fmla="*/ 3 h 5"/>
                  <a:gd name="T44" fmla="*/ 1 w 3"/>
                  <a:gd name="T45" fmla="*/ 3 h 5"/>
                  <a:gd name="T46" fmla="*/ 0 w 3"/>
                  <a:gd name="T47" fmla="*/ 3 h 5"/>
                  <a:gd name="T48" fmla="*/ 0 w 3"/>
                  <a:gd name="T49" fmla="*/ 3 h 5"/>
                  <a:gd name="T50" fmla="*/ 0 w 3"/>
                  <a:gd name="T51" fmla="*/ 3 h 5"/>
                  <a:gd name="T52" fmla="*/ 0 w 3"/>
                  <a:gd name="T53" fmla="*/ 4 h 5"/>
                  <a:gd name="T54" fmla="*/ 1 w 3"/>
                  <a:gd name="T5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" h="5"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2" y="5"/>
                      <a:pt x="2" y="4"/>
                      <a:pt x="2" y="4"/>
                    </a:cubicBezTo>
                    <a:cubicBezTo>
                      <a:pt x="2" y="4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1"/>
                      <a:pt x="3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1" y="2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0" y="4"/>
                      <a:pt x="1" y="4"/>
                      <a:pt x="1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06" name="Freeform 141">
                <a:extLst>
                  <a:ext uri="{FF2B5EF4-FFF2-40B4-BE49-F238E27FC236}">
                    <a16:creationId xmlns:a16="http://schemas.microsoft.com/office/drawing/2014/main" id="{E09AC80C-976E-48FE-AC0C-E917E202A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2" y="1965"/>
                <a:ext cx="2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0 w 1"/>
                  <a:gd name="T4" fmla="*/ 0 w 1"/>
                  <a:gd name="T5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07" name="Freeform 142">
                <a:extLst>
                  <a:ext uri="{FF2B5EF4-FFF2-40B4-BE49-F238E27FC236}">
                    <a16:creationId xmlns:a16="http://schemas.microsoft.com/office/drawing/2014/main" id="{463A1284-5A60-4015-A06B-ECBAC9AA2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2" y="1979"/>
                <a:ext cx="3" cy="2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1 h 1"/>
                  <a:gd name="T4" fmla="*/ 1 w 1"/>
                  <a:gd name="T5" fmla="*/ 0 h 1"/>
                  <a:gd name="T6" fmla="*/ 0 w 1"/>
                  <a:gd name="T7" fmla="*/ 0 h 1"/>
                  <a:gd name="T8" fmla="*/ 0 w 1"/>
                  <a:gd name="T9" fmla="*/ 1 h 1"/>
                  <a:gd name="T10" fmla="*/ 1 w 1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08" name="Freeform 143">
                <a:extLst>
                  <a:ext uri="{FF2B5EF4-FFF2-40B4-BE49-F238E27FC236}">
                    <a16:creationId xmlns:a16="http://schemas.microsoft.com/office/drawing/2014/main" id="{BEE1B6A6-43B8-48DC-A647-25FBFBDE8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" y="198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09" name="Freeform 144">
                <a:extLst>
                  <a:ext uri="{FF2B5EF4-FFF2-40B4-BE49-F238E27FC236}">
                    <a16:creationId xmlns:a16="http://schemas.microsoft.com/office/drawing/2014/main" id="{C11C8333-45F9-4E0F-BE70-CEC307C18E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4" y="1936"/>
                <a:ext cx="4" cy="7"/>
              </a:xfrm>
              <a:custGeom>
                <a:avLst/>
                <a:gdLst>
                  <a:gd name="T0" fmla="*/ 1 w 2"/>
                  <a:gd name="T1" fmla="*/ 2 h 3"/>
                  <a:gd name="T2" fmla="*/ 1 w 2"/>
                  <a:gd name="T3" fmla="*/ 3 h 3"/>
                  <a:gd name="T4" fmla="*/ 2 w 2"/>
                  <a:gd name="T5" fmla="*/ 2 h 3"/>
                  <a:gd name="T6" fmla="*/ 1 w 2"/>
                  <a:gd name="T7" fmla="*/ 1 h 3"/>
                  <a:gd name="T8" fmla="*/ 1 w 2"/>
                  <a:gd name="T9" fmla="*/ 1 h 3"/>
                  <a:gd name="T10" fmla="*/ 0 w 2"/>
                  <a:gd name="T11" fmla="*/ 1 h 3"/>
                  <a:gd name="T12" fmla="*/ 0 w 2"/>
                  <a:gd name="T13" fmla="*/ 1 h 3"/>
                  <a:gd name="T14" fmla="*/ 1 w 2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2" y="3"/>
                      <a:pt x="2" y="2"/>
                      <a:pt x="2" y="2"/>
                    </a:cubicBezTo>
                    <a:cubicBezTo>
                      <a:pt x="2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10" name="Freeform 145">
                <a:extLst>
                  <a:ext uri="{FF2B5EF4-FFF2-40B4-BE49-F238E27FC236}">
                    <a16:creationId xmlns:a16="http://schemas.microsoft.com/office/drawing/2014/main" id="{227A294A-2755-4A11-96BB-77E6A688FD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1" y="1939"/>
                <a:ext cx="3" cy="2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1 h 1"/>
                  <a:gd name="T4" fmla="*/ 0 w 1"/>
                  <a:gd name="T5" fmla="*/ 0 h 1"/>
                  <a:gd name="T6" fmla="*/ 0 w 1"/>
                  <a:gd name="T7" fmla="*/ 0 h 1"/>
                  <a:gd name="T8" fmla="*/ 0 w 1"/>
                  <a:gd name="T9" fmla="*/ 1 h 1"/>
                  <a:gd name="T10" fmla="*/ 1 w 1"/>
                  <a:gd name="T11" fmla="*/ 1 h 1"/>
                  <a:gd name="T12" fmla="*/ 1 w 1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11" name="Freeform 146">
                <a:extLst>
                  <a:ext uri="{FF2B5EF4-FFF2-40B4-BE49-F238E27FC236}">
                    <a16:creationId xmlns:a16="http://schemas.microsoft.com/office/drawing/2014/main" id="{D0A896F1-085F-4DE1-9F69-26C9867834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6" y="1936"/>
                <a:ext cx="5" cy="5"/>
              </a:xfrm>
              <a:custGeom>
                <a:avLst/>
                <a:gdLst>
                  <a:gd name="T0" fmla="*/ 1 w 2"/>
                  <a:gd name="T1" fmla="*/ 1 h 2"/>
                  <a:gd name="T2" fmla="*/ 1 w 2"/>
                  <a:gd name="T3" fmla="*/ 1 h 2"/>
                  <a:gd name="T4" fmla="*/ 1 w 2"/>
                  <a:gd name="T5" fmla="*/ 1 h 2"/>
                  <a:gd name="T6" fmla="*/ 1 w 2"/>
                  <a:gd name="T7" fmla="*/ 1 h 2"/>
                  <a:gd name="T8" fmla="*/ 1 w 2"/>
                  <a:gd name="T9" fmla="*/ 1 h 2"/>
                  <a:gd name="T10" fmla="*/ 2 w 2"/>
                  <a:gd name="T11" fmla="*/ 1 h 2"/>
                  <a:gd name="T12" fmla="*/ 2 w 2"/>
                  <a:gd name="T13" fmla="*/ 1 h 2"/>
                  <a:gd name="T14" fmla="*/ 2 w 2"/>
                  <a:gd name="T15" fmla="*/ 0 h 2"/>
                  <a:gd name="T16" fmla="*/ 2 w 2"/>
                  <a:gd name="T17" fmla="*/ 0 h 2"/>
                  <a:gd name="T18" fmla="*/ 1 w 2"/>
                  <a:gd name="T19" fmla="*/ 0 h 2"/>
                  <a:gd name="T20" fmla="*/ 1 w 2"/>
                  <a:gd name="T21" fmla="*/ 0 h 2"/>
                  <a:gd name="T22" fmla="*/ 1 w 2"/>
                  <a:gd name="T23" fmla="*/ 0 h 2"/>
                  <a:gd name="T24" fmla="*/ 1 w 2"/>
                  <a:gd name="T2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2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12" name="Freeform 147">
                <a:extLst>
                  <a:ext uri="{FF2B5EF4-FFF2-40B4-BE49-F238E27FC236}">
                    <a16:creationId xmlns:a16="http://schemas.microsoft.com/office/drawing/2014/main" id="{51309571-42F2-4FE3-BCA1-71A985BA89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6" y="1946"/>
                <a:ext cx="2" cy="2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1 w 1"/>
                  <a:gd name="T5" fmla="*/ 1 h 1"/>
                  <a:gd name="T6" fmla="*/ 1 w 1"/>
                  <a:gd name="T7" fmla="*/ 0 h 1"/>
                  <a:gd name="T8" fmla="*/ 0 w 1"/>
                  <a:gd name="T9" fmla="*/ 0 h 1"/>
                  <a:gd name="T10" fmla="*/ 0 w 1"/>
                  <a:gd name="T11" fmla="*/ 0 h 1"/>
                  <a:gd name="T12" fmla="*/ 0 w 1"/>
                  <a:gd name="T13" fmla="*/ 1 h 1"/>
                  <a:gd name="T14" fmla="*/ 0 w 1"/>
                  <a:gd name="T1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13" name="Freeform 148">
                <a:extLst>
                  <a:ext uri="{FF2B5EF4-FFF2-40B4-BE49-F238E27FC236}">
                    <a16:creationId xmlns:a16="http://schemas.microsoft.com/office/drawing/2014/main" id="{3F185062-E20C-4469-A0A3-F77C4AAC7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5" y="2401"/>
                <a:ext cx="33" cy="57"/>
              </a:xfrm>
              <a:custGeom>
                <a:avLst/>
                <a:gdLst>
                  <a:gd name="T0" fmla="*/ 1 w 14"/>
                  <a:gd name="T1" fmla="*/ 9 h 24"/>
                  <a:gd name="T2" fmla="*/ 0 w 14"/>
                  <a:gd name="T3" fmla="*/ 11 h 24"/>
                  <a:gd name="T4" fmla="*/ 1 w 14"/>
                  <a:gd name="T5" fmla="*/ 13 h 24"/>
                  <a:gd name="T6" fmla="*/ 1 w 14"/>
                  <a:gd name="T7" fmla="*/ 15 h 24"/>
                  <a:gd name="T8" fmla="*/ 3 w 14"/>
                  <a:gd name="T9" fmla="*/ 16 h 24"/>
                  <a:gd name="T10" fmla="*/ 3 w 14"/>
                  <a:gd name="T11" fmla="*/ 15 h 24"/>
                  <a:gd name="T12" fmla="*/ 4 w 14"/>
                  <a:gd name="T13" fmla="*/ 16 h 24"/>
                  <a:gd name="T14" fmla="*/ 3 w 14"/>
                  <a:gd name="T15" fmla="*/ 19 h 24"/>
                  <a:gd name="T16" fmla="*/ 4 w 14"/>
                  <a:gd name="T17" fmla="*/ 19 h 24"/>
                  <a:gd name="T18" fmla="*/ 5 w 14"/>
                  <a:gd name="T19" fmla="*/ 20 h 24"/>
                  <a:gd name="T20" fmla="*/ 6 w 14"/>
                  <a:gd name="T21" fmla="*/ 19 h 24"/>
                  <a:gd name="T22" fmla="*/ 8 w 14"/>
                  <a:gd name="T23" fmla="*/ 19 h 24"/>
                  <a:gd name="T24" fmla="*/ 9 w 14"/>
                  <a:gd name="T25" fmla="*/ 21 h 24"/>
                  <a:gd name="T26" fmla="*/ 9 w 14"/>
                  <a:gd name="T27" fmla="*/ 19 h 24"/>
                  <a:gd name="T28" fmla="*/ 10 w 14"/>
                  <a:gd name="T29" fmla="*/ 19 h 24"/>
                  <a:gd name="T30" fmla="*/ 11 w 14"/>
                  <a:gd name="T31" fmla="*/ 20 h 24"/>
                  <a:gd name="T32" fmla="*/ 12 w 14"/>
                  <a:gd name="T33" fmla="*/ 22 h 24"/>
                  <a:gd name="T34" fmla="*/ 14 w 14"/>
                  <a:gd name="T35" fmla="*/ 24 h 24"/>
                  <a:gd name="T36" fmla="*/ 14 w 14"/>
                  <a:gd name="T37" fmla="*/ 22 h 24"/>
                  <a:gd name="T38" fmla="*/ 13 w 14"/>
                  <a:gd name="T39" fmla="*/ 21 h 24"/>
                  <a:gd name="T40" fmla="*/ 13 w 14"/>
                  <a:gd name="T41" fmla="*/ 19 h 24"/>
                  <a:gd name="T42" fmla="*/ 13 w 14"/>
                  <a:gd name="T43" fmla="*/ 19 h 24"/>
                  <a:gd name="T44" fmla="*/ 12 w 14"/>
                  <a:gd name="T45" fmla="*/ 19 h 24"/>
                  <a:gd name="T46" fmla="*/ 11 w 14"/>
                  <a:gd name="T47" fmla="*/ 18 h 24"/>
                  <a:gd name="T48" fmla="*/ 9 w 14"/>
                  <a:gd name="T49" fmla="*/ 17 h 24"/>
                  <a:gd name="T50" fmla="*/ 7 w 14"/>
                  <a:gd name="T51" fmla="*/ 18 h 24"/>
                  <a:gd name="T52" fmla="*/ 6 w 14"/>
                  <a:gd name="T53" fmla="*/ 15 h 24"/>
                  <a:gd name="T54" fmla="*/ 6 w 14"/>
                  <a:gd name="T55" fmla="*/ 13 h 24"/>
                  <a:gd name="T56" fmla="*/ 6 w 14"/>
                  <a:gd name="T57" fmla="*/ 11 h 24"/>
                  <a:gd name="T58" fmla="*/ 7 w 14"/>
                  <a:gd name="T59" fmla="*/ 10 h 24"/>
                  <a:gd name="T60" fmla="*/ 8 w 14"/>
                  <a:gd name="T61" fmla="*/ 8 h 24"/>
                  <a:gd name="T62" fmla="*/ 9 w 14"/>
                  <a:gd name="T63" fmla="*/ 6 h 24"/>
                  <a:gd name="T64" fmla="*/ 9 w 14"/>
                  <a:gd name="T65" fmla="*/ 5 h 24"/>
                  <a:gd name="T66" fmla="*/ 8 w 14"/>
                  <a:gd name="T67" fmla="*/ 3 h 24"/>
                  <a:gd name="T68" fmla="*/ 8 w 14"/>
                  <a:gd name="T69" fmla="*/ 1 h 24"/>
                  <a:gd name="T70" fmla="*/ 8 w 14"/>
                  <a:gd name="T71" fmla="*/ 0 h 24"/>
                  <a:gd name="T72" fmla="*/ 6 w 14"/>
                  <a:gd name="T73" fmla="*/ 1 h 24"/>
                  <a:gd name="T74" fmla="*/ 4 w 14"/>
                  <a:gd name="T75" fmla="*/ 0 h 24"/>
                  <a:gd name="T76" fmla="*/ 3 w 14"/>
                  <a:gd name="T77" fmla="*/ 1 h 24"/>
                  <a:gd name="T78" fmla="*/ 2 w 14"/>
                  <a:gd name="T79" fmla="*/ 4 h 24"/>
                  <a:gd name="T80" fmla="*/ 3 w 14"/>
                  <a:gd name="T81" fmla="*/ 6 h 24"/>
                  <a:gd name="T82" fmla="*/ 2 w 14"/>
                  <a:gd name="T83" fmla="*/ 9 h 24"/>
                  <a:gd name="T84" fmla="*/ 1 w 14"/>
                  <a:gd name="T85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" h="24">
                    <a:moveTo>
                      <a:pt x="1" y="9"/>
                    </a:move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9"/>
                      <a:pt x="0" y="9"/>
                      <a:pt x="0" y="10"/>
                    </a:cubicBezTo>
                    <a:cubicBezTo>
                      <a:pt x="0" y="10"/>
                      <a:pt x="0" y="10"/>
                      <a:pt x="0" y="11"/>
                    </a:cubicBezTo>
                    <a:cubicBezTo>
                      <a:pt x="1" y="11"/>
                      <a:pt x="1" y="11"/>
                      <a:pt x="1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2"/>
                      <a:pt x="1" y="13"/>
                      <a:pt x="1" y="13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3"/>
                      <a:pt x="1" y="14"/>
                      <a:pt x="1" y="14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2" y="15"/>
                      <a:pt x="2" y="15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6"/>
                      <a:pt x="3" y="15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4" y="15"/>
                      <a:pt x="4" y="15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4" y="15"/>
                      <a:pt x="4" y="16"/>
                      <a:pt x="4" y="16"/>
                    </a:cubicBezTo>
                    <a:cubicBezTo>
                      <a:pt x="4" y="16"/>
                      <a:pt x="4" y="17"/>
                      <a:pt x="3" y="17"/>
                    </a:cubicBezTo>
                    <a:cubicBezTo>
                      <a:pt x="3" y="17"/>
                      <a:pt x="3" y="17"/>
                      <a:pt x="3" y="18"/>
                    </a:cubicBezTo>
                    <a:cubicBezTo>
                      <a:pt x="3" y="18"/>
                      <a:pt x="3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8"/>
                      <a:pt x="3" y="18"/>
                      <a:pt x="4" y="18"/>
                    </a:cubicBezTo>
                    <a:cubicBezTo>
                      <a:pt x="4" y="18"/>
                      <a:pt x="4" y="18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5" y="19"/>
                      <a:pt x="5" y="19"/>
                      <a:pt x="6" y="19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6" y="18"/>
                      <a:pt x="7" y="18"/>
                      <a:pt x="7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7" y="19"/>
                      <a:pt x="8" y="19"/>
                      <a:pt x="8" y="19"/>
                    </a:cubicBezTo>
                    <a:cubicBezTo>
                      <a:pt x="8" y="19"/>
                      <a:pt x="8" y="20"/>
                      <a:pt x="8" y="2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9" y="21"/>
                      <a:pt x="10" y="21"/>
                      <a:pt x="10" y="21"/>
                    </a:cubicBezTo>
                    <a:cubicBezTo>
                      <a:pt x="10" y="21"/>
                      <a:pt x="10" y="21"/>
                      <a:pt x="10" y="20"/>
                    </a:cubicBezTo>
                    <a:cubicBezTo>
                      <a:pt x="9" y="20"/>
                      <a:pt x="9" y="20"/>
                      <a:pt x="9" y="19"/>
                    </a:cubicBezTo>
                    <a:cubicBezTo>
                      <a:pt x="9" y="19"/>
                      <a:pt x="9" y="19"/>
                      <a:pt x="9" y="18"/>
                    </a:cubicBezTo>
                    <a:cubicBezTo>
                      <a:pt x="9" y="18"/>
                      <a:pt x="9" y="18"/>
                      <a:pt x="9" y="19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2" y="21"/>
                      <a:pt x="12" y="22"/>
                      <a:pt x="12" y="22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3" y="22"/>
                      <a:pt x="13" y="23"/>
                      <a:pt x="14" y="23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4" y="24"/>
                      <a:pt x="14" y="23"/>
                      <a:pt x="14" y="23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1"/>
                      <a:pt x="14" y="21"/>
                      <a:pt x="13" y="21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19"/>
                      <a:pt x="13" y="19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3" y="18"/>
                      <a:pt x="12" y="18"/>
                      <a:pt x="12" y="18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1" y="18"/>
                      <a:pt x="12" y="18"/>
                      <a:pt x="12" y="19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9"/>
                      <a:pt x="11" y="18"/>
                      <a:pt x="11" y="18"/>
                    </a:cubicBezTo>
                    <a:cubicBezTo>
                      <a:pt x="11" y="18"/>
                      <a:pt x="10" y="18"/>
                      <a:pt x="10" y="17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9" y="17"/>
                      <a:pt x="9" y="17"/>
                      <a:pt x="9" y="18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8"/>
                      <a:pt x="8" y="18"/>
                      <a:pt x="7" y="18"/>
                    </a:cubicBezTo>
                    <a:cubicBezTo>
                      <a:pt x="7" y="18"/>
                      <a:pt x="7" y="17"/>
                      <a:pt x="7" y="17"/>
                    </a:cubicBezTo>
                    <a:cubicBezTo>
                      <a:pt x="7" y="17"/>
                      <a:pt x="7" y="17"/>
                      <a:pt x="7" y="16"/>
                    </a:cubicBezTo>
                    <a:cubicBezTo>
                      <a:pt x="6" y="16"/>
                      <a:pt x="6" y="15"/>
                      <a:pt x="6" y="15"/>
                    </a:cubicBezTo>
                    <a:cubicBezTo>
                      <a:pt x="6" y="15"/>
                      <a:pt x="6" y="15"/>
                      <a:pt x="6" y="14"/>
                    </a:cubicBezTo>
                    <a:cubicBezTo>
                      <a:pt x="6" y="14"/>
                      <a:pt x="6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1"/>
                      <a:pt x="6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1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8" y="10"/>
                      <a:pt x="8" y="9"/>
                      <a:pt x="8" y="9"/>
                    </a:cubicBezTo>
                    <a:cubicBezTo>
                      <a:pt x="8" y="9"/>
                      <a:pt x="8" y="8"/>
                      <a:pt x="8" y="8"/>
                    </a:cubicBezTo>
                    <a:cubicBezTo>
                      <a:pt x="9" y="8"/>
                      <a:pt x="9" y="7"/>
                      <a:pt x="9" y="7"/>
                    </a:cubicBezTo>
                    <a:cubicBezTo>
                      <a:pt x="9" y="7"/>
                      <a:pt x="9" y="6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5"/>
                      <a:pt x="9" y="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5"/>
                      <a:pt x="8" y="5"/>
                      <a:pt x="8" y="4"/>
                    </a:cubicBezTo>
                    <a:cubicBezTo>
                      <a:pt x="8" y="4"/>
                      <a:pt x="8" y="4"/>
                      <a:pt x="8" y="3"/>
                    </a:cubicBezTo>
                    <a:cubicBezTo>
                      <a:pt x="8" y="3"/>
                      <a:pt x="8" y="3"/>
                      <a:pt x="8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1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7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1"/>
                    </a:cubicBezTo>
                    <a:cubicBezTo>
                      <a:pt x="3" y="1"/>
                      <a:pt x="3" y="2"/>
                      <a:pt x="3" y="2"/>
                    </a:cubicBezTo>
                    <a:cubicBezTo>
                      <a:pt x="3" y="2"/>
                      <a:pt x="3" y="3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3" y="5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8"/>
                      <a:pt x="2" y="8"/>
                      <a:pt x="2" y="9"/>
                    </a:cubicBezTo>
                    <a:cubicBezTo>
                      <a:pt x="2" y="9"/>
                      <a:pt x="2" y="9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1" y="9"/>
                      <a:pt x="1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14" name="Freeform 149">
                <a:extLst>
                  <a:ext uri="{FF2B5EF4-FFF2-40B4-BE49-F238E27FC236}">
                    <a16:creationId xmlns:a16="http://schemas.microsoft.com/office/drawing/2014/main" id="{D2DF2923-1DA0-410A-9F7F-879C019119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2" y="2397"/>
                <a:ext cx="2" cy="2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1 h 1"/>
                  <a:gd name="T6" fmla="*/ 1 w 1"/>
                  <a:gd name="T7" fmla="*/ 0 h 1"/>
                  <a:gd name="T8" fmla="*/ 1 w 1"/>
                  <a:gd name="T9" fmla="*/ 0 h 1"/>
                  <a:gd name="T10" fmla="*/ 1 w 1"/>
                  <a:gd name="T11" fmla="*/ 0 h 1"/>
                  <a:gd name="T12" fmla="*/ 0 w 1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15" name="Freeform 150">
                <a:extLst>
                  <a:ext uri="{FF2B5EF4-FFF2-40B4-BE49-F238E27FC236}">
                    <a16:creationId xmlns:a16="http://schemas.microsoft.com/office/drawing/2014/main" id="{C54A71AC-0DAE-4B8C-AF5C-37DF8D898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7" y="2392"/>
                <a:ext cx="2" cy="2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0 w 1"/>
                  <a:gd name="T5" fmla="*/ 1 h 1"/>
                  <a:gd name="T6" fmla="*/ 1 w 1"/>
                  <a:gd name="T7" fmla="*/ 1 h 1"/>
                  <a:gd name="T8" fmla="*/ 1 w 1"/>
                  <a:gd name="T9" fmla="*/ 1 h 1"/>
                  <a:gd name="T10" fmla="*/ 1 w 1"/>
                  <a:gd name="T1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1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16" name="Freeform 151">
                <a:extLst>
                  <a:ext uri="{FF2B5EF4-FFF2-40B4-BE49-F238E27FC236}">
                    <a16:creationId xmlns:a16="http://schemas.microsoft.com/office/drawing/2014/main" id="{91F994E5-F7E6-44CF-86F8-EE7EA979B0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2" y="2389"/>
                <a:ext cx="2" cy="3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0 h 1"/>
                  <a:gd name="T4" fmla="*/ 0 w 1"/>
                  <a:gd name="T5" fmla="*/ 1 h 1"/>
                  <a:gd name="T6" fmla="*/ 0 w 1"/>
                  <a:gd name="T7" fmla="*/ 1 h 1"/>
                  <a:gd name="T8" fmla="*/ 1 w 1"/>
                  <a:gd name="T9" fmla="*/ 1 h 1"/>
                  <a:gd name="T10" fmla="*/ 1 w 1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17" name="Freeform 152">
                <a:extLst>
                  <a:ext uri="{FF2B5EF4-FFF2-40B4-BE49-F238E27FC236}">
                    <a16:creationId xmlns:a16="http://schemas.microsoft.com/office/drawing/2014/main" id="{386295E3-271B-4E34-AA53-CD488A05BF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7" y="2397"/>
                <a:ext cx="2" cy="2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0 h 1"/>
                  <a:gd name="T4" fmla="*/ 0 w 1"/>
                  <a:gd name="T5" fmla="*/ 0 h 1"/>
                  <a:gd name="T6" fmla="*/ 0 w 1"/>
                  <a:gd name="T7" fmla="*/ 0 h 1"/>
                  <a:gd name="T8" fmla="*/ 0 w 1"/>
                  <a:gd name="T9" fmla="*/ 1 h 1"/>
                  <a:gd name="T10" fmla="*/ 1 w 1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18" name="Freeform 153">
                <a:extLst>
                  <a:ext uri="{FF2B5EF4-FFF2-40B4-BE49-F238E27FC236}">
                    <a16:creationId xmlns:a16="http://schemas.microsoft.com/office/drawing/2014/main" id="{D1F021E1-7576-42EA-91A5-E242CA01EF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7" y="2394"/>
                <a:ext cx="0" cy="3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1 h 1"/>
                  <a:gd name="T4" fmla="*/ 1 h 1"/>
                  <a:gd name="T5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19" name="Freeform 154">
                <a:extLst>
                  <a:ext uri="{FF2B5EF4-FFF2-40B4-BE49-F238E27FC236}">
                    <a16:creationId xmlns:a16="http://schemas.microsoft.com/office/drawing/2014/main" id="{007B3C50-AC7D-4AD1-BADC-62085DD566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2" y="2434"/>
                <a:ext cx="2" cy="3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1 h 1"/>
                  <a:gd name="T4" fmla="*/ 0 w 1"/>
                  <a:gd name="T5" fmla="*/ 1 h 1"/>
                  <a:gd name="T6" fmla="*/ 0 w 1"/>
                  <a:gd name="T7" fmla="*/ 1 h 1"/>
                  <a:gd name="T8" fmla="*/ 1 w 1"/>
                  <a:gd name="T9" fmla="*/ 1 h 1"/>
                  <a:gd name="T10" fmla="*/ 1 w 1"/>
                  <a:gd name="T11" fmla="*/ 1 h 1"/>
                  <a:gd name="T12" fmla="*/ 1 w 1"/>
                  <a:gd name="T13" fmla="*/ 0 h 1"/>
                  <a:gd name="T14" fmla="*/ 0 w 1"/>
                  <a:gd name="T15" fmla="*/ 0 h 1"/>
                  <a:gd name="T16" fmla="*/ 0 w 1"/>
                  <a:gd name="T1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20" name="Freeform 155">
                <a:extLst>
                  <a:ext uri="{FF2B5EF4-FFF2-40B4-BE49-F238E27FC236}">
                    <a16:creationId xmlns:a16="http://schemas.microsoft.com/office/drawing/2014/main" id="{19B1C67B-7A57-43E0-97E8-2A1FC06CCF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0" y="2449"/>
                <a:ext cx="9" cy="12"/>
              </a:xfrm>
              <a:custGeom>
                <a:avLst/>
                <a:gdLst>
                  <a:gd name="T0" fmla="*/ 4 w 4"/>
                  <a:gd name="T1" fmla="*/ 3 h 5"/>
                  <a:gd name="T2" fmla="*/ 4 w 4"/>
                  <a:gd name="T3" fmla="*/ 2 h 5"/>
                  <a:gd name="T4" fmla="*/ 4 w 4"/>
                  <a:gd name="T5" fmla="*/ 2 h 5"/>
                  <a:gd name="T6" fmla="*/ 4 w 4"/>
                  <a:gd name="T7" fmla="*/ 1 h 5"/>
                  <a:gd name="T8" fmla="*/ 3 w 4"/>
                  <a:gd name="T9" fmla="*/ 0 h 5"/>
                  <a:gd name="T10" fmla="*/ 2 w 4"/>
                  <a:gd name="T11" fmla="*/ 0 h 5"/>
                  <a:gd name="T12" fmla="*/ 2 w 4"/>
                  <a:gd name="T13" fmla="*/ 0 h 5"/>
                  <a:gd name="T14" fmla="*/ 1 w 4"/>
                  <a:gd name="T15" fmla="*/ 0 h 5"/>
                  <a:gd name="T16" fmla="*/ 1 w 4"/>
                  <a:gd name="T17" fmla="*/ 0 h 5"/>
                  <a:gd name="T18" fmla="*/ 0 w 4"/>
                  <a:gd name="T19" fmla="*/ 0 h 5"/>
                  <a:gd name="T20" fmla="*/ 0 w 4"/>
                  <a:gd name="T21" fmla="*/ 0 h 5"/>
                  <a:gd name="T22" fmla="*/ 1 w 4"/>
                  <a:gd name="T23" fmla="*/ 1 h 5"/>
                  <a:gd name="T24" fmla="*/ 1 w 4"/>
                  <a:gd name="T25" fmla="*/ 1 h 5"/>
                  <a:gd name="T26" fmla="*/ 2 w 4"/>
                  <a:gd name="T27" fmla="*/ 2 h 5"/>
                  <a:gd name="T28" fmla="*/ 2 w 4"/>
                  <a:gd name="T29" fmla="*/ 3 h 5"/>
                  <a:gd name="T30" fmla="*/ 2 w 4"/>
                  <a:gd name="T31" fmla="*/ 3 h 5"/>
                  <a:gd name="T32" fmla="*/ 2 w 4"/>
                  <a:gd name="T33" fmla="*/ 4 h 5"/>
                  <a:gd name="T34" fmla="*/ 3 w 4"/>
                  <a:gd name="T35" fmla="*/ 4 h 5"/>
                  <a:gd name="T36" fmla="*/ 3 w 4"/>
                  <a:gd name="T37" fmla="*/ 5 h 5"/>
                  <a:gd name="T38" fmla="*/ 3 w 4"/>
                  <a:gd name="T39" fmla="*/ 5 h 5"/>
                  <a:gd name="T40" fmla="*/ 4 w 4"/>
                  <a:gd name="T41" fmla="*/ 4 h 5"/>
                  <a:gd name="T42" fmla="*/ 4 w 4"/>
                  <a:gd name="T43" fmla="*/ 4 h 5"/>
                  <a:gd name="T44" fmla="*/ 4 w 4"/>
                  <a:gd name="T4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" h="5">
                    <a:moveTo>
                      <a:pt x="4" y="3"/>
                    </a:moveTo>
                    <a:cubicBezTo>
                      <a:pt x="4" y="3"/>
                      <a:pt x="4" y="3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0"/>
                      <a:pt x="3" y="0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4"/>
                    </a:cubicBezTo>
                    <a:cubicBezTo>
                      <a:pt x="2" y="4"/>
                      <a:pt x="2" y="4"/>
                      <a:pt x="3" y="4"/>
                    </a:cubicBezTo>
                    <a:cubicBezTo>
                      <a:pt x="3" y="4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4" y="5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21" name="Freeform 156">
                <a:extLst>
                  <a:ext uri="{FF2B5EF4-FFF2-40B4-BE49-F238E27FC236}">
                    <a16:creationId xmlns:a16="http://schemas.microsoft.com/office/drawing/2014/main" id="{05A5C3E5-FAF2-4FDF-93F8-B8F6B6DF09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2" y="2449"/>
                <a:ext cx="2" cy="2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1 h 1"/>
                  <a:gd name="T6" fmla="*/ 0 w 1"/>
                  <a:gd name="T7" fmla="*/ 1 h 1"/>
                  <a:gd name="T8" fmla="*/ 1 w 1"/>
                  <a:gd name="T9" fmla="*/ 1 h 1"/>
                  <a:gd name="T10" fmla="*/ 1 w 1"/>
                  <a:gd name="T11" fmla="*/ 0 h 1"/>
                  <a:gd name="T12" fmla="*/ 0 w 1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22" name="Freeform 157">
                <a:extLst>
                  <a:ext uri="{FF2B5EF4-FFF2-40B4-BE49-F238E27FC236}">
                    <a16:creationId xmlns:a16="http://schemas.microsoft.com/office/drawing/2014/main" id="{54D8ABEE-568C-4EA3-A4A3-0D79535A94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8" y="2442"/>
                <a:ext cx="5" cy="7"/>
              </a:xfrm>
              <a:custGeom>
                <a:avLst/>
                <a:gdLst>
                  <a:gd name="T0" fmla="*/ 1 w 2"/>
                  <a:gd name="T1" fmla="*/ 1 h 3"/>
                  <a:gd name="T2" fmla="*/ 0 w 2"/>
                  <a:gd name="T3" fmla="*/ 1 h 3"/>
                  <a:gd name="T4" fmla="*/ 0 w 2"/>
                  <a:gd name="T5" fmla="*/ 2 h 3"/>
                  <a:gd name="T6" fmla="*/ 0 w 2"/>
                  <a:gd name="T7" fmla="*/ 2 h 3"/>
                  <a:gd name="T8" fmla="*/ 0 w 2"/>
                  <a:gd name="T9" fmla="*/ 3 h 3"/>
                  <a:gd name="T10" fmla="*/ 1 w 2"/>
                  <a:gd name="T11" fmla="*/ 3 h 3"/>
                  <a:gd name="T12" fmla="*/ 1 w 2"/>
                  <a:gd name="T13" fmla="*/ 2 h 3"/>
                  <a:gd name="T14" fmla="*/ 1 w 2"/>
                  <a:gd name="T15" fmla="*/ 2 h 3"/>
                  <a:gd name="T16" fmla="*/ 1 w 2"/>
                  <a:gd name="T17" fmla="*/ 1 h 3"/>
                  <a:gd name="T18" fmla="*/ 1 w 2"/>
                  <a:gd name="T19" fmla="*/ 1 h 3"/>
                  <a:gd name="T20" fmla="*/ 1 w 2"/>
                  <a:gd name="T21" fmla="*/ 1 h 3"/>
                  <a:gd name="T22" fmla="*/ 1 w 2"/>
                  <a:gd name="T23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" h="3">
                    <a:moveTo>
                      <a:pt x="1" y="1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3"/>
                    </a:cubicBezTo>
                    <a:cubicBezTo>
                      <a:pt x="0" y="3"/>
                      <a:pt x="1" y="3"/>
                      <a:pt x="1" y="3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2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23" name="Freeform 158">
                <a:extLst>
                  <a:ext uri="{FF2B5EF4-FFF2-40B4-BE49-F238E27FC236}">
                    <a16:creationId xmlns:a16="http://schemas.microsoft.com/office/drawing/2014/main" id="{C4F36E77-9E40-4B1A-A12B-70BB2DFF64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6" y="2468"/>
                <a:ext cx="22" cy="28"/>
              </a:xfrm>
              <a:custGeom>
                <a:avLst/>
                <a:gdLst>
                  <a:gd name="T0" fmla="*/ 6 w 9"/>
                  <a:gd name="T1" fmla="*/ 4 h 12"/>
                  <a:gd name="T2" fmla="*/ 6 w 9"/>
                  <a:gd name="T3" fmla="*/ 4 h 12"/>
                  <a:gd name="T4" fmla="*/ 5 w 9"/>
                  <a:gd name="T5" fmla="*/ 5 h 12"/>
                  <a:gd name="T6" fmla="*/ 4 w 9"/>
                  <a:gd name="T7" fmla="*/ 7 h 12"/>
                  <a:gd name="T8" fmla="*/ 3 w 9"/>
                  <a:gd name="T9" fmla="*/ 8 h 12"/>
                  <a:gd name="T10" fmla="*/ 2 w 9"/>
                  <a:gd name="T11" fmla="*/ 9 h 12"/>
                  <a:gd name="T12" fmla="*/ 2 w 9"/>
                  <a:gd name="T13" fmla="*/ 9 h 12"/>
                  <a:gd name="T14" fmla="*/ 2 w 9"/>
                  <a:gd name="T15" fmla="*/ 9 h 12"/>
                  <a:gd name="T16" fmla="*/ 1 w 9"/>
                  <a:gd name="T17" fmla="*/ 11 h 12"/>
                  <a:gd name="T18" fmla="*/ 1 w 9"/>
                  <a:gd name="T19" fmla="*/ 11 h 12"/>
                  <a:gd name="T20" fmla="*/ 2 w 9"/>
                  <a:gd name="T21" fmla="*/ 11 h 12"/>
                  <a:gd name="T22" fmla="*/ 2 w 9"/>
                  <a:gd name="T23" fmla="*/ 10 h 12"/>
                  <a:gd name="T24" fmla="*/ 3 w 9"/>
                  <a:gd name="T25" fmla="*/ 10 h 12"/>
                  <a:gd name="T26" fmla="*/ 3 w 9"/>
                  <a:gd name="T27" fmla="*/ 9 h 12"/>
                  <a:gd name="T28" fmla="*/ 4 w 9"/>
                  <a:gd name="T29" fmla="*/ 9 h 12"/>
                  <a:gd name="T30" fmla="*/ 4 w 9"/>
                  <a:gd name="T31" fmla="*/ 9 h 12"/>
                  <a:gd name="T32" fmla="*/ 4 w 9"/>
                  <a:gd name="T33" fmla="*/ 9 h 12"/>
                  <a:gd name="T34" fmla="*/ 4 w 9"/>
                  <a:gd name="T35" fmla="*/ 9 h 12"/>
                  <a:gd name="T36" fmla="*/ 4 w 9"/>
                  <a:gd name="T37" fmla="*/ 8 h 12"/>
                  <a:gd name="T38" fmla="*/ 5 w 9"/>
                  <a:gd name="T39" fmla="*/ 7 h 12"/>
                  <a:gd name="T40" fmla="*/ 5 w 9"/>
                  <a:gd name="T41" fmla="*/ 7 h 12"/>
                  <a:gd name="T42" fmla="*/ 6 w 9"/>
                  <a:gd name="T43" fmla="*/ 6 h 12"/>
                  <a:gd name="T44" fmla="*/ 6 w 9"/>
                  <a:gd name="T45" fmla="*/ 6 h 12"/>
                  <a:gd name="T46" fmla="*/ 6 w 9"/>
                  <a:gd name="T47" fmla="*/ 6 h 12"/>
                  <a:gd name="T48" fmla="*/ 7 w 9"/>
                  <a:gd name="T49" fmla="*/ 5 h 12"/>
                  <a:gd name="T50" fmla="*/ 7 w 9"/>
                  <a:gd name="T51" fmla="*/ 4 h 12"/>
                  <a:gd name="T52" fmla="*/ 8 w 9"/>
                  <a:gd name="T53" fmla="*/ 4 h 12"/>
                  <a:gd name="T54" fmla="*/ 8 w 9"/>
                  <a:gd name="T55" fmla="*/ 4 h 12"/>
                  <a:gd name="T56" fmla="*/ 9 w 9"/>
                  <a:gd name="T57" fmla="*/ 4 h 12"/>
                  <a:gd name="T58" fmla="*/ 9 w 9"/>
                  <a:gd name="T59" fmla="*/ 3 h 12"/>
                  <a:gd name="T60" fmla="*/ 9 w 9"/>
                  <a:gd name="T61" fmla="*/ 3 h 12"/>
                  <a:gd name="T62" fmla="*/ 9 w 9"/>
                  <a:gd name="T63" fmla="*/ 3 h 12"/>
                  <a:gd name="T64" fmla="*/ 9 w 9"/>
                  <a:gd name="T65" fmla="*/ 3 h 12"/>
                  <a:gd name="T66" fmla="*/ 8 w 9"/>
                  <a:gd name="T67" fmla="*/ 3 h 12"/>
                  <a:gd name="T68" fmla="*/ 8 w 9"/>
                  <a:gd name="T69" fmla="*/ 3 h 12"/>
                  <a:gd name="T70" fmla="*/ 8 w 9"/>
                  <a:gd name="T71" fmla="*/ 2 h 12"/>
                  <a:gd name="T72" fmla="*/ 8 w 9"/>
                  <a:gd name="T73" fmla="*/ 2 h 12"/>
                  <a:gd name="T74" fmla="*/ 8 w 9"/>
                  <a:gd name="T75" fmla="*/ 1 h 12"/>
                  <a:gd name="T76" fmla="*/ 8 w 9"/>
                  <a:gd name="T77" fmla="*/ 0 h 12"/>
                  <a:gd name="T78" fmla="*/ 8 w 9"/>
                  <a:gd name="T79" fmla="*/ 0 h 12"/>
                  <a:gd name="T80" fmla="*/ 7 w 9"/>
                  <a:gd name="T81" fmla="*/ 1 h 12"/>
                  <a:gd name="T82" fmla="*/ 7 w 9"/>
                  <a:gd name="T83" fmla="*/ 1 h 12"/>
                  <a:gd name="T84" fmla="*/ 7 w 9"/>
                  <a:gd name="T85" fmla="*/ 2 h 12"/>
                  <a:gd name="T86" fmla="*/ 7 w 9"/>
                  <a:gd name="T87" fmla="*/ 3 h 12"/>
                  <a:gd name="T88" fmla="*/ 7 w 9"/>
                  <a:gd name="T89" fmla="*/ 3 h 12"/>
                  <a:gd name="T90" fmla="*/ 6 w 9"/>
                  <a:gd name="T91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" h="12">
                    <a:moveTo>
                      <a:pt x="6" y="4"/>
                    </a:move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5" y="5"/>
                      <a:pt x="5" y="5"/>
                    </a:cubicBezTo>
                    <a:cubicBezTo>
                      <a:pt x="5" y="5"/>
                      <a:pt x="5" y="6"/>
                      <a:pt x="4" y="7"/>
                    </a:cubicBezTo>
                    <a:cubicBezTo>
                      <a:pt x="4" y="7"/>
                      <a:pt x="3" y="8"/>
                      <a:pt x="3" y="8"/>
                    </a:cubicBezTo>
                    <a:cubicBezTo>
                      <a:pt x="3" y="8"/>
                      <a:pt x="2" y="9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1" y="10"/>
                      <a:pt x="1" y="11"/>
                      <a:pt x="1" y="11"/>
                    </a:cubicBezTo>
                    <a:cubicBezTo>
                      <a:pt x="0" y="11"/>
                      <a:pt x="1" y="12"/>
                      <a:pt x="1" y="11"/>
                    </a:cubicBezTo>
                    <a:cubicBezTo>
                      <a:pt x="1" y="11"/>
                      <a:pt x="2" y="11"/>
                      <a:pt x="2" y="11"/>
                    </a:cubicBezTo>
                    <a:cubicBezTo>
                      <a:pt x="2" y="11"/>
                      <a:pt x="2" y="11"/>
                      <a:pt x="2" y="10"/>
                    </a:cubicBezTo>
                    <a:cubicBezTo>
                      <a:pt x="2" y="10"/>
                      <a:pt x="2" y="10"/>
                      <a:pt x="3" y="10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9"/>
                      <a:pt x="4" y="9"/>
                      <a:pt x="4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4" y="8"/>
                      <a:pt x="4" y="8"/>
                    </a:cubicBezTo>
                    <a:cubicBezTo>
                      <a:pt x="4" y="8"/>
                      <a:pt x="5" y="7"/>
                      <a:pt x="5" y="7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5" y="6"/>
                      <a:pt x="5" y="6"/>
                      <a:pt x="6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7" y="5"/>
                      <a:pt x="7" y="5"/>
                    </a:cubicBezTo>
                    <a:cubicBezTo>
                      <a:pt x="7" y="5"/>
                      <a:pt x="7" y="5"/>
                      <a:pt x="7" y="4"/>
                    </a:cubicBezTo>
                    <a:cubicBezTo>
                      <a:pt x="7" y="4"/>
                      <a:pt x="7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9" y="4"/>
                      <a:pt x="9" y="4"/>
                    </a:cubicBezTo>
                    <a:cubicBezTo>
                      <a:pt x="9" y="4"/>
                      <a:pt x="9" y="4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2"/>
                      <a:pt x="8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1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4"/>
                      <a:pt x="6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24" name="Freeform 159">
                <a:extLst>
                  <a:ext uri="{FF2B5EF4-FFF2-40B4-BE49-F238E27FC236}">
                    <a16:creationId xmlns:a16="http://schemas.microsoft.com/office/drawing/2014/main" id="{AEE9FBB4-6681-4362-8C79-CD41A17C9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2" y="2510"/>
                <a:ext cx="5" cy="3"/>
              </a:xfrm>
              <a:custGeom>
                <a:avLst/>
                <a:gdLst>
                  <a:gd name="T0" fmla="*/ 0 w 2"/>
                  <a:gd name="T1" fmla="*/ 0 h 1"/>
                  <a:gd name="T2" fmla="*/ 0 w 2"/>
                  <a:gd name="T3" fmla="*/ 1 h 1"/>
                  <a:gd name="T4" fmla="*/ 0 w 2"/>
                  <a:gd name="T5" fmla="*/ 1 h 1"/>
                  <a:gd name="T6" fmla="*/ 1 w 2"/>
                  <a:gd name="T7" fmla="*/ 1 h 1"/>
                  <a:gd name="T8" fmla="*/ 2 w 2"/>
                  <a:gd name="T9" fmla="*/ 1 h 1"/>
                  <a:gd name="T10" fmla="*/ 2 w 2"/>
                  <a:gd name="T11" fmla="*/ 0 h 1"/>
                  <a:gd name="T12" fmla="*/ 1 w 2"/>
                  <a:gd name="T13" fmla="*/ 0 h 1"/>
                  <a:gd name="T14" fmla="*/ 0 w 2"/>
                  <a:gd name="T1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25" name="Freeform 160">
                <a:extLst>
                  <a:ext uri="{FF2B5EF4-FFF2-40B4-BE49-F238E27FC236}">
                    <a16:creationId xmlns:a16="http://schemas.microsoft.com/office/drawing/2014/main" id="{88D53E99-8E35-42D0-BB48-2235FC70BB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5" y="2515"/>
                <a:ext cx="4" cy="5"/>
              </a:xfrm>
              <a:custGeom>
                <a:avLst/>
                <a:gdLst>
                  <a:gd name="T0" fmla="*/ 1 w 2"/>
                  <a:gd name="T1" fmla="*/ 1 h 2"/>
                  <a:gd name="T2" fmla="*/ 1 w 2"/>
                  <a:gd name="T3" fmla="*/ 1 h 2"/>
                  <a:gd name="T4" fmla="*/ 1 w 2"/>
                  <a:gd name="T5" fmla="*/ 0 h 2"/>
                  <a:gd name="T6" fmla="*/ 0 w 2"/>
                  <a:gd name="T7" fmla="*/ 1 h 2"/>
                  <a:gd name="T8" fmla="*/ 0 w 2"/>
                  <a:gd name="T9" fmla="*/ 1 h 2"/>
                  <a:gd name="T10" fmla="*/ 0 w 2"/>
                  <a:gd name="T11" fmla="*/ 1 h 2"/>
                  <a:gd name="T12" fmla="*/ 0 w 2"/>
                  <a:gd name="T13" fmla="*/ 1 h 2"/>
                  <a:gd name="T14" fmla="*/ 1 w 2"/>
                  <a:gd name="T15" fmla="*/ 1 h 2"/>
                  <a:gd name="T16" fmla="*/ 1 w 2"/>
                  <a:gd name="T17" fmla="*/ 1 h 2"/>
                  <a:gd name="T18" fmla="*/ 2 w 2"/>
                  <a:gd name="T19" fmla="*/ 1 h 2"/>
                  <a:gd name="T20" fmla="*/ 2 w 2"/>
                  <a:gd name="T21" fmla="*/ 1 h 2"/>
                  <a:gd name="T22" fmla="*/ 1 w 2"/>
                  <a:gd name="T23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" h="2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2"/>
                      <a:pt x="1" y="2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26" name="Freeform 161">
                <a:extLst>
                  <a:ext uri="{FF2B5EF4-FFF2-40B4-BE49-F238E27FC236}">
                    <a16:creationId xmlns:a16="http://schemas.microsoft.com/office/drawing/2014/main" id="{8A384324-06AE-4578-9B86-E639688849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8" y="2522"/>
                <a:ext cx="2" cy="5"/>
              </a:xfrm>
              <a:custGeom>
                <a:avLst/>
                <a:gdLst>
                  <a:gd name="T0" fmla="*/ 0 w 1"/>
                  <a:gd name="T1" fmla="*/ 1 h 2"/>
                  <a:gd name="T2" fmla="*/ 0 w 1"/>
                  <a:gd name="T3" fmla="*/ 2 h 2"/>
                  <a:gd name="T4" fmla="*/ 1 w 1"/>
                  <a:gd name="T5" fmla="*/ 1 h 2"/>
                  <a:gd name="T6" fmla="*/ 1 w 1"/>
                  <a:gd name="T7" fmla="*/ 1 h 2"/>
                  <a:gd name="T8" fmla="*/ 1 w 1"/>
                  <a:gd name="T9" fmla="*/ 1 h 2"/>
                  <a:gd name="T10" fmla="*/ 1 w 1"/>
                  <a:gd name="T11" fmla="*/ 0 h 2"/>
                  <a:gd name="T12" fmla="*/ 0 w 1"/>
                  <a:gd name="T13" fmla="*/ 1 h 2"/>
                  <a:gd name="T14" fmla="*/ 0 w 1"/>
                  <a:gd name="T1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" h="2">
                    <a:moveTo>
                      <a:pt x="0" y="1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27" name="Freeform 162">
                <a:extLst>
                  <a:ext uri="{FF2B5EF4-FFF2-40B4-BE49-F238E27FC236}">
                    <a16:creationId xmlns:a16="http://schemas.microsoft.com/office/drawing/2014/main" id="{0C0F44B1-40BE-4AD5-942D-2FFEE757D6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8" y="2458"/>
                <a:ext cx="4" cy="5"/>
              </a:xfrm>
              <a:custGeom>
                <a:avLst/>
                <a:gdLst>
                  <a:gd name="T0" fmla="*/ 1 w 2"/>
                  <a:gd name="T1" fmla="*/ 1 h 2"/>
                  <a:gd name="T2" fmla="*/ 0 w 2"/>
                  <a:gd name="T3" fmla="*/ 1 h 2"/>
                  <a:gd name="T4" fmla="*/ 0 w 2"/>
                  <a:gd name="T5" fmla="*/ 0 h 2"/>
                  <a:gd name="T6" fmla="*/ 0 w 2"/>
                  <a:gd name="T7" fmla="*/ 1 h 2"/>
                  <a:gd name="T8" fmla="*/ 0 w 2"/>
                  <a:gd name="T9" fmla="*/ 1 h 2"/>
                  <a:gd name="T10" fmla="*/ 0 w 2"/>
                  <a:gd name="T11" fmla="*/ 1 h 2"/>
                  <a:gd name="T12" fmla="*/ 1 w 2"/>
                  <a:gd name="T13" fmla="*/ 2 h 2"/>
                  <a:gd name="T14" fmla="*/ 1 w 2"/>
                  <a:gd name="T15" fmla="*/ 2 h 2"/>
                  <a:gd name="T16" fmla="*/ 2 w 2"/>
                  <a:gd name="T17" fmla="*/ 2 h 2"/>
                  <a:gd name="T18" fmla="*/ 1 w 2"/>
                  <a:gd name="T19" fmla="*/ 1 h 2"/>
                  <a:gd name="T20" fmla="*/ 1 w 2"/>
                  <a:gd name="T21" fmla="*/ 1 h 2"/>
                  <a:gd name="T22" fmla="*/ 1 w 2"/>
                  <a:gd name="T23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" h="2">
                    <a:moveTo>
                      <a:pt x="1" y="1"/>
                    </a:moveTo>
                    <a:cubicBezTo>
                      <a:pt x="1" y="1"/>
                      <a:pt x="1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2" y="2"/>
                      <a:pt x="2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28" name="Freeform 163">
                <a:extLst>
                  <a:ext uri="{FF2B5EF4-FFF2-40B4-BE49-F238E27FC236}">
                    <a16:creationId xmlns:a16="http://schemas.microsoft.com/office/drawing/2014/main" id="{363F3572-2836-4B71-AC6C-FE5EF3F7CC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2" y="2482"/>
                <a:ext cx="35" cy="38"/>
              </a:xfrm>
              <a:custGeom>
                <a:avLst/>
                <a:gdLst>
                  <a:gd name="T0" fmla="*/ 13 w 15"/>
                  <a:gd name="T1" fmla="*/ 1 h 16"/>
                  <a:gd name="T2" fmla="*/ 12 w 15"/>
                  <a:gd name="T3" fmla="*/ 1 h 16"/>
                  <a:gd name="T4" fmla="*/ 12 w 15"/>
                  <a:gd name="T5" fmla="*/ 1 h 16"/>
                  <a:gd name="T6" fmla="*/ 12 w 15"/>
                  <a:gd name="T7" fmla="*/ 3 h 16"/>
                  <a:gd name="T8" fmla="*/ 10 w 15"/>
                  <a:gd name="T9" fmla="*/ 4 h 16"/>
                  <a:gd name="T10" fmla="*/ 10 w 15"/>
                  <a:gd name="T11" fmla="*/ 4 h 16"/>
                  <a:gd name="T12" fmla="*/ 9 w 15"/>
                  <a:gd name="T13" fmla="*/ 5 h 16"/>
                  <a:gd name="T14" fmla="*/ 8 w 15"/>
                  <a:gd name="T15" fmla="*/ 6 h 16"/>
                  <a:gd name="T16" fmla="*/ 7 w 15"/>
                  <a:gd name="T17" fmla="*/ 7 h 16"/>
                  <a:gd name="T18" fmla="*/ 7 w 15"/>
                  <a:gd name="T19" fmla="*/ 5 h 16"/>
                  <a:gd name="T20" fmla="*/ 7 w 15"/>
                  <a:gd name="T21" fmla="*/ 5 h 16"/>
                  <a:gd name="T22" fmla="*/ 5 w 15"/>
                  <a:gd name="T23" fmla="*/ 4 h 16"/>
                  <a:gd name="T24" fmla="*/ 5 w 15"/>
                  <a:gd name="T25" fmla="*/ 5 h 16"/>
                  <a:gd name="T26" fmla="*/ 4 w 15"/>
                  <a:gd name="T27" fmla="*/ 6 h 16"/>
                  <a:gd name="T28" fmla="*/ 3 w 15"/>
                  <a:gd name="T29" fmla="*/ 6 h 16"/>
                  <a:gd name="T30" fmla="*/ 1 w 15"/>
                  <a:gd name="T31" fmla="*/ 8 h 16"/>
                  <a:gd name="T32" fmla="*/ 0 w 15"/>
                  <a:gd name="T33" fmla="*/ 10 h 16"/>
                  <a:gd name="T34" fmla="*/ 0 w 15"/>
                  <a:gd name="T35" fmla="*/ 11 h 16"/>
                  <a:gd name="T36" fmla="*/ 1 w 15"/>
                  <a:gd name="T37" fmla="*/ 11 h 16"/>
                  <a:gd name="T38" fmla="*/ 2 w 15"/>
                  <a:gd name="T39" fmla="*/ 9 h 16"/>
                  <a:gd name="T40" fmla="*/ 3 w 15"/>
                  <a:gd name="T41" fmla="*/ 8 h 16"/>
                  <a:gd name="T42" fmla="*/ 4 w 15"/>
                  <a:gd name="T43" fmla="*/ 9 h 16"/>
                  <a:gd name="T44" fmla="*/ 4 w 15"/>
                  <a:gd name="T45" fmla="*/ 9 h 16"/>
                  <a:gd name="T46" fmla="*/ 5 w 15"/>
                  <a:gd name="T47" fmla="*/ 9 h 16"/>
                  <a:gd name="T48" fmla="*/ 6 w 15"/>
                  <a:gd name="T49" fmla="*/ 8 h 16"/>
                  <a:gd name="T50" fmla="*/ 7 w 15"/>
                  <a:gd name="T51" fmla="*/ 9 h 16"/>
                  <a:gd name="T52" fmla="*/ 7 w 15"/>
                  <a:gd name="T53" fmla="*/ 10 h 16"/>
                  <a:gd name="T54" fmla="*/ 7 w 15"/>
                  <a:gd name="T55" fmla="*/ 13 h 16"/>
                  <a:gd name="T56" fmla="*/ 9 w 15"/>
                  <a:gd name="T57" fmla="*/ 15 h 16"/>
                  <a:gd name="T58" fmla="*/ 11 w 15"/>
                  <a:gd name="T59" fmla="*/ 15 h 16"/>
                  <a:gd name="T60" fmla="*/ 11 w 15"/>
                  <a:gd name="T61" fmla="*/ 16 h 16"/>
                  <a:gd name="T62" fmla="*/ 12 w 15"/>
                  <a:gd name="T63" fmla="*/ 16 h 16"/>
                  <a:gd name="T64" fmla="*/ 12 w 15"/>
                  <a:gd name="T65" fmla="*/ 16 h 16"/>
                  <a:gd name="T66" fmla="*/ 12 w 15"/>
                  <a:gd name="T67" fmla="*/ 13 h 16"/>
                  <a:gd name="T68" fmla="*/ 12 w 15"/>
                  <a:gd name="T69" fmla="*/ 11 h 16"/>
                  <a:gd name="T70" fmla="*/ 12 w 15"/>
                  <a:gd name="T71" fmla="*/ 10 h 16"/>
                  <a:gd name="T72" fmla="*/ 13 w 15"/>
                  <a:gd name="T73" fmla="*/ 11 h 16"/>
                  <a:gd name="T74" fmla="*/ 13 w 15"/>
                  <a:gd name="T75" fmla="*/ 11 h 16"/>
                  <a:gd name="T76" fmla="*/ 14 w 15"/>
                  <a:gd name="T77" fmla="*/ 13 h 16"/>
                  <a:gd name="T78" fmla="*/ 14 w 15"/>
                  <a:gd name="T79" fmla="*/ 11 h 16"/>
                  <a:gd name="T80" fmla="*/ 15 w 15"/>
                  <a:gd name="T81" fmla="*/ 11 h 16"/>
                  <a:gd name="T82" fmla="*/ 15 w 15"/>
                  <a:gd name="T83" fmla="*/ 9 h 16"/>
                  <a:gd name="T84" fmla="*/ 14 w 15"/>
                  <a:gd name="T85" fmla="*/ 8 h 16"/>
                  <a:gd name="T86" fmla="*/ 15 w 15"/>
                  <a:gd name="T87" fmla="*/ 7 h 16"/>
                  <a:gd name="T88" fmla="*/ 15 w 15"/>
                  <a:gd name="T89" fmla="*/ 7 h 16"/>
                  <a:gd name="T90" fmla="*/ 15 w 15"/>
                  <a:gd name="T91" fmla="*/ 6 h 16"/>
                  <a:gd name="T92" fmla="*/ 14 w 15"/>
                  <a:gd name="T93" fmla="*/ 5 h 16"/>
                  <a:gd name="T94" fmla="*/ 14 w 15"/>
                  <a:gd name="T95" fmla="*/ 3 h 16"/>
                  <a:gd name="T96" fmla="*/ 14 w 15"/>
                  <a:gd name="T97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5" h="16">
                    <a:moveTo>
                      <a:pt x="14" y="2"/>
                    </a:moveTo>
                    <a:cubicBezTo>
                      <a:pt x="14" y="2"/>
                      <a:pt x="13" y="2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2" y="1"/>
                      <a:pt x="12" y="1"/>
                    </a:cubicBezTo>
                    <a:cubicBezTo>
                      <a:pt x="12" y="0"/>
                      <a:pt x="12" y="0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2"/>
                      <a:pt x="12" y="2"/>
                      <a:pt x="12" y="3"/>
                    </a:cubicBezTo>
                    <a:cubicBezTo>
                      <a:pt x="12" y="3"/>
                      <a:pt x="12" y="4"/>
                      <a:pt x="12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4"/>
                      <a:pt x="11" y="4"/>
                      <a:pt x="10" y="4"/>
                    </a:cubicBezTo>
                    <a:cubicBezTo>
                      <a:pt x="10" y="3"/>
                      <a:pt x="10" y="3"/>
                      <a:pt x="10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5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7" y="6"/>
                      <a:pt x="7" y="7"/>
                    </a:cubicBezTo>
                    <a:cubicBezTo>
                      <a:pt x="7" y="7"/>
                      <a:pt x="6" y="7"/>
                      <a:pt x="6" y="7"/>
                    </a:cubicBezTo>
                    <a:cubicBezTo>
                      <a:pt x="7" y="6"/>
                      <a:pt x="7" y="6"/>
                      <a:pt x="7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6" y="5"/>
                      <a:pt x="6" y="4"/>
                      <a:pt x="6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4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4" y="5"/>
                      <a:pt x="4" y="5"/>
                    </a:cubicBezTo>
                    <a:cubicBezTo>
                      <a:pt x="4" y="5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7"/>
                      <a:pt x="2" y="7"/>
                    </a:cubicBezTo>
                    <a:cubicBezTo>
                      <a:pt x="2" y="7"/>
                      <a:pt x="1" y="8"/>
                      <a:pt x="1" y="8"/>
                    </a:cubicBezTo>
                    <a:cubicBezTo>
                      <a:pt x="1" y="8"/>
                      <a:pt x="1" y="9"/>
                      <a:pt x="1" y="9"/>
                    </a:cubicBezTo>
                    <a:cubicBezTo>
                      <a:pt x="1" y="9"/>
                      <a:pt x="1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1" y="11"/>
                      <a:pt x="1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2" y="10"/>
                      <a:pt x="2" y="10"/>
                    </a:cubicBezTo>
                    <a:cubicBezTo>
                      <a:pt x="2" y="10"/>
                      <a:pt x="2" y="9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9"/>
                      <a:pt x="3" y="9"/>
                    </a:cubicBezTo>
                    <a:cubicBezTo>
                      <a:pt x="3" y="9"/>
                      <a:pt x="4" y="9"/>
                      <a:pt x="4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9"/>
                    </a:cubicBezTo>
                    <a:cubicBezTo>
                      <a:pt x="4" y="9"/>
                      <a:pt x="5" y="9"/>
                      <a:pt x="5" y="9"/>
                    </a:cubicBezTo>
                    <a:cubicBezTo>
                      <a:pt x="5" y="10"/>
                      <a:pt x="5" y="10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7" y="8"/>
                      <a:pt x="7" y="9"/>
                    </a:cubicBezTo>
                    <a:cubicBezTo>
                      <a:pt x="8" y="9"/>
                      <a:pt x="8" y="9"/>
                      <a:pt x="8" y="10"/>
                    </a:cubicBezTo>
                    <a:cubicBezTo>
                      <a:pt x="8" y="10"/>
                      <a:pt x="8" y="10"/>
                      <a:pt x="7" y="10"/>
                    </a:cubicBezTo>
                    <a:cubicBezTo>
                      <a:pt x="7" y="11"/>
                      <a:pt x="7" y="13"/>
                      <a:pt x="7" y="1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13"/>
                      <a:pt x="8" y="14"/>
                      <a:pt x="8" y="14"/>
                    </a:cubicBezTo>
                    <a:cubicBezTo>
                      <a:pt x="8" y="15"/>
                      <a:pt x="9" y="15"/>
                      <a:pt x="9" y="15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1" y="15"/>
                      <a:pt x="11" y="15"/>
                      <a:pt x="11" y="15"/>
                    </a:cubicBezTo>
                    <a:cubicBezTo>
                      <a:pt x="11" y="15"/>
                      <a:pt x="11" y="15"/>
                      <a:pt x="11" y="15"/>
                    </a:cubicBezTo>
                    <a:cubicBezTo>
                      <a:pt x="11" y="15"/>
                      <a:pt x="11" y="15"/>
                      <a:pt x="11" y="16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11" y="16"/>
                      <a:pt x="12" y="16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5"/>
                      <a:pt x="12" y="14"/>
                      <a:pt x="12" y="13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2" y="12"/>
                      <a:pt x="12" y="12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1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3" y="12"/>
                      <a:pt x="14" y="12"/>
                      <a:pt x="14" y="13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3"/>
                      <a:pt x="14" y="12"/>
                      <a:pt x="14" y="12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4" y="12"/>
                      <a:pt x="14" y="12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5" y="10"/>
                      <a:pt x="15" y="10"/>
                    </a:cubicBezTo>
                    <a:cubicBezTo>
                      <a:pt x="15" y="10"/>
                      <a:pt x="15" y="10"/>
                      <a:pt x="15" y="9"/>
                    </a:cubicBezTo>
                    <a:cubicBezTo>
                      <a:pt x="15" y="9"/>
                      <a:pt x="15" y="8"/>
                      <a:pt x="15" y="8"/>
                    </a:cubicBezTo>
                    <a:cubicBezTo>
                      <a:pt x="15" y="8"/>
                      <a:pt x="15" y="8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7"/>
                      <a:pt x="15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7"/>
                      <a:pt x="15" y="6"/>
                      <a:pt x="15" y="6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5"/>
                      <a:pt x="14" y="5"/>
                      <a:pt x="14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4" y="4"/>
                      <a:pt x="14" y="4"/>
                    </a:cubicBezTo>
                    <a:cubicBezTo>
                      <a:pt x="14" y="4"/>
                      <a:pt x="14" y="4"/>
                      <a:pt x="14" y="3"/>
                    </a:cubicBezTo>
                    <a:cubicBezTo>
                      <a:pt x="14" y="3"/>
                      <a:pt x="14" y="3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29" name="Freeform 164">
                <a:extLst>
                  <a:ext uri="{FF2B5EF4-FFF2-40B4-BE49-F238E27FC236}">
                    <a16:creationId xmlns:a16="http://schemas.microsoft.com/office/drawing/2014/main" id="{552674EC-9676-47B1-B3C1-5472EAAB89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6" y="2480"/>
                <a:ext cx="7" cy="4"/>
              </a:xfrm>
              <a:custGeom>
                <a:avLst/>
                <a:gdLst>
                  <a:gd name="T0" fmla="*/ 2 w 3"/>
                  <a:gd name="T1" fmla="*/ 0 h 2"/>
                  <a:gd name="T2" fmla="*/ 1 w 3"/>
                  <a:gd name="T3" fmla="*/ 0 h 2"/>
                  <a:gd name="T4" fmla="*/ 1 w 3"/>
                  <a:gd name="T5" fmla="*/ 1 h 2"/>
                  <a:gd name="T6" fmla="*/ 1 w 3"/>
                  <a:gd name="T7" fmla="*/ 1 h 2"/>
                  <a:gd name="T8" fmla="*/ 1 w 3"/>
                  <a:gd name="T9" fmla="*/ 1 h 2"/>
                  <a:gd name="T10" fmla="*/ 1 w 3"/>
                  <a:gd name="T11" fmla="*/ 2 h 2"/>
                  <a:gd name="T12" fmla="*/ 2 w 3"/>
                  <a:gd name="T13" fmla="*/ 2 h 2"/>
                  <a:gd name="T14" fmla="*/ 2 w 3"/>
                  <a:gd name="T15" fmla="*/ 2 h 2"/>
                  <a:gd name="T16" fmla="*/ 3 w 3"/>
                  <a:gd name="T17" fmla="*/ 2 h 2"/>
                  <a:gd name="T18" fmla="*/ 3 w 3"/>
                  <a:gd name="T19" fmla="*/ 1 h 2"/>
                  <a:gd name="T20" fmla="*/ 3 w 3"/>
                  <a:gd name="T21" fmla="*/ 0 h 2"/>
                  <a:gd name="T22" fmla="*/ 3 w 3"/>
                  <a:gd name="T23" fmla="*/ 0 h 2"/>
                  <a:gd name="T24" fmla="*/ 2 w 3"/>
                  <a:gd name="T25" fmla="*/ 0 h 2"/>
                  <a:gd name="T26" fmla="*/ 2 w 3"/>
                  <a:gd name="T27" fmla="*/ 0 h 2"/>
                  <a:gd name="T28" fmla="*/ 2 w 3"/>
                  <a:gd name="T2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" h="2">
                    <a:moveTo>
                      <a:pt x="2" y="0"/>
                    </a:move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1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30" name="Freeform 165">
                <a:extLst>
                  <a:ext uri="{FF2B5EF4-FFF2-40B4-BE49-F238E27FC236}">
                    <a16:creationId xmlns:a16="http://schemas.microsoft.com/office/drawing/2014/main" id="{ABEA3284-90F4-43C6-8F61-1D360CAD75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1" y="2456"/>
                <a:ext cx="12" cy="14"/>
              </a:xfrm>
              <a:custGeom>
                <a:avLst/>
                <a:gdLst>
                  <a:gd name="T0" fmla="*/ 4 w 5"/>
                  <a:gd name="T1" fmla="*/ 2 h 6"/>
                  <a:gd name="T2" fmla="*/ 4 w 5"/>
                  <a:gd name="T3" fmla="*/ 2 h 6"/>
                  <a:gd name="T4" fmla="*/ 4 w 5"/>
                  <a:gd name="T5" fmla="*/ 2 h 6"/>
                  <a:gd name="T6" fmla="*/ 3 w 5"/>
                  <a:gd name="T7" fmla="*/ 1 h 6"/>
                  <a:gd name="T8" fmla="*/ 3 w 5"/>
                  <a:gd name="T9" fmla="*/ 1 h 6"/>
                  <a:gd name="T10" fmla="*/ 3 w 5"/>
                  <a:gd name="T11" fmla="*/ 1 h 6"/>
                  <a:gd name="T12" fmla="*/ 2 w 5"/>
                  <a:gd name="T13" fmla="*/ 0 h 6"/>
                  <a:gd name="T14" fmla="*/ 2 w 5"/>
                  <a:gd name="T15" fmla="*/ 1 h 6"/>
                  <a:gd name="T16" fmla="*/ 1 w 5"/>
                  <a:gd name="T17" fmla="*/ 1 h 6"/>
                  <a:gd name="T18" fmla="*/ 1 w 5"/>
                  <a:gd name="T19" fmla="*/ 1 h 6"/>
                  <a:gd name="T20" fmla="*/ 0 w 5"/>
                  <a:gd name="T21" fmla="*/ 1 h 6"/>
                  <a:gd name="T22" fmla="*/ 0 w 5"/>
                  <a:gd name="T23" fmla="*/ 1 h 6"/>
                  <a:gd name="T24" fmla="*/ 0 w 5"/>
                  <a:gd name="T25" fmla="*/ 1 h 6"/>
                  <a:gd name="T26" fmla="*/ 1 w 5"/>
                  <a:gd name="T27" fmla="*/ 2 h 6"/>
                  <a:gd name="T28" fmla="*/ 1 w 5"/>
                  <a:gd name="T29" fmla="*/ 3 h 6"/>
                  <a:gd name="T30" fmla="*/ 1 w 5"/>
                  <a:gd name="T31" fmla="*/ 3 h 6"/>
                  <a:gd name="T32" fmla="*/ 2 w 5"/>
                  <a:gd name="T33" fmla="*/ 3 h 6"/>
                  <a:gd name="T34" fmla="*/ 2 w 5"/>
                  <a:gd name="T35" fmla="*/ 4 h 6"/>
                  <a:gd name="T36" fmla="*/ 2 w 5"/>
                  <a:gd name="T37" fmla="*/ 4 h 6"/>
                  <a:gd name="T38" fmla="*/ 2 w 5"/>
                  <a:gd name="T39" fmla="*/ 4 h 6"/>
                  <a:gd name="T40" fmla="*/ 2 w 5"/>
                  <a:gd name="T41" fmla="*/ 5 h 6"/>
                  <a:gd name="T42" fmla="*/ 2 w 5"/>
                  <a:gd name="T43" fmla="*/ 5 h 6"/>
                  <a:gd name="T44" fmla="*/ 3 w 5"/>
                  <a:gd name="T45" fmla="*/ 5 h 6"/>
                  <a:gd name="T46" fmla="*/ 3 w 5"/>
                  <a:gd name="T47" fmla="*/ 6 h 6"/>
                  <a:gd name="T48" fmla="*/ 3 w 5"/>
                  <a:gd name="T49" fmla="*/ 6 h 6"/>
                  <a:gd name="T50" fmla="*/ 4 w 5"/>
                  <a:gd name="T51" fmla="*/ 6 h 6"/>
                  <a:gd name="T52" fmla="*/ 5 w 5"/>
                  <a:gd name="T53" fmla="*/ 6 h 6"/>
                  <a:gd name="T54" fmla="*/ 5 w 5"/>
                  <a:gd name="T55" fmla="*/ 6 h 6"/>
                  <a:gd name="T56" fmla="*/ 4 w 5"/>
                  <a:gd name="T57" fmla="*/ 6 h 6"/>
                  <a:gd name="T58" fmla="*/ 3 w 5"/>
                  <a:gd name="T59" fmla="*/ 5 h 6"/>
                  <a:gd name="T60" fmla="*/ 4 w 5"/>
                  <a:gd name="T61" fmla="*/ 5 h 6"/>
                  <a:gd name="T62" fmla="*/ 4 w 5"/>
                  <a:gd name="T63" fmla="*/ 4 h 6"/>
                  <a:gd name="T64" fmla="*/ 4 w 5"/>
                  <a:gd name="T65" fmla="*/ 4 h 6"/>
                  <a:gd name="T66" fmla="*/ 4 w 5"/>
                  <a:gd name="T67" fmla="*/ 4 h 6"/>
                  <a:gd name="T68" fmla="*/ 4 w 5"/>
                  <a:gd name="T69" fmla="*/ 3 h 6"/>
                  <a:gd name="T70" fmla="*/ 4 w 5"/>
                  <a:gd name="T71" fmla="*/ 3 h 6"/>
                  <a:gd name="T72" fmla="*/ 4 w 5"/>
                  <a:gd name="T73" fmla="*/ 3 h 6"/>
                  <a:gd name="T74" fmla="*/ 4 w 5"/>
                  <a:gd name="T7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" h="6">
                    <a:moveTo>
                      <a:pt x="4" y="2"/>
                    </a:move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1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2" y="3"/>
                      <a:pt x="2" y="3"/>
                    </a:cubicBezTo>
                    <a:cubicBezTo>
                      <a:pt x="2" y="3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3" y="5"/>
                      <a:pt x="3" y="5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2"/>
                      <a:pt x="4" y="2"/>
                      <a:pt x="4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31" name="Freeform 166">
                <a:extLst>
                  <a:ext uri="{FF2B5EF4-FFF2-40B4-BE49-F238E27FC236}">
                    <a16:creationId xmlns:a16="http://schemas.microsoft.com/office/drawing/2014/main" id="{14F36CE9-EA6E-49D7-8901-FD90EADED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1" y="2465"/>
                <a:ext cx="7" cy="17"/>
              </a:xfrm>
              <a:custGeom>
                <a:avLst/>
                <a:gdLst>
                  <a:gd name="T0" fmla="*/ 2 w 3"/>
                  <a:gd name="T1" fmla="*/ 2 h 7"/>
                  <a:gd name="T2" fmla="*/ 2 w 3"/>
                  <a:gd name="T3" fmla="*/ 2 h 7"/>
                  <a:gd name="T4" fmla="*/ 2 w 3"/>
                  <a:gd name="T5" fmla="*/ 1 h 7"/>
                  <a:gd name="T6" fmla="*/ 2 w 3"/>
                  <a:gd name="T7" fmla="*/ 1 h 7"/>
                  <a:gd name="T8" fmla="*/ 1 w 3"/>
                  <a:gd name="T9" fmla="*/ 1 h 7"/>
                  <a:gd name="T10" fmla="*/ 1 w 3"/>
                  <a:gd name="T11" fmla="*/ 1 h 7"/>
                  <a:gd name="T12" fmla="*/ 0 w 3"/>
                  <a:gd name="T13" fmla="*/ 1 h 7"/>
                  <a:gd name="T14" fmla="*/ 0 w 3"/>
                  <a:gd name="T15" fmla="*/ 1 h 7"/>
                  <a:gd name="T16" fmla="*/ 0 w 3"/>
                  <a:gd name="T17" fmla="*/ 1 h 7"/>
                  <a:gd name="T18" fmla="*/ 0 w 3"/>
                  <a:gd name="T19" fmla="*/ 2 h 7"/>
                  <a:gd name="T20" fmla="*/ 0 w 3"/>
                  <a:gd name="T21" fmla="*/ 3 h 7"/>
                  <a:gd name="T22" fmla="*/ 1 w 3"/>
                  <a:gd name="T23" fmla="*/ 3 h 7"/>
                  <a:gd name="T24" fmla="*/ 1 w 3"/>
                  <a:gd name="T25" fmla="*/ 3 h 7"/>
                  <a:gd name="T26" fmla="*/ 1 w 3"/>
                  <a:gd name="T27" fmla="*/ 4 h 7"/>
                  <a:gd name="T28" fmla="*/ 1 w 3"/>
                  <a:gd name="T29" fmla="*/ 5 h 7"/>
                  <a:gd name="T30" fmla="*/ 2 w 3"/>
                  <a:gd name="T31" fmla="*/ 5 h 7"/>
                  <a:gd name="T32" fmla="*/ 2 w 3"/>
                  <a:gd name="T33" fmla="*/ 6 h 7"/>
                  <a:gd name="T34" fmla="*/ 2 w 3"/>
                  <a:gd name="T35" fmla="*/ 6 h 7"/>
                  <a:gd name="T36" fmla="*/ 2 w 3"/>
                  <a:gd name="T37" fmla="*/ 6 h 7"/>
                  <a:gd name="T38" fmla="*/ 3 w 3"/>
                  <a:gd name="T39" fmla="*/ 7 h 7"/>
                  <a:gd name="T40" fmla="*/ 3 w 3"/>
                  <a:gd name="T41" fmla="*/ 7 h 7"/>
                  <a:gd name="T42" fmla="*/ 3 w 3"/>
                  <a:gd name="T43" fmla="*/ 6 h 7"/>
                  <a:gd name="T44" fmla="*/ 3 w 3"/>
                  <a:gd name="T45" fmla="*/ 5 h 7"/>
                  <a:gd name="T46" fmla="*/ 3 w 3"/>
                  <a:gd name="T47" fmla="*/ 5 h 7"/>
                  <a:gd name="T48" fmla="*/ 3 w 3"/>
                  <a:gd name="T49" fmla="*/ 5 h 7"/>
                  <a:gd name="T50" fmla="*/ 3 w 3"/>
                  <a:gd name="T51" fmla="*/ 4 h 7"/>
                  <a:gd name="T52" fmla="*/ 2 w 3"/>
                  <a:gd name="T53" fmla="*/ 4 h 7"/>
                  <a:gd name="T54" fmla="*/ 2 w 3"/>
                  <a:gd name="T55" fmla="*/ 3 h 7"/>
                  <a:gd name="T56" fmla="*/ 2 w 3"/>
                  <a:gd name="T57" fmla="*/ 2 h 7"/>
                  <a:gd name="T58" fmla="*/ 2 w 3"/>
                  <a:gd name="T5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" h="7">
                    <a:moveTo>
                      <a:pt x="2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2" y="4"/>
                      <a:pt x="1" y="4"/>
                    </a:cubicBezTo>
                    <a:cubicBezTo>
                      <a:pt x="1" y="4"/>
                      <a:pt x="1" y="5"/>
                      <a:pt x="1" y="5"/>
                    </a:cubicBezTo>
                    <a:cubicBezTo>
                      <a:pt x="1" y="5"/>
                      <a:pt x="2" y="5"/>
                      <a:pt x="2" y="5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3" y="6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6"/>
                      <a:pt x="3" y="6"/>
                    </a:cubicBezTo>
                    <a:cubicBezTo>
                      <a:pt x="3" y="6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4"/>
                      <a:pt x="3" y="4"/>
                    </a:cubicBezTo>
                    <a:cubicBezTo>
                      <a:pt x="3" y="4"/>
                      <a:pt x="3" y="4"/>
                      <a:pt x="2" y="4"/>
                    </a:cubicBezTo>
                    <a:cubicBezTo>
                      <a:pt x="2" y="4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32" name="Freeform 167">
                <a:extLst>
                  <a:ext uri="{FF2B5EF4-FFF2-40B4-BE49-F238E27FC236}">
                    <a16:creationId xmlns:a16="http://schemas.microsoft.com/office/drawing/2014/main" id="{64EBACD8-73AE-416C-B310-7F20FC7E5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4" y="2470"/>
                <a:ext cx="4" cy="14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1 h 6"/>
                  <a:gd name="T4" fmla="*/ 1 w 2"/>
                  <a:gd name="T5" fmla="*/ 2 h 6"/>
                  <a:gd name="T6" fmla="*/ 0 w 2"/>
                  <a:gd name="T7" fmla="*/ 4 h 6"/>
                  <a:gd name="T8" fmla="*/ 0 w 2"/>
                  <a:gd name="T9" fmla="*/ 4 h 6"/>
                  <a:gd name="T10" fmla="*/ 0 w 2"/>
                  <a:gd name="T11" fmla="*/ 4 h 6"/>
                  <a:gd name="T12" fmla="*/ 0 w 2"/>
                  <a:gd name="T13" fmla="*/ 5 h 6"/>
                  <a:gd name="T14" fmla="*/ 0 w 2"/>
                  <a:gd name="T15" fmla="*/ 6 h 6"/>
                  <a:gd name="T16" fmla="*/ 0 w 2"/>
                  <a:gd name="T17" fmla="*/ 6 h 6"/>
                  <a:gd name="T18" fmla="*/ 1 w 2"/>
                  <a:gd name="T19" fmla="*/ 5 h 6"/>
                  <a:gd name="T20" fmla="*/ 1 w 2"/>
                  <a:gd name="T21" fmla="*/ 4 h 6"/>
                  <a:gd name="T22" fmla="*/ 1 w 2"/>
                  <a:gd name="T23" fmla="*/ 4 h 6"/>
                  <a:gd name="T24" fmla="*/ 2 w 2"/>
                  <a:gd name="T25" fmla="*/ 3 h 6"/>
                  <a:gd name="T26" fmla="*/ 2 w 2"/>
                  <a:gd name="T27" fmla="*/ 2 h 6"/>
                  <a:gd name="T28" fmla="*/ 2 w 2"/>
                  <a:gd name="T29" fmla="*/ 1 h 6"/>
                  <a:gd name="T30" fmla="*/ 2 w 2"/>
                  <a:gd name="T31" fmla="*/ 0 h 6"/>
                  <a:gd name="T32" fmla="*/ 2 w 2"/>
                  <a:gd name="T3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cubicBezTo>
                      <a:pt x="2" y="0"/>
                      <a:pt x="2" y="0"/>
                      <a:pt x="2" y="1"/>
                    </a:cubicBezTo>
                    <a:cubicBezTo>
                      <a:pt x="2" y="1"/>
                      <a:pt x="1" y="2"/>
                      <a:pt x="1" y="2"/>
                    </a:cubicBezTo>
                    <a:cubicBezTo>
                      <a:pt x="1" y="2"/>
                      <a:pt x="1" y="3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6"/>
                      <a:pt x="1" y="5"/>
                      <a:pt x="1" y="5"/>
                    </a:cubicBezTo>
                    <a:cubicBezTo>
                      <a:pt x="1" y="5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2"/>
                      <a:pt x="2" y="2"/>
                    </a:cubicBezTo>
                    <a:cubicBezTo>
                      <a:pt x="2" y="2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33" name="Freeform 168">
                <a:extLst>
                  <a:ext uri="{FF2B5EF4-FFF2-40B4-BE49-F238E27FC236}">
                    <a16:creationId xmlns:a16="http://schemas.microsoft.com/office/drawing/2014/main" id="{B05D2F9C-A624-410B-9D89-D58FC52C38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7" y="2472"/>
                <a:ext cx="9" cy="17"/>
              </a:xfrm>
              <a:custGeom>
                <a:avLst/>
                <a:gdLst>
                  <a:gd name="T0" fmla="*/ 2 w 4"/>
                  <a:gd name="T1" fmla="*/ 0 h 7"/>
                  <a:gd name="T2" fmla="*/ 2 w 4"/>
                  <a:gd name="T3" fmla="*/ 1 h 7"/>
                  <a:gd name="T4" fmla="*/ 2 w 4"/>
                  <a:gd name="T5" fmla="*/ 1 h 7"/>
                  <a:gd name="T6" fmla="*/ 1 w 4"/>
                  <a:gd name="T7" fmla="*/ 2 h 7"/>
                  <a:gd name="T8" fmla="*/ 1 w 4"/>
                  <a:gd name="T9" fmla="*/ 3 h 7"/>
                  <a:gd name="T10" fmla="*/ 1 w 4"/>
                  <a:gd name="T11" fmla="*/ 3 h 7"/>
                  <a:gd name="T12" fmla="*/ 1 w 4"/>
                  <a:gd name="T13" fmla="*/ 4 h 7"/>
                  <a:gd name="T14" fmla="*/ 1 w 4"/>
                  <a:gd name="T15" fmla="*/ 4 h 7"/>
                  <a:gd name="T16" fmla="*/ 0 w 4"/>
                  <a:gd name="T17" fmla="*/ 4 h 7"/>
                  <a:gd name="T18" fmla="*/ 0 w 4"/>
                  <a:gd name="T19" fmla="*/ 4 h 7"/>
                  <a:gd name="T20" fmla="*/ 0 w 4"/>
                  <a:gd name="T21" fmla="*/ 4 h 7"/>
                  <a:gd name="T22" fmla="*/ 0 w 4"/>
                  <a:gd name="T23" fmla="*/ 5 h 7"/>
                  <a:gd name="T24" fmla="*/ 1 w 4"/>
                  <a:gd name="T25" fmla="*/ 6 h 7"/>
                  <a:gd name="T26" fmla="*/ 1 w 4"/>
                  <a:gd name="T27" fmla="*/ 6 h 7"/>
                  <a:gd name="T28" fmla="*/ 1 w 4"/>
                  <a:gd name="T29" fmla="*/ 6 h 7"/>
                  <a:gd name="T30" fmla="*/ 2 w 4"/>
                  <a:gd name="T31" fmla="*/ 6 h 7"/>
                  <a:gd name="T32" fmla="*/ 2 w 4"/>
                  <a:gd name="T33" fmla="*/ 7 h 7"/>
                  <a:gd name="T34" fmla="*/ 2 w 4"/>
                  <a:gd name="T35" fmla="*/ 7 h 7"/>
                  <a:gd name="T36" fmla="*/ 3 w 4"/>
                  <a:gd name="T37" fmla="*/ 6 h 7"/>
                  <a:gd name="T38" fmla="*/ 3 w 4"/>
                  <a:gd name="T39" fmla="*/ 6 h 7"/>
                  <a:gd name="T40" fmla="*/ 2 w 4"/>
                  <a:gd name="T41" fmla="*/ 5 h 7"/>
                  <a:gd name="T42" fmla="*/ 2 w 4"/>
                  <a:gd name="T43" fmla="*/ 4 h 7"/>
                  <a:gd name="T44" fmla="*/ 2 w 4"/>
                  <a:gd name="T45" fmla="*/ 4 h 7"/>
                  <a:gd name="T46" fmla="*/ 3 w 4"/>
                  <a:gd name="T47" fmla="*/ 2 h 7"/>
                  <a:gd name="T48" fmla="*/ 3 w 4"/>
                  <a:gd name="T49" fmla="*/ 1 h 7"/>
                  <a:gd name="T50" fmla="*/ 3 w 4"/>
                  <a:gd name="T51" fmla="*/ 0 h 7"/>
                  <a:gd name="T52" fmla="*/ 3 w 4"/>
                  <a:gd name="T53" fmla="*/ 0 h 7"/>
                  <a:gd name="T54" fmla="*/ 3 w 4"/>
                  <a:gd name="T55" fmla="*/ 0 h 7"/>
                  <a:gd name="T56" fmla="*/ 3 w 4"/>
                  <a:gd name="T57" fmla="*/ 0 h 7"/>
                  <a:gd name="T58" fmla="*/ 2 w 4"/>
                  <a:gd name="T59" fmla="*/ 0 h 7"/>
                  <a:gd name="T60" fmla="*/ 2 w 4"/>
                  <a:gd name="T6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" h="7">
                    <a:moveTo>
                      <a:pt x="2" y="0"/>
                    </a:moveTo>
                    <a:cubicBezTo>
                      <a:pt x="2" y="0"/>
                      <a:pt x="2" y="0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5"/>
                      <a:pt x="0" y="5"/>
                    </a:cubicBezTo>
                    <a:cubicBezTo>
                      <a:pt x="0" y="5"/>
                      <a:pt x="0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2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3" y="7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3" y="3"/>
                      <a:pt x="3" y="3"/>
                      <a:pt x="3" y="2"/>
                    </a:cubicBezTo>
                    <a:cubicBezTo>
                      <a:pt x="3" y="2"/>
                      <a:pt x="3" y="1"/>
                      <a:pt x="3" y="1"/>
                    </a:cubicBezTo>
                    <a:cubicBezTo>
                      <a:pt x="3" y="1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34" name="Freeform 169">
                <a:extLst>
                  <a:ext uri="{FF2B5EF4-FFF2-40B4-BE49-F238E27FC236}">
                    <a16:creationId xmlns:a16="http://schemas.microsoft.com/office/drawing/2014/main" id="{15E74AE6-525F-42E7-98F0-44A702BC85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2" y="2456"/>
                <a:ext cx="2" cy="5"/>
              </a:xfrm>
              <a:custGeom>
                <a:avLst/>
                <a:gdLst>
                  <a:gd name="T0" fmla="*/ 1 w 1"/>
                  <a:gd name="T1" fmla="*/ 0 h 2"/>
                  <a:gd name="T2" fmla="*/ 1 w 1"/>
                  <a:gd name="T3" fmla="*/ 1 h 2"/>
                  <a:gd name="T4" fmla="*/ 0 w 1"/>
                  <a:gd name="T5" fmla="*/ 1 h 2"/>
                  <a:gd name="T6" fmla="*/ 0 w 1"/>
                  <a:gd name="T7" fmla="*/ 1 h 2"/>
                  <a:gd name="T8" fmla="*/ 0 w 1"/>
                  <a:gd name="T9" fmla="*/ 2 h 2"/>
                  <a:gd name="T10" fmla="*/ 1 w 1"/>
                  <a:gd name="T11" fmla="*/ 2 h 2"/>
                  <a:gd name="T12" fmla="*/ 1 w 1"/>
                  <a:gd name="T13" fmla="*/ 2 h 2"/>
                  <a:gd name="T14" fmla="*/ 1 w 1"/>
                  <a:gd name="T15" fmla="*/ 1 h 2"/>
                  <a:gd name="T16" fmla="*/ 1 w 1"/>
                  <a:gd name="T17" fmla="*/ 0 h 2"/>
                  <a:gd name="T18" fmla="*/ 1 w 1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0"/>
                      <a:pt x="0" y="0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35" name="Freeform 170">
                <a:extLst>
                  <a:ext uri="{FF2B5EF4-FFF2-40B4-BE49-F238E27FC236}">
                    <a16:creationId xmlns:a16="http://schemas.microsoft.com/office/drawing/2014/main" id="{F8BF2FBD-1241-42A9-9AB6-94B12BB86B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7" y="2458"/>
                <a:ext cx="2" cy="3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0 h 1"/>
                  <a:gd name="T4" fmla="*/ 0 w 1"/>
                  <a:gd name="T5" fmla="*/ 0 h 1"/>
                  <a:gd name="T6" fmla="*/ 0 w 1"/>
                  <a:gd name="T7" fmla="*/ 0 h 1"/>
                  <a:gd name="T8" fmla="*/ 0 w 1"/>
                  <a:gd name="T9" fmla="*/ 0 h 1"/>
                  <a:gd name="T10" fmla="*/ 1 w 1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36" name="Freeform 171">
                <a:extLst>
                  <a:ext uri="{FF2B5EF4-FFF2-40B4-BE49-F238E27FC236}">
                    <a16:creationId xmlns:a16="http://schemas.microsoft.com/office/drawing/2014/main" id="{681EEBBC-3342-4BFE-B6F0-BBE165251C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2" y="2463"/>
                <a:ext cx="9" cy="14"/>
              </a:xfrm>
              <a:custGeom>
                <a:avLst/>
                <a:gdLst>
                  <a:gd name="T0" fmla="*/ 2 w 4"/>
                  <a:gd name="T1" fmla="*/ 0 h 6"/>
                  <a:gd name="T2" fmla="*/ 1 w 4"/>
                  <a:gd name="T3" fmla="*/ 0 h 6"/>
                  <a:gd name="T4" fmla="*/ 1 w 4"/>
                  <a:gd name="T5" fmla="*/ 0 h 6"/>
                  <a:gd name="T6" fmla="*/ 0 w 4"/>
                  <a:gd name="T7" fmla="*/ 0 h 6"/>
                  <a:gd name="T8" fmla="*/ 0 w 4"/>
                  <a:gd name="T9" fmla="*/ 1 h 6"/>
                  <a:gd name="T10" fmla="*/ 1 w 4"/>
                  <a:gd name="T11" fmla="*/ 1 h 6"/>
                  <a:gd name="T12" fmla="*/ 1 w 4"/>
                  <a:gd name="T13" fmla="*/ 2 h 6"/>
                  <a:gd name="T14" fmla="*/ 1 w 4"/>
                  <a:gd name="T15" fmla="*/ 3 h 6"/>
                  <a:gd name="T16" fmla="*/ 1 w 4"/>
                  <a:gd name="T17" fmla="*/ 4 h 6"/>
                  <a:gd name="T18" fmla="*/ 0 w 4"/>
                  <a:gd name="T19" fmla="*/ 4 h 6"/>
                  <a:gd name="T20" fmla="*/ 0 w 4"/>
                  <a:gd name="T21" fmla="*/ 5 h 6"/>
                  <a:gd name="T22" fmla="*/ 0 w 4"/>
                  <a:gd name="T23" fmla="*/ 5 h 6"/>
                  <a:gd name="T24" fmla="*/ 0 w 4"/>
                  <a:gd name="T25" fmla="*/ 6 h 6"/>
                  <a:gd name="T26" fmla="*/ 1 w 4"/>
                  <a:gd name="T27" fmla="*/ 6 h 6"/>
                  <a:gd name="T28" fmla="*/ 1 w 4"/>
                  <a:gd name="T29" fmla="*/ 5 h 6"/>
                  <a:gd name="T30" fmla="*/ 2 w 4"/>
                  <a:gd name="T31" fmla="*/ 5 h 6"/>
                  <a:gd name="T32" fmla="*/ 2 w 4"/>
                  <a:gd name="T33" fmla="*/ 5 h 6"/>
                  <a:gd name="T34" fmla="*/ 2 w 4"/>
                  <a:gd name="T35" fmla="*/ 5 h 6"/>
                  <a:gd name="T36" fmla="*/ 2 w 4"/>
                  <a:gd name="T37" fmla="*/ 4 h 6"/>
                  <a:gd name="T38" fmla="*/ 3 w 4"/>
                  <a:gd name="T39" fmla="*/ 4 h 6"/>
                  <a:gd name="T40" fmla="*/ 3 w 4"/>
                  <a:gd name="T41" fmla="*/ 4 h 6"/>
                  <a:gd name="T42" fmla="*/ 3 w 4"/>
                  <a:gd name="T43" fmla="*/ 4 h 6"/>
                  <a:gd name="T44" fmla="*/ 3 w 4"/>
                  <a:gd name="T45" fmla="*/ 3 h 6"/>
                  <a:gd name="T46" fmla="*/ 4 w 4"/>
                  <a:gd name="T47" fmla="*/ 3 h 6"/>
                  <a:gd name="T48" fmla="*/ 4 w 4"/>
                  <a:gd name="T49" fmla="*/ 3 h 6"/>
                  <a:gd name="T50" fmla="*/ 4 w 4"/>
                  <a:gd name="T51" fmla="*/ 3 h 6"/>
                  <a:gd name="T52" fmla="*/ 4 w 4"/>
                  <a:gd name="T53" fmla="*/ 2 h 6"/>
                  <a:gd name="T54" fmla="*/ 4 w 4"/>
                  <a:gd name="T55" fmla="*/ 2 h 6"/>
                  <a:gd name="T56" fmla="*/ 4 w 4"/>
                  <a:gd name="T57" fmla="*/ 2 h 6"/>
                  <a:gd name="T58" fmla="*/ 4 w 4"/>
                  <a:gd name="T59" fmla="*/ 2 h 6"/>
                  <a:gd name="T60" fmla="*/ 3 w 4"/>
                  <a:gd name="T61" fmla="*/ 1 h 6"/>
                  <a:gd name="T62" fmla="*/ 3 w 4"/>
                  <a:gd name="T63" fmla="*/ 1 h 6"/>
                  <a:gd name="T64" fmla="*/ 3 w 4"/>
                  <a:gd name="T65" fmla="*/ 1 h 6"/>
                  <a:gd name="T66" fmla="*/ 2 w 4"/>
                  <a:gd name="T67" fmla="*/ 1 h 6"/>
                  <a:gd name="T68" fmla="*/ 2 w 4"/>
                  <a:gd name="T69" fmla="*/ 1 h 6"/>
                  <a:gd name="T70" fmla="*/ 2 w 4"/>
                  <a:gd name="T7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2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4"/>
                      <a:pt x="1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5"/>
                    </a:cubicBezTo>
                    <a:cubicBezTo>
                      <a:pt x="1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6"/>
                    </a:cubicBezTo>
                    <a:cubicBezTo>
                      <a:pt x="0" y="6"/>
                      <a:pt x="1" y="6"/>
                      <a:pt x="1" y="6"/>
                    </a:cubicBezTo>
                    <a:cubicBezTo>
                      <a:pt x="1" y="6"/>
                      <a:pt x="1" y="5"/>
                      <a:pt x="1" y="5"/>
                    </a:cubicBezTo>
                    <a:cubicBezTo>
                      <a:pt x="1" y="5"/>
                      <a:pt x="1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4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3"/>
                      <a:pt x="3" y="3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2"/>
                      <a:pt x="3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37" name="Freeform 172">
                <a:extLst>
                  <a:ext uri="{FF2B5EF4-FFF2-40B4-BE49-F238E27FC236}">
                    <a16:creationId xmlns:a16="http://schemas.microsoft.com/office/drawing/2014/main" id="{A7F7D4DE-A180-4F17-9052-16977533F0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1" y="2458"/>
                <a:ext cx="7" cy="7"/>
              </a:xfrm>
              <a:custGeom>
                <a:avLst/>
                <a:gdLst>
                  <a:gd name="T0" fmla="*/ 1 w 3"/>
                  <a:gd name="T1" fmla="*/ 2 h 3"/>
                  <a:gd name="T2" fmla="*/ 1 w 3"/>
                  <a:gd name="T3" fmla="*/ 1 h 3"/>
                  <a:gd name="T4" fmla="*/ 2 w 3"/>
                  <a:gd name="T5" fmla="*/ 1 h 3"/>
                  <a:gd name="T6" fmla="*/ 2 w 3"/>
                  <a:gd name="T7" fmla="*/ 2 h 3"/>
                  <a:gd name="T8" fmla="*/ 3 w 3"/>
                  <a:gd name="T9" fmla="*/ 2 h 3"/>
                  <a:gd name="T10" fmla="*/ 3 w 3"/>
                  <a:gd name="T11" fmla="*/ 2 h 3"/>
                  <a:gd name="T12" fmla="*/ 2 w 3"/>
                  <a:gd name="T13" fmla="*/ 1 h 3"/>
                  <a:gd name="T14" fmla="*/ 2 w 3"/>
                  <a:gd name="T15" fmla="*/ 1 h 3"/>
                  <a:gd name="T16" fmla="*/ 2 w 3"/>
                  <a:gd name="T17" fmla="*/ 1 h 3"/>
                  <a:gd name="T18" fmla="*/ 2 w 3"/>
                  <a:gd name="T19" fmla="*/ 0 h 3"/>
                  <a:gd name="T20" fmla="*/ 1 w 3"/>
                  <a:gd name="T21" fmla="*/ 0 h 3"/>
                  <a:gd name="T22" fmla="*/ 1 w 3"/>
                  <a:gd name="T23" fmla="*/ 0 h 3"/>
                  <a:gd name="T24" fmla="*/ 1 w 3"/>
                  <a:gd name="T25" fmla="*/ 0 h 3"/>
                  <a:gd name="T26" fmla="*/ 1 w 3"/>
                  <a:gd name="T27" fmla="*/ 1 h 3"/>
                  <a:gd name="T28" fmla="*/ 0 w 3"/>
                  <a:gd name="T29" fmla="*/ 1 h 3"/>
                  <a:gd name="T30" fmla="*/ 1 w 3"/>
                  <a:gd name="T3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" h="3">
                    <a:moveTo>
                      <a:pt x="1" y="2"/>
                    </a:moveTo>
                    <a:cubicBezTo>
                      <a:pt x="1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2" y="1"/>
                      <a:pt x="2" y="2"/>
                      <a:pt x="2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3" y="3"/>
                      <a:pt x="3" y="3"/>
                      <a:pt x="3" y="2"/>
                    </a:cubicBezTo>
                    <a:cubicBezTo>
                      <a:pt x="3" y="2"/>
                      <a:pt x="3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2"/>
                      <a:pt x="0" y="2"/>
                      <a:pt x="1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38" name="Freeform 173">
                <a:extLst>
                  <a:ext uri="{FF2B5EF4-FFF2-40B4-BE49-F238E27FC236}">
                    <a16:creationId xmlns:a16="http://schemas.microsoft.com/office/drawing/2014/main" id="{38D45D90-B85E-4063-98EC-F4637AE045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3" y="2601"/>
                <a:ext cx="11" cy="7"/>
              </a:xfrm>
              <a:custGeom>
                <a:avLst/>
                <a:gdLst>
                  <a:gd name="T0" fmla="*/ 4 w 5"/>
                  <a:gd name="T1" fmla="*/ 1 h 3"/>
                  <a:gd name="T2" fmla="*/ 4 w 5"/>
                  <a:gd name="T3" fmla="*/ 0 h 3"/>
                  <a:gd name="T4" fmla="*/ 3 w 5"/>
                  <a:gd name="T5" fmla="*/ 0 h 3"/>
                  <a:gd name="T6" fmla="*/ 2 w 5"/>
                  <a:gd name="T7" fmla="*/ 0 h 3"/>
                  <a:gd name="T8" fmla="*/ 2 w 5"/>
                  <a:gd name="T9" fmla="*/ 0 h 3"/>
                  <a:gd name="T10" fmla="*/ 1 w 5"/>
                  <a:gd name="T11" fmla="*/ 0 h 3"/>
                  <a:gd name="T12" fmla="*/ 1 w 5"/>
                  <a:gd name="T13" fmla="*/ 0 h 3"/>
                  <a:gd name="T14" fmla="*/ 0 w 5"/>
                  <a:gd name="T15" fmla="*/ 0 h 3"/>
                  <a:gd name="T16" fmla="*/ 0 w 5"/>
                  <a:gd name="T17" fmla="*/ 0 h 3"/>
                  <a:gd name="T18" fmla="*/ 0 w 5"/>
                  <a:gd name="T19" fmla="*/ 1 h 3"/>
                  <a:gd name="T20" fmla="*/ 1 w 5"/>
                  <a:gd name="T21" fmla="*/ 1 h 3"/>
                  <a:gd name="T22" fmla="*/ 1 w 5"/>
                  <a:gd name="T23" fmla="*/ 2 h 3"/>
                  <a:gd name="T24" fmla="*/ 2 w 5"/>
                  <a:gd name="T25" fmla="*/ 3 h 3"/>
                  <a:gd name="T26" fmla="*/ 3 w 5"/>
                  <a:gd name="T27" fmla="*/ 3 h 3"/>
                  <a:gd name="T28" fmla="*/ 3 w 5"/>
                  <a:gd name="T29" fmla="*/ 3 h 3"/>
                  <a:gd name="T30" fmla="*/ 5 w 5"/>
                  <a:gd name="T31" fmla="*/ 3 h 3"/>
                  <a:gd name="T32" fmla="*/ 5 w 5"/>
                  <a:gd name="T33" fmla="*/ 2 h 3"/>
                  <a:gd name="T34" fmla="*/ 5 w 5"/>
                  <a:gd name="T35" fmla="*/ 2 h 3"/>
                  <a:gd name="T36" fmla="*/ 4 w 5"/>
                  <a:gd name="T37" fmla="*/ 1 h 3"/>
                  <a:gd name="T38" fmla="*/ 4 w 5"/>
                  <a:gd name="T3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" h="3">
                    <a:moveTo>
                      <a:pt x="4" y="1"/>
                    </a:moveTo>
                    <a:cubicBezTo>
                      <a:pt x="4" y="1"/>
                      <a:pt x="4" y="0"/>
                      <a:pt x="4" y="0"/>
                    </a:cubicBezTo>
                    <a:cubicBezTo>
                      <a:pt x="4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2" y="2"/>
                      <a:pt x="2" y="3"/>
                    </a:cubicBezTo>
                    <a:cubicBezTo>
                      <a:pt x="2" y="3"/>
                      <a:pt x="2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3"/>
                      <a:pt x="4" y="3"/>
                      <a:pt x="5" y="3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39" name="Freeform 174">
                <a:extLst>
                  <a:ext uri="{FF2B5EF4-FFF2-40B4-BE49-F238E27FC236}">
                    <a16:creationId xmlns:a16="http://schemas.microsoft.com/office/drawing/2014/main" id="{43F1FE9B-C78F-4854-967A-5D662BEC27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" y="2598"/>
                <a:ext cx="23" cy="10"/>
              </a:xfrm>
              <a:custGeom>
                <a:avLst/>
                <a:gdLst>
                  <a:gd name="T0" fmla="*/ 5 w 10"/>
                  <a:gd name="T1" fmla="*/ 0 h 4"/>
                  <a:gd name="T2" fmla="*/ 5 w 10"/>
                  <a:gd name="T3" fmla="*/ 0 h 4"/>
                  <a:gd name="T4" fmla="*/ 4 w 10"/>
                  <a:gd name="T5" fmla="*/ 0 h 4"/>
                  <a:gd name="T6" fmla="*/ 4 w 10"/>
                  <a:gd name="T7" fmla="*/ 0 h 4"/>
                  <a:gd name="T8" fmla="*/ 4 w 10"/>
                  <a:gd name="T9" fmla="*/ 0 h 4"/>
                  <a:gd name="T10" fmla="*/ 4 w 10"/>
                  <a:gd name="T11" fmla="*/ 0 h 4"/>
                  <a:gd name="T12" fmla="*/ 3 w 10"/>
                  <a:gd name="T13" fmla="*/ 0 h 4"/>
                  <a:gd name="T14" fmla="*/ 2 w 10"/>
                  <a:gd name="T15" fmla="*/ 0 h 4"/>
                  <a:gd name="T16" fmla="*/ 1 w 10"/>
                  <a:gd name="T17" fmla="*/ 0 h 4"/>
                  <a:gd name="T18" fmla="*/ 1 w 10"/>
                  <a:gd name="T19" fmla="*/ 1 h 4"/>
                  <a:gd name="T20" fmla="*/ 1 w 10"/>
                  <a:gd name="T21" fmla="*/ 1 h 4"/>
                  <a:gd name="T22" fmla="*/ 0 w 10"/>
                  <a:gd name="T23" fmla="*/ 2 h 4"/>
                  <a:gd name="T24" fmla="*/ 1 w 10"/>
                  <a:gd name="T25" fmla="*/ 3 h 4"/>
                  <a:gd name="T26" fmla="*/ 1 w 10"/>
                  <a:gd name="T27" fmla="*/ 3 h 4"/>
                  <a:gd name="T28" fmla="*/ 1 w 10"/>
                  <a:gd name="T29" fmla="*/ 2 h 4"/>
                  <a:gd name="T30" fmla="*/ 1 w 10"/>
                  <a:gd name="T31" fmla="*/ 2 h 4"/>
                  <a:gd name="T32" fmla="*/ 2 w 10"/>
                  <a:gd name="T33" fmla="*/ 2 h 4"/>
                  <a:gd name="T34" fmla="*/ 2 w 10"/>
                  <a:gd name="T35" fmla="*/ 3 h 4"/>
                  <a:gd name="T36" fmla="*/ 3 w 10"/>
                  <a:gd name="T37" fmla="*/ 2 h 4"/>
                  <a:gd name="T38" fmla="*/ 3 w 10"/>
                  <a:gd name="T39" fmla="*/ 2 h 4"/>
                  <a:gd name="T40" fmla="*/ 3 w 10"/>
                  <a:gd name="T41" fmla="*/ 2 h 4"/>
                  <a:gd name="T42" fmla="*/ 4 w 10"/>
                  <a:gd name="T43" fmla="*/ 2 h 4"/>
                  <a:gd name="T44" fmla="*/ 5 w 10"/>
                  <a:gd name="T45" fmla="*/ 2 h 4"/>
                  <a:gd name="T46" fmla="*/ 6 w 10"/>
                  <a:gd name="T47" fmla="*/ 2 h 4"/>
                  <a:gd name="T48" fmla="*/ 7 w 10"/>
                  <a:gd name="T49" fmla="*/ 2 h 4"/>
                  <a:gd name="T50" fmla="*/ 7 w 10"/>
                  <a:gd name="T51" fmla="*/ 2 h 4"/>
                  <a:gd name="T52" fmla="*/ 7 w 10"/>
                  <a:gd name="T53" fmla="*/ 2 h 4"/>
                  <a:gd name="T54" fmla="*/ 8 w 10"/>
                  <a:gd name="T55" fmla="*/ 3 h 4"/>
                  <a:gd name="T56" fmla="*/ 9 w 10"/>
                  <a:gd name="T57" fmla="*/ 3 h 4"/>
                  <a:gd name="T58" fmla="*/ 9 w 10"/>
                  <a:gd name="T59" fmla="*/ 4 h 4"/>
                  <a:gd name="T60" fmla="*/ 10 w 10"/>
                  <a:gd name="T61" fmla="*/ 4 h 4"/>
                  <a:gd name="T62" fmla="*/ 10 w 10"/>
                  <a:gd name="T63" fmla="*/ 3 h 4"/>
                  <a:gd name="T64" fmla="*/ 10 w 10"/>
                  <a:gd name="T65" fmla="*/ 2 h 4"/>
                  <a:gd name="T66" fmla="*/ 9 w 10"/>
                  <a:gd name="T67" fmla="*/ 2 h 4"/>
                  <a:gd name="T68" fmla="*/ 9 w 10"/>
                  <a:gd name="T69" fmla="*/ 1 h 4"/>
                  <a:gd name="T70" fmla="*/ 8 w 10"/>
                  <a:gd name="T71" fmla="*/ 1 h 4"/>
                  <a:gd name="T72" fmla="*/ 8 w 10"/>
                  <a:gd name="T73" fmla="*/ 1 h 4"/>
                  <a:gd name="T74" fmla="*/ 7 w 10"/>
                  <a:gd name="T75" fmla="*/ 0 h 4"/>
                  <a:gd name="T76" fmla="*/ 6 w 10"/>
                  <a:gd name="T77" fmla="*/ 0 h 4"/>
                  <a:gd name="T78" fmla="*/ 6 w 10"/>
                  <a:gd name="T79" fmla="*/ 0 h 4"/>
                  <a:gd name="T80" fmla="*/ 5 w 10"/>
                  <a:gd name="T8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" h="4">
                    <a:moveTo>
                      <a:pt x="5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1"/>
                      <a:pt x="3" y="1"/>
                      <a:pt x="3" y="2"/>
                    </a:cubicBezTo>
                    <a:cubicBezTo>
                      <a:pt x="3" y="2"/>
                      <a:pt x="4" y="2"/>
                      <a:pt x="4" y="2"/>
                    </a:cubicBezTo>
                    <a:cubicBezTo>
                      <a:pt x="4" y="2"/>
                      <a:pt x="5" y="2"/>
                      <a:pt x="5" y="2"/>
                    </a:cubicBezTo>
                    <a:cubicBezTo>
                      <a:pt x="6" y="3"/>
                      <a:pt x="6" y="3"/>
                      <a:pt x="6" y="2"/>
                    </a:cubicBezTo>
                    <a:cubicBezTo>
                      <a:pt x="6" y="2"/>
                      <a:pt x="6" y="2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4"/>
                      <a:pt x="10" y="4"/>
                      <a:pt x="10" y="4"/>
                    </a:cubicBezTo>
                    <a:cubicBezTo>
                      <a:pt x="10" y="4"/>
                      <a:pt x="10" y="3"/>
                      <a:pt x="10" y="3"/>
                    </a:cubicBezTo>
                    <a:cubicBezTo>
                      <a:pt x="10" y="3"/>
                      <a:pt x="10" y="2"/>
                      <a:pt x="10" y="2"/>
                    </a:cubicBezTo>
                    <a:cubicBezTo>
                      <a:pt x="10" y="2"/>
                      <a:pt x="9" y="2"/>
                      <a:pt x="9" y="2"/>
                    </a:cubicBezTo>
                    <a:cubicBezTo>
                      <a:pt x="9" y="2"/>
                      <a:pt x="9" y="2"/>
                      <a:pt x="9" y="1"/>
                    </a:cubicBezTo>
                    <a:cubicBezTo>
                      <a:pt x="9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7" y="0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40" name="Freeform 175">
                <a:extLst>
                  <a:ext uri="{FF2B5EF4-FFF2-40B4-BE49-F238E27FC236}">
                    <a16:creationId xmlns:a16="http://schemas.microsoft.com/office/drawing/2014/main" id="{70090BBC-4987-43D8-971F-DBDCB1128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4" y="2553"/>
                <a:ext cx="12" cy="29"/>
              </a:xfrm>
              <a:custGeom>
                <a:avLst/>
                <a:gdLst>
                  <a:gd name="T0" fmla="*/ 2 w 5"/>
                  <a:gd name="T1" fmla="*/ 0 h 12"/>
                  <a:gd name="T2" fmla="*/ 2 w 5"/>
                  <a:gd name="T3" fmla="*/ 0 h 12"/>
                  <a:gd name="T4" fmla="*/ 0 w 5"/>
                  <a:gd name="T5" fmla="*/ 1 h 12"/>
                  <a:gd name="T6" fmla="*/ 0 w 5"/>
                  <a:gd name="T7" fmla="*/ 3 h 12"/>
                  <a:gd name="T8" fmla="*/ 0 w 5"/>
                  <a:gd name="T9" fmla="*/ 4 h 12"/>
                  <a:gd name="T10" fmla="*/ 0 w 5"/>
                  <a:gd name="T11" fmla="*/ 5 h 12"/>
                  <a:gd name="T12" fmla="*/ 0 w 5"/>
                  <a:gd name="T13" fmla="*/ 6 h 12"/>
                  <a:gd name="T14" fmla="*/ 1 w 5"/>
                  <a:gd name="T15" fmla="*/ 8 h 12"/>
                  <a:gd name="T16" fmla="*/ 1 w 5"/>
                  <a:gd name="T17" fmla="*/ 8 h 12"/>
                  <a:gd name="T18" fmla="*/ 1 w 5"/>
                  <a:gd name="T19" fmla="*/ 9 h 12"/>
                  <a:gd name="T20" fmla="*/ 2 w 5"/>
                  <a:gd name="T21" fmla="*/ 11 h 12"/>
                  <a:gd name="T22" fmla="*/ 2 w 5"/>
                  <a:gd name="T23" fmla="*/ 11 h 12"/>
                  <a:gd name="T24" fmla="*/ 3 w 5"/>
                  <a:gd name="T25" fmla="*/ 12 h 12"/>
                  <a:gd name="T26" fmla="*/ 3 w 5"/>
                  <a:gd name="T27" fmla="*/ 10 h 12"/>
                  <a:gd name="T28" fmla="*/ 2 w 5"/>
                  <a:gd name="T29" fmla="*/ 9 h 12"/>
                  <a:gd name="T30" fmla="*/ 2 w 5"/>
                  <a:gd name="T31" fmla="*/ 8 h 12"/>
                  <a:gd name="T32" fmla="*/ 2 w 5"/>
                  <a:gd name="T33" fmla="*/ 7 h 12"/>
                  <a:gd name="T34" fmla="*/ 3 w 5"/>
                  <a:gd name="T35" fmla="*/ 7 h 12"/>
                  <a:gd name="T36" fmla="*/ 4 w 5"/>
                  <a:gd name="T37" fmla="*/ 7 h 12"/>
                  <a:gd name="T38" fmla="*/ 5 w 5"/>
                  <a:gd name="T39" fmla="*/ 8 h 12"/>
                  <a:gd name="T40" fmla="*/ 4 w 5"/>
                  <a:gd name="T41" fmla="*/ 7 h 12"/>
                  <a:gd name="T42" fmla="*/ 4 w 5"/>
                  <a:gd name="T43" fmla="*/ 6 h 12"/>
                  <a:gd name="T44" fmla="*/ 3 w 5"/>
                  <a:gd name="T45" fmla="*/ 5 h 12"/>
                  <a:gd name="T46" fmla="*/ 4 w 5"/>
                  <a:gd name="T47" fmla="*/ 4 h 12"/>
                  <a:gd name="T48" fmla="*/ 4 w 5"/>
                  <a:gd name="T49" fmla="*/ 3 h 12"/>
                  <a:gd name="T50" fmla="*/ 4 w 5"/>
                  <a:gd name="T51" fmla="*/ 2 h 12"/>
                  <a:gd name="T52" fmla="*/ 3 w 5"/>
                  <a:gd name="T53" fmla="*/ 2 h 12"/>
                  <a:gd name="T54" fmla="*/ 2 w 5"/>
                  <a:gd name="T55" fmla="*/ 3 h 12"/>
                  <a:gd name="T56" fmla="*/ 2 w 5"/>
                  <a:gd name="T57" fmla="*/ 4 h 12"/>
                  <a:gd name="T58" fmla="*/ 1 w 5"/>
                  <a:gd name="T59" fmla="*/ 4 h 12"/>
                  <a:gd name="T60" fmla="*/ 1 w 5"/>
                  <a:gd name="T61" fmla="*/ 5 h 12"/>
                  <a:gd name="T62" fmla="*/ 1 w 5"/>
                  <a:gd name="T63" fmla="*/ 4 h 12"/>
                  <a:gd name="T64" fmla="*/ 2 w 5"/>
                  <a:gd name="T65" fmla="*/ 2 h 12"/>
                  <a:gd name="T66" fmla="*/ 2 w 5"/>
                  <a:gd name="T67" fmla="*/ 2 h 12"/>
                  <a:gd name="T68" fmla="*/ 2 w 5"/>
                  <a:gd name="T6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" h="12">
                    <a:moveTo>
                      <a:pt x="2" y="1"/>
                    </a:move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6"/>
                      <a:pt x="0" y="6"/>
                    </a:cubicBezTo>
                    <a:cubicBezTo>
                      <a:pt x="0" y="6"/>
                      <a:pt x="1" y="7"/>
                      <a:pt x="1" y="7"/>
                    </a:cubicBezTo>
                    <a:cubicBezTo>
                      <a:pt x="1" y="7"/>
                      <a:pt x="1" y="7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1" y="9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2" y="10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3" y="11"/>
                      <a:pt x="3" y="12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1"/>
                      <a:pt x="3" y="10"/>
                    </a:cubicBezTo>
                    <a:cubicBezTo>
                      <a:pt x="2" y="10"/>
                      <a:pt x="2" y="10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4" y="7"/>
                      <a:pt x="4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7"/>
                      <a:pt x="5" y="7"/>
                    </a:cubicBezTo>
                    <a:cubicBezTo>
                      <a:pt x="5" y="7"/>
                      <a:pt x="5" y="7"/>
                      <a:pt x="4" y="7"/>
                    </a:cubicBezTo>
                    <a:cubicBezTo>
                      <a:pt x="4" y="7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3" y="6"/>
                      <a:pt x="3" y="6"/>
                    </a:cubicBezTo>
                    <a:cubicBezTo>
                      <a:pt x="3" y="6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3"/>
                    </a:cubicBezTo>
                    <a:cubicBezTo>
                      <a:pt x="3" y="3"/>
                      <a:pt x="3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1" y="4"/>
                      <a:pt x="1" y="4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41" name="Freeform 176">
                <a:extLst>
                  <a:ext uri="{FF2B5EF4-FFF2-40B4-BE49-F238E27FC236}">
                    <a16:creationId xmlns:a16="http://schemas.microsoft.com/office/drawing/2014/main" id="{06B36939-303E-4BBE-9915-7A4F23009C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9" y="2548"/>
                <a:ext cx="5" cy="5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2 h 2"/>
                  <a:gd name="T4" fmla="*/ 2 w 2"/>
                  <a:gd name="T5" fmla="*/ 1 h 2"/>
                  <a:gd name="T6" fmla="*/ 2 w 2"/>
                  <a:gd name="T7" fmla="*/ 1 h 2"/>
                  <a:gd name="T8" fmla="*/ 2 w 2"/>
                  <a:gd name="T9" fmla="*/ 0 h 2"/>
                  <a:gd name="T10" fmla="*/ 2 w 2"/>
                  <a:gd name="T11" fmla="*/ 0 h 2"/>
                  <a:gd name="T12" fmla="*/ 1 w 2"/>
                  <a:gd name="T13" fmla="*/ 0 h 2"/>
                  <a:gd name="T14" fmla="*/ 0 w 2"/>
                  <a:gd name="T15" fmla="*/ 1 h 2"/>
                  <a:gd name="T16" fmla="*/ 0 w 2"/>
                  <a:gd name="T17" fmla="*/ 1 h 2"/>
                  <a:gd name="T18" fmla="*/ 1 w 2"/>
                  <a:gd name="T19" fmla="*/ 2 h 2"/>
                  <a:gd name="T20" fmla="*/ 1 w 2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1" y="2"/>
                      <a:pt x="2" y="2"/>
                      <a:pt x="2" y="2"/>
                    </a:cubicBezTo>
                    <a:cubicBezTo>
                      <a:pt x="2" y="2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42" name="Freeform 177">
                <a:extLst>
                  <a:ext uri="{FF2B5EF4-FFF2-40B4-BE49-F238E27FC236}">
                    <a16:creationId xmlns:a16="http://schemas.microsoft.com/office/drawing/2014/main" id="{5DB254E6-E880-4D4A-9BE9-1891DBAEAB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80" y="2574"/>
                <a:ext cx="152" cy="98"/>
              </a:xfrm>
              <a:custGeom>
                <a:avLst/>
                <a:gdLst>
                  <a:gd name="T0" fmla="*/ 47 w 64"/>
                  <a:gd name="T1" fmla="*/ 19 h 41"/>
                  <a:gd name="T2" fmla="*/ 45 w 64"/>
                  <a:gd name="T3" fmla="*/ 15 h 41"/>
                  <a:gd name="T4" fmla="*/ 41 w 64"/>
                  <a:gd name="T5" fmla="*/ 13 h 41"/>
                  <a:gd name="T6" fmla="*/ 33 w 64"/>
                  <a:gd name="T7" fmla="*/ 9 h 41"/>
                  <a:gd name="T8" fmla="*/ 31 w 64"/>
                  <a:gd name="T9" fmla="*/ 9 h 41"/>
                  <a:gd name="T10" fmla="*/ 27 w 64"/>
                  <a:gd name="T11" fmla="*/ 8 h 41"/>
                  <a:gd name="T12" fmla="*/ 23 w 64"/>
                  <a:gd name="T13" fmla="*/ 6 h 41"/>
                  <a:gd name="T14" fmla="*/ 20 w 64"/>
                  <a:gd name="T15" fmla="*/ 6 h 41"/>
                  <a:gd name="T16" fmla="*/ 20 w 64"/>
                  <a:gd name="T17" fmla="*/ 7 h 41"/>
                  <a:gd name="T18" fmla="*/ 18 w 64"/>
                  <a:gd name="T19" fmla="*/ 8 h 41"/>
                  <a:gd name="T20" fmla="*/ 16 w 64"/>
                  <a:gd name="T21" fmla="*/ 10 h 41"/>
                  <a:gd name="T22" fmla="*/ 15 w 64"/>
                  <a:gd name="T23" fmla="*/ 12 h 41"/>
                  <a:gd name="T24" fmla="*/ 12 w 64"/>
                  <a:gd name="T25" fmla="*/ 10 h 41"/>
                  <a:gd name="T26" fmla="*/ 11 w 64"/>
                  <a:gd name="T27" fmla="*/ 9 h 41"/>
                  <a:gd name="T28" fmla="*/ 10 w 64"/>
                  <a:gd name="T29" fmla="*/ 3 h 41"/>
                  <a:gd name="T30" fmla="*/ 6 w 64"/>
                  <a:gd name="T31" fmla="*/ 1 h 41"/>
                  <a:gd name="T32" fmla="*/ 4 w 64"/>
                  <a:gd name="T33" fmla="*/ 1 h 41"/>
                  <a:gd name="T34" fmla="*/ 1 w 64"/>
                  <a:gd name="T35" fmla="*/ 2 h 41"/>
                  <a:gd name="T36" fmla="*/ 0 w 64"/>
                  <a:gd name="T37" fmla="*/ 4 h 41"/>
                  <a:gd name="T38" fmla="*/ 2 w 64"/>
                  <a:gd name="T39" fmla="*/ 5 h 41"/>
                  <a:gd name="T40" fmla="*/ 4 w 64"/>
                  <a:gd name="T41" fmla="*/ 6 h 41"/>
                  <a:gd name="T42" fmla="*/ 4 w 64"/>
                  <a:gd name="T43" fmla="*/ 8 h 41"/>
                  <a:gd name="T44" fmla="*/ 7 w 64"/>
                  <a:gd name="T45" fmla="*/ 8 h 41"/>
                  <a:gd name="T46" fmla="*/ 10 w 64"/>
                  <a:gd name="T47" fmla="*/ 8 h 41"/>
                  <a:gd name="T48" fmla="*/ 8 w 64"/>
                  <a:gd name="T49" fmla="*/ 9 h 41"/>
                  <a:gd name="T50" fmla="*/ 5 w 64"/>
                  <a:gd name="T51" fmla="*/ 10 h 41"/>
                  <a:gd name="T52" fmla="*/ 4 w 64"/>
                  <a:gd name="T53" fmla="*/ 11 h 41"/>
                  <a:gd name="T54" fmla="*/ 6 w 64"/>
                  <a:gd name="T55" fmla="*/ 13 h 41"/>
                  <a:gd name="T56" fmla="*/ 7 w 64"/>
                  <a:gd name="T57" fmla="*/ 15 h 41"/>
                  <a:gd name="T58" fmla="*/ 9 w 64"/>
                  <a:gd name="T59" fmla="*/ 13 h 41"/>
                  <a:gd name="T60" fmla="*/ 9 w 64"/>
                  <a:gd name="T61" fmla="*/ 13 h 41"/>
                  <a:gd name="T62" fmla="*/ 12 w 64"/>
                  <a:gd name="T63" fmla="*/ 15 h 41"/>
                  <a:gd name="T64" fmla="*/ 13 w 64"/>
                  <a:gd name="T65" fmla="*/ 16 h 41"/>
                  <a:gd name="T66" fmla="*/ 17 w 64"/>
                  <a:gd name="T67" fmla="*/ 18 h 41"/>
                  <a:gd name="T68" fmla="*/ 25 w 64"/>
                  <a:gd name="T69" fmla="*/ 25 h 41"/>
                  <a:gd name="T70" fmla="*/ 25 w 64"/>
                  <a:gd name="T71" fmla="*/ 27 h 41"/>
                  <a:gd name="T72" fmla="*/ 26 w 64"/>
                  <a:gd name="T73" fmla="*/ 29 h 41"/>
                  <a:gd name="T74" fmla="*/ 28 w 64"/>
                  <a:gd name="T75" fmla="*/ 31 h 41"/>
                  <a:gd name="T76" fmla="*/ 31 w 64"/>
                  <a:gd name="T77" fmla="*/ 32 h 41"/>
                  <a:gd name="T78" fmla="*/ 35 w 64"/>
                  <a:gd name="T79" fmla="*/ 35 h 41"/>
                  <a:gd name="T80" fmla="*/ 39 w 64"/>
                  <a:gd name="T81" fmla="*/ 32 h 41"/>
                  <a:gd name="T82" fmla="*/ 40 w 64"/>
                  <a:gd name="T83" fmla="*/ 30 h 41"/>
                  <a:gd name="T84" fmla="*/ 41 w 64"/>
                  <a:gd name="T85" fmla="*/ 29 h 41"/>
                  <a:gd name="T86" fmla="*/ 44 w 64"/>
                  <a:gd name="T87" fmla="*/ 29 h 41"/>
                  <a:gd name="T88" fmla="*/ 50 w 64"/>
                  <a:gd name="T89" fmla="*/ 33 h 41"/>
                  <a:gd name="T90" fmla="*/ 53 w 64"/>
                  <a:gd name="T91" fmla="*/ 38 h 41"/>
                  <a:gd name="T92" fmla="*/ 57 w 64"/>
                  <a:gd name="T93" fmla="*/ 39 h 41"/>
                  <a:gd name="T94" fmla="*/ 61 w 64"/>
                  <a:gd name="T95" fmla="*/ 39 h 41"/>
                  <a:gd name="T96" fmla="*/ 63 w 64"/>
                  <a:gd name="T97" fmla="*/ 41 h 41"/>
                  <a:gd name="T98" fmla="*/ 63 w 64"/>
                  <a:gd name="T99" fmla="*/ 39 h 41"/>
                  <a:gd name="T100" fmla="*/ 61 w 64"/>
                  <a:gd name="T101" fmla="*/ 38 h 41"/>
                  <a:gd name="T102" fmla="*/ 59 w 64"/>
                  <a:gd name="T103" fmla="*/ 36 h 41"/>
                  <a:gd name="T104" fmla="*/ 58 w 64"/>
                  <a:gd name="T105" fmla="*/ 34 h 41"/>
                  <a:gd name="T106" fmla="*/ 56 w 64"/>
                  <a:gd name="T107" fmla="*/ 32 h 41"/>
                  <a:gd name="T108" fmla="*/ 54 w 64"/>
                  <a:gd name="T109" fmla="*/ 30 h 41"/>
                  <a:gd name="T110" fmla="*/ 52 w 64"/>
                  <a:gd name="T111" fmla="*/ 27 h 41"/>
                  <a:gd name="T112" fmla="*/ 54 w 64"/>
                  <a:gd name="T113" fmla="*/ 25 h 41"/>
                  <a:gd name="T114" fmla="*/ 52 w 64"/>
                  <a:gd name="T115" fmla="*/ 22 h 41"/>
                  <a:gd name="T116" fmla="*/ 31 w 64"/>
                  <a:gd name="T117" fmla="*/ 25 h 41"/>
                  <a:gd name="T118" fmla="*/ 32 w 64"/>
                  <a:gd name="T119" fmla="*/ 2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4" h="41">
                    <a:moveTo>
                      <a:pt x="50" y="21"/>
                    </a:moveTo>
                    <a:cubicBezTo>
                      <a:pt x="49" y="21"/>
                      <a:pt x="49" y="20"/>
                      <a:pt x="48" y="20"/>
                    </a:cubicBezTo>
                    <a:cubicBezTo>
                      <a:pt x="48" y="20"/>
                      <a:pt x="48" y="20"/>
                      <a:pt x="48" y="20"/>
                    </a:cubicBezTo>
                    <a:cubicBezTo>
                      <a:pt x="48" y="20"/>
                      <a:pt x="47" y="20"/>
                      <a:pt x="47" y="19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8" y="18"/>
                      <a:pt x="47" y="17"/>
                      <a:pt x="46" y="17"/>
                    </a:cubicBezTo>
                    <a:cubicBezTo>
                      <a:pt x="46" y="16"/>
                      <a:pt x="45" y="16"/>
                      <a:pt x="45" y="16"/>
                    </a:cubicBezTo>
                    <a:cubicBezTo>
                      <a:pt x="45" y="15"/>
                      <a:pt x="45" y="15"/>
                      <a:pt x="45" y="15"/>
                    </a:cubicBezTo>
                    <a:cubicBezTo>
                      <a:pt x="44" y="15"/>
                      <a:pt x="44" y="14"/>
                      <a:pt x="44" y="14"/>
                    </a:cubicBezTo>
                    <a:cubicBezTo>
                      <a:pt x="44" y="14"/>
                      <a:pt x="43" y="15"/>
                      <a:pt x="43" y="14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42" y="14"/>
                      <a:pt x="41" y="14"/>
                      <a:pt x="41" y="13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40" y="13"/>
                      <a:pt x="39" y="12"/>
                      <a:pt x="38" y="12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12"/>
                      <a:pt x="37" y="11"/>
                      <a:pt x="36" y="11"/>
                    </a:cubicBezTo>
                    <a:cubicBezTo>
                      <a:pt x="35" y="10"/>
                      <a:pt x="34" y="10"/>
                      <a:pt x="34" y="10"/>
                    </a:cubicBezTo>
                    <a:cubicBezTo>
                      <a:pt x="33" y="10"/>
                      <a:pt x="33" y="9"/>
                      <a:pt x="33" y="9"/>
                    </a:cubicBezTo>
                    <a:cubicBezTo>
                      <a:pt x="33" y="9"/>
                      <a:pt x="33" y="9"/>
                      <a:pt x="33" y="9"/>
                    </a:cubicBezTo>
                    <a:cubicBezTo>
                      <a:pt x="33" y="9"/>
                      <a:pt x="33" y="9"/>
                      <a:pt x="33" y="9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9"/>
                      <a:pt x="30" y="8"/>
                      <a:pt x="30" y="9"/>
                    </a:cubicBezTo>
                    <a:cubicBezTo>
                      <a:pt x="30" y="9"/>
                      <a:pt x="30" y="9"/>
                      <a:pt x="30" y="8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30" y="8"/>
                      <a:pt x="30" y="8"/>
                      <a:pt x="29" y="8"/>
                    </a:cubicBezTo>
                    <a:cubicBezTo>
                      <a:pt x="28" y="8"/>
                      <a:pt x="28" y="8"/>
                      <a:pt x="27" y="8"/>
                    </a:cubicBezTo>
                    <a:cubicBezTo>
                      <a:pt x="27" y="8"/>
                      <a:pt x="27" y="7"/>
                      <a:pt x="26" y="7"/>
                    </a:cubicBezTo>
                    <a:cubicBezTo>
                      <a:pt x="26" y="7"/>
                      <a:pt x="25" y="7"/>
                      <a:pt x="25" y="7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3" y="5"/>
                      <a:pt x="22" y="5"/>
                      <a:pt x="22" y="5"/>
                    </a:cubicBezTo>
                    <a:cubicBezTo>
                      <a:pt x="22" y="5"/>
                      <a:pt x="22" y="5"/>
                      <a:pt x="22" y="5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1" y="5"/>
                      <a:pt x="21" y="6"/>
                      <a:pt x="20" y="6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0" y="7"/>
                      <a:pt x="19" y="7"/>
                      <a:pt x="19" y="7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7" y="8"/>
                      <a:pt x="17" y="8"/>
                      <a:pt x="17" y="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1"/>
                      <a:pt x="15" y="12"/>
                      <a:pt x="15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12"/>
                      <a:pt x="15" y="13"/>
                      <a:pt x="14" y="13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3" y="11"/>
                      <a:pt x="12" y="11"/>
                      <a:pt x="13" y="11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2" y="11"/>
                      <a:pt x="12" y="10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0"/>
                      <a:pt x="12" y="8"/>
                      <a:pt x="12" y="9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1" y="9"/>
                      <a:pt x="11" y="9"/>
                      <a:pt x="11" y="8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6"/>
                      <a:pt x="10" y="5"/>
                      <a:pt x="11" y="5"/>
                    </a:cubicBezTo>
                    <a:cubicBezTo>
                      <a:pt x="11" y="4"/>
                      <a:pt x="12" y="4"/>
                      <a:pt x="11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2"/>
                      <a:pt x="9" y="2"/>
                      <a:pt x="8" y="2"/>
                    </a:cubicBezTo>
                    <a:cubicBezTo>
                      <a:pt x="8" y="2"/>
                      <a:pt x="8" y="2"/>
                      <a:pt x="7" y="2"/>
                    </a:cubicBezTo>
                    <a:cubicBezTo>
                      <a:pt x="7" y="1"/>
                      <a:pt x="7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5" y="0"/>
                      <a:pt x="5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4"/>
                      <a:pt x="1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7"/>
                      <a:pt x="4" y="7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7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8"/>
                      <a:pt x="8" y="8"/>
                      <a:pt x="8" y="8"/>
                    </a:cubicBezTo>
                    <a:cubicBezTo>
                      <a:pt x="8" y="8"/>
                      <a:pt x="9" y="8"/>
                      <a:pt x="9" y="8"/>
                    </a:cubicBezTo>
                    <a:cubicBezTo>
                      <a:pt x="9" y="7"/>
                      <a:pt x="9" y="7"/>
                      <a:pt x="9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8"/>
                      <a:pt x="9" y="9"/>
                      <a:pt x="9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9" y="9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7" y="9"/>
                      <a:pt x="7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9"/>
                      <a:pt x="6" y="9"/>
                      <a:pt x="6" y="9"/>
                    </a:cubicBezTo>
                    <a:cubicBezTo>
                      <a:pt x="6" y="10"/>
                      <a:pt x="7" y="10"/>
                      <a:pt x="6" y="1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10"/>
                      <a:pt x="5" y="10"/>
                      <a:pt x="4" y="10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4" y="10"/>
                      <a:pt x="3" y="10"/>
                      <a:pt x="3" y="10"/>
                    </a:cubicBezTo>
                    <a:cubicBezTo>
                      <a:pt x="3" y="10"/>
                      <a:pt x="4" y="10"/>
                      <a:pt x="4" y="10"/>
                    </a:cubicBezTo>
                    <a:cubicBezTo>
                      <a:pt x="4" y="10"/>
                      <a:pt x="4" y="11"/>
                      <a:pt x="4" y="11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2"/>
                      <a:pt x="6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4"/>
                      <a:pt x="6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4"/>
                      <a:pt x="7" y="15"/>
                      <a:pt x="7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5"/>
                      <a:pt x="7" y="15"/>
                      <a:pt x="8" y="15"/>
                    </a:cubicBezTo>
                    <a:cubicBezTo>
                      <a:pt x="8" y="15"/>
                      <a:pt x="8" y="14"/>
                      <a:pt x="8" y="14"/>
                    </a:cubicBezTo>
                    <a:cubicBezTo>
                      <a:pt x="8" y="14"/>
                      <a:pt x="8" y="14"/>
                      <a:pt x="8" y="13"/>
                    </a:cubicBezTo>
                    <a:cubicBezTo>
                      <a:pt x="8" y="13"/>
                      <a:pt x="9" y="13"/>
                      <a:pt x="9" y="13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9" y="12"/>
                      <a:pt x="9" y="12"/>
                      <a:pt x="9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9" y="11"/>
                      <a:pt x="10" y="11"/>
                      <a:pt x="9" y="11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9" y="14"/>
                      <a:pt x="10" y="14"/>
                      <a:pt x="10" y="14"/>
                    </a:cubicBezTo>
                    <a:cubicBezTo>
                      <a:pt x="10" y="14"/>
                      <a:pt x="11" y="14"/>
                      <a:pt x="11" y="14"/>
                    </a:cubicBezTo>
                    <a:cubicBezTo>
                      <a:pt x="11" y="15"/>
                      <a:pt x="11" y="15"/>
                      <a:pt x="12" y="15"/>
                    </a:cubicBezTo>
                    <a:cubicBezTo>
                      <a:pt x="12" y="15"/>
                      <a:pt x="12" y="14"/>
                      <a:pt x="12" y="15"/>
                    </a:cubicBezTo>
                    <a:cubicBezTo>
                      <a:pt x="12" y="15"/>
                      <a:pt x="13" y="15"/>
                      <a:pt x="12" y="15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3" y="16"/>
                      <a:pt x="14" y="16"/>
                      <a:pt x="15" y="17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8" y="18"/>
                      <a:pt x="18" y="18"/>
                      <a:pt x="19" y="18"/>
                    </a:cubicBezTo>
                    <a:cubicBezTo>
                      <a:pt x="20" y="18"/>
                      <a:pt x="20" y="18"/>
                      <a:pt x="21" y="19"/>
                    </a:cubicBezTo>
                    <a:cubicBezTo>
                      <a:pt x="22" y="19"/>
                      <a:pt x="22" y="19"/>
                      <a:pt x="23" y="20"/>
                    </a:cubicBezTo>
                    <a:cubicBezTo>
                      <a:pt x="23" y="22"/>
                      <a:pt x="24" y="21"/>
                      <a:pt x="24" y="23"/>
                    </a:cubicBezTo>
                    <a:cubicBezTo>
                      <a:pt x="24" y="24"/>
                      <a:pt x="25" y="25"/>
                      <a:pt x="25" y="25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5" y="25"/>
                      <a:pt x="25" y="26"/>
                      <a:pt x="25" y="26"/>
                    </a:cubicBezTo>
                    <a:cubicBezTo>
                      <a:pt x="25" y="26"/>
                      <a:pt x="25" y="26"/>
                      <a:pt x="25" y="26"/>
                    </a:cubicBezTo>
                    <a:cubicBezTo>
                      <a:pt x="25" y="26"/>
                      <a:pt x="25" y="27"/>
                      <a:pt x="25" y="27"/>
                    </a:cubicBezTo>
                    <a:cubicBezTo>
                      <a:pt x="25" y="27"/>
                      <a:pt x="25" y="27"/>
                      <a:pt x="25" y="27"/>
                    </a:cubicBezTo>
                    <a:cubicBezTo>
                      <a:pt x="26" y="27"/>
                      <a:pt x="26" y="27"/>
                      <a:pt x="25" y="27"/>
                    </a:cubicBezTo>
                    <a:cubicBezTo>
                      <a:pt x="25" y="27"/>
                      <a:pt x="25" y="27"/>
                      <a:pt x="25" y="28"/>
                    </a:cubicBezTo>
                    <a:cubicBezTo>
                      <a:pt x="25" y="28"/>
                      <a:pt x="26" y="28"/>
                      <a:pt x="26" y="28"/>
                    </a:cubicBezTo>
                    <a:cubicBezTo>
                      <a:pt x="26" y="28"/>
                      <a:pt x="27" y="29"/>
                      <a:pt x="27" y="29"/>
                    </a:cubicBezTo>
                    <a:cubicBezTo>
                      <a:pt x="27" y="29"/>
                      <a:pt x="26" y="29"/>
                      <a:pt x="26" y="29"/>
                    </a:cubicBezTo>
                    <a:cubicBezTo>
                      <a:pt x="26" y="29"/>
                      <a:pt x="26" y="29"/>
                      <a:pt x="26" y="30"/>
                    </a:cubicBezTo>
                    <a:cubicBezTo>
                      <a:pt x="26" y="30"/>
                      <a:pt x="26" y="30"/>
                      <a:pt x="26" y="30"/>
                    </a:cubicBezTo>
                    <a:cubicBezTo>
                      <a:pt x="26" y="31"/>
                      <a:pt x="26" y="31"/>
                      <a:pt x="26" y="31"/>
                    </a:cubicBezTo>
                    <a:cubicBezTo>
                      <a:pt x="26" y="31"/>
                      <a:pt x="27" y="31"/>
                      <a:pt x="27" y="31"/>
                    </a:cubicBezTo>
                    <a:cubicBezTo>
                      <a:pt x="27" y="31"/>
                      <a:pt x="27" y="31"/>
                      <a:pt x="28" y="31"/>
                    </a:cubicBezTo>
                    <a:cubicBezTo>
                      <a:pt x="28" y="31"/>
                      <a:pt x="28" y="31"/>
                      <a:pt x="29" y="31"/>
                    </a:cubicBezTo>
                    <a:cubicBezTo>
                      <a:pt x="29" y="31"/>
                      <a:pt x="29" y="30"/>
                      <a:pt x="29" y="30"/>
                    </a:cubicBezTo>
                    <a:cubicBezTo>
                      <a:pt x="29" y="30"/>
                      <a:pt x="29" y="30"/>
                      <a:pt x="29" y="31"/>
                    </a:cubicBezTo>
                    <a:cubicBezTo>
                      <a:pt x="29" y="31"/>
                      <a:pt x="30" y="31"/>
                      <a:pt x="30" y="32"/>
                    </a:cubicBezTo>
                    <a:cubicBezTo>
                      <a:pt x="31" y="32"/>
                      <a:pt x="31" y="32"/>
                      <a:pt x="31" y="32"/>
                    </a:cubicBezTo>
                    <a:cubicBezTo>
                      <a:pt x="31" y="33"/>
                      <a:pt x="31" y="33"/>
                      <a:pt x="31" y="34"/>
                    </a:cubicBezTo>
                    <a:cubicBezTo>
                      <a:pt x="32" y="34"/>
                      <a:pt x="32" y="35"/>
                      <a:pt x="32" y="35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4" y="35"/>
                      <a:pt x="35" y="35"/>
                      <a:pt x="35" y="35"/>
                    </a:cubicBezTo>
                    <a:cubicBezTo>
                      <a:pt x="36" y="35"/>
                      <a:pt x="36" y="35"/>
                      <a:pt x="37" y="35"/>
                    </a:cubicBezTo>
                    <a:cubicBezTo>
                      <a:pt x="38" y="35"/>
                      <a:pt x="37" y="35"/>
                      <a:pt x="38" y="35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40" y="34"/>
                      <a:pt x="40" y="33"/>
                      <a:pt x="40" y="33"/>
                    </a:cubicBezTo>
                    <a:cubicBezTo>
                      <a:pt x="40" y="33"/>
                      <a:pt x="40" y="32"/>
                      <a:pt x="39" y="32"/>
                    </a:cubicBezTo>
                    <a:cubicBezTo>
                      <a:pt x="38" y="32"/>
                      <a:pt x="38" y="32"/>
                      <a:pt x="38" y="31"/>
                    </a:cubicBezTo>
                    <a:cubicBezTo>
                      <a:pt x="38" y="31"/>
                      <a:pt x="38" y="31"/>
                      <a:pt x="39" y="31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40" y="31"/>
                      <a:pt x="41" y="31"/>
                      <a:pt x="41" y="31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0" y="30"/>
                      <a:pt x="40" y="30"/>
                      <a:pt x="41" y="30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1" y="30"/>
                      <a:pt x="41" y="30"/>
                      <a:pt x="41" y="29"/>
                    </a:cubicBezTo>
                    <a:cubicBezTo>
                      <a:pt x="41" y="29"/>
                      <a:pt x="41" y="29"/>
                      <a:pt x="41" y="29"/>
                    </a:cubicBezTo>
                    <a:cubicBezTo>
                      <a:pt x="41" y="28"/>
                      <a:pt x="41" y="28"/>
                      <a:pt x="41" y="28"/>
                    </a:cubicBezTo>
                    <a:cubicBezTo>
                      <a:pt x="42" y="29"/>
                      <a:pt x="43" y="29"/>
                      <a:pt x="43" y="29"/>
                    </a:cubicBezTo>
                    <a:cubicBezTo>
                      <a:pt x="43" y="29"/>
                      <a:pt x="43" y="29"/>
                      <a:pt x="43" y="29"/>
                    </a:cubicBezTo>
                    <a:cubicBezTo>
                      <a:pt x="43" y="29"/>
                      <a:pt x="43" y="28"/>
                      <a:pt x="43" y="28"/>
                    </a:cubicBezTo>
                    <a:cubicBezTo>
                      <a:pt x="44" y="28"/>
                      <a:pt x="44" y="29"/>
                      <a:pt x="44" y="29"/>
                    </a:cubicBezTo>
                    <a:cubicBezTo>
                      <a:pt x="45" y="29"/>
                      <a:pt x="44" y="29"/>
                      <a:pt x="45" y="29"/>
                    </a:cubicBezTo>
                    <a:cubicBezTo>
                      <a:pt x="46" y="30"/>
                      <a:pt x="47" y="30"/>
                      <a:pt x="47" y="30"/>
                    </a:cubicBezTo>
                    <a:cubicBezTo>
                      <a:pt x="47" y="30"/>
                      <a:pt x="47" y="29"/>
                      <a:pt x="48" y="30"/>
                    </a:cubicBezTo>
                    <a:cubicBezTo>
                      <a:pt x="49" y="31"/>
                      <a:pt x="49" y="31"/>
                      <a:pt x="49" y="31"/>
                    </a:cubicBezTo>
                    <a:cubicBezTo>
                      <a:pt x="49" y="32"/>
                      <a:pt x="50" y="33"/>
                      <a:pt x="50" y="33"/>
                    </a:cubicBezTo>
                    <a:cubicBezTo>
                      <a:pt x="50" y="34"/>
                      <a:pt x="50" y="33"/>
                      <a:pt x="51" y="34"/>
                    </a:cubicBezTo>
                    <a:cubicBezTo>
                      <a:pt x="51" y="35"/>
                      <a:pt x="51" y="35"/>
                      <a:pt x="52" y="35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2" y="36"/>
                      <a:pt x="53" y="37"/>
                      <a:pt x="53" y="37"/>
                    </a:cubicBezTo>
                    <a:cubicBezTo>
                      <a:pt x="53" y="38"/>
                      <a:pt x="53" y="37"/>
                      <a:pt x="53" y="38"/>
                    </a:cubicBezTo>
                    <a:cubicBezTo>
                      <a:pt x="54" y="38"/>
                      <a:pt x="53" y="39"/>
                      <a:pt x="54" y="38"/>
                    </a:cubicBezTo>
                    <a:cubicBezTo>
                      <a:pt x="55" y="38"/>
                      <a:pt x="55" y="38"/>
                      <a:pt x="55" y="38"/>
                    </a:cubicBezTo>
                    <a:cubicBezTo>
                      <a:pt x="55" y="39"/>
                      <a:pt x="55" y="39"/>
                      <a:pt x="56" y="39"/>
                    </a:cubicBezTo>
                    <a:cubicBezTo>
                      <a:pt x="56" y="39"/>
                      <a:pt x="57" y="38"/>
                      <a:pt x="57" y="39"/>
                    </a:cubicBezTo>
                    <a:cubicBezTo>
                      <a:pt x="57" y="39"/>
                      <a:pt x="57" y="39"/>
                      <a:pt x="57" y="39"/>
                    </a:cubicBezTo>
                    <a:cubicBezTo>
                      <a:pt x="58" y="39"/>
                      <a:pt x="58" y="39"/>
                      <a:pt x="58" y="39"/>
                    </a:cubicBezTo>
                    <a:cubicBezTo>
                      <a:pt x="58" y="39"/>
                      <a:pt x="58" y="39"/>
                      <a:pt x="58" y="39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39"/>
                      <a:pt x="60" y="39"/>
                      <a:pt x="60" y="39"/>
                    </a:cubicBezTo>
                    <a:cubicBezTo>
                      <a:pt x="60" y="39"/>
                      <a:pt x="61" y="39"/>
                      <a:pt x="61" y="39"/>
                    </a:cubicBezTo>
                    <a:cubicBezTo>
                      <a:pt x="61" y="40"/>
                      <a:pt x="61" y="40"/>
                      <a:pt x="61" y="40"/>
                    </a:cubicBezTo>
                    <a:cubicBezTo>
                      <a:pt x="61" y="40"/>
                      <a:pt x="61" y="40"/>
                      <a:pt x="61" y="40"/>
                    </a:cubicBezTo>
                    <a:cubicBezTo>
                      <a:pt x="61" y="40"/>
                      <a:pt x="61" y="40"/>
                      <a:pt x="61" y="40"/>
                    </a:cubicBezTo>
                    <a:cubicBezTo>
                      <a:pt x="61" y="40"/>
                      <a:pt x="61" y="40"/>
                      <a:pt x="61" y="40"/>
                    </a:cubicBezTo>
                    <a:cubicBezTo>
                      <a:pt x="61" y="40"/>
                      <a:pt x="62" y="41"/>
                      <a:pt x="63" y="41"/>
                    </a:cubicBezTo>
                    <a:cubicBezTo>
                      <a:pt x="63" y="41"/>
                      <a:pt x="63" y="41"/>
                      <a:pt x="63" y="41"/>
                    </a:cubicBezTo>
                    <a:cubicBezTo>
                      <a:pt x="63" y="40"/>
                      <a:pt x="63" y="40"/>
                      <a:pt x="63" y="40"/>
                    </a:cubicBezTo>
                    <a:cubicBezTo>
                      <a:pt x="63" y="40"/>
                      <a:pt x="63" y="40"/>
                      <a:pt x="63" y="40"/>
                    </a:cubicBezTo>
                    <a:cubicBezTo>
                      <a:pt x="63" y="40"/>
                      <a:pt x="63" y="40"/>
                      <a:pt x="63" y="40"/>
                    </a:cubicBezTo>
                    <a:cubicBezTo>
                      <a:pt x="62" y="39"/>
                      <a:pt x="63" y="39"/>
                      <a:pt x="63" y="39"/>
                    </a:cubicBezTo>
                    <a:cubicBezTo>
                      <a:pt x="63" y="39"/>
                      <a:pt x="63" y="39"/>
                      <a:pt x="63" y="39"/>
                    </a:cubicBezTo>
                    <a:cubicBezTo>
                      <a:pt x="63" y="39"/>
                      <a:pt x="63" y="39"/>
                      <a:pt x="63" y="39"/>
                    </a:cubicBezTo>
                    <a:cubicBezTo>
                      <a:pt x="64" y="39"/>
                      <a:pt x="64" y="39"/>
                      <a:pt x="63" y="39"/>
                    </a:cubicBezTo>
                    <a:cubicBezTo>
                      <a:pt x="63" y="39"/>
                      <a:pt x="63" y="38"/>
                      <a:pt x="62" y="38"/>
                    </a:cubicBezTo>
                    <a:cubicBezTo>
                      <a:pt x="62" y="38"/>
                      <a:pt x="62" y="38"/>
                      <a:pt x="61" y="38"/>
                    </a:cubicBezTo>
                    <a:cubicBezTo>
                      <a:pt x="61" y="38"/>
                      <a:pt x="61" y="38"/>
                      <a:pt x="61" y="38"/>
                    </a:cubicBezTo>
                    <a:cubicBezTo>
                      <a:pt x="60" y="37"/>
                      <a:pt x="60" y="37"/>
                      <a:pt x="61" y="37"/>
                    </a:cubicBezTo>
                    <a:cubicBezTo>
                      <a:pt x="61" y="37"/>
                      <a:pt x="61" y="37"/>
                      <a:pt x="61" y="37"/>
                    </a:cubicBezTo>
                    <a:cubicBezTo>
                      <a:pt x="61" y="36"/>
                      <a:pt x="61" y="36"/>
                      <a:pt x="61" y="36"/>
                    </a:cubicBezTo>
                    <a:cubicBezTo>
                      <a:pt x="60" y="36"/>
                      <a:pt x="59" y="36"/>
                      <a:pt x="59" y="36"/>
                    </a:cubicBezTo>
                    <a:cubicBezTo>
                      <a:pt x="59" y="36"/>
                      <a:pt x="59" y="36"/>
                      <a:pt x="59" y="36"/>
                    </a:cubicBezTo>
                    <a:cubicBezTo>
                      <a:pt x="58" y="36"/>
                      <a:pt x="59" y="36"/>
                      <a:pt x="59" y="35"/>
                    </a:cubicBezTo>
                    <a:cubicBezTo>
                      <a:pt x="59" y="35"/>
                      <a:pt x="59" y="35"/>
                      <a:pt x="59" y="35"/>
                    </a:cubicBezTo>
                    <a:cubicBezTo>
                      <a:pt x="59" y="34"/>
                      <a:pt x="59" y="34"/>
                      <a:pt x="59" y="34"/>
                    </a:cubicBezTo>
                    <a:cubicBezTo>
                      <a:pt x="59" y="34"/>
                      <a:pt x="59" y="34"/>
                      <a:pt x="58" y="34"/>
                    </a:cubicBezTo>
                    <a:cubicBezTo>
                      <a:pt x="58" y="34"/>
                      <a:pt x="58" y="34"/>
                      <a:pt x="58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34"/>
                      <a:pt x="56" y="34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2"/>
                      <a:pt x="56" y="32"/>
                    </a:cubicBezTo>
                    <a:cubicBezTo>
                      <a:pt x="56" y="32"/>
                      <a:pt x="55" y="32"/>
                      <a:pt x="55" y="31"/>
                    </a:cubicBezTo>
                    <a:cubicBezTo>
                      <a:pt x="55" y="31"/>
                      <a:pt x="55" y="31"/>
                      <a:pt x="55" y="30"/>
                    </a:cubicBezTo>
                    <a:cubicBezTo>
                      <a:pt x="55" y="30"/>
                      <a:pt x="55" y="30"/>
                      <a:pt x="55" y="30"/>
                    </a:cubicBezTo>
                    <a:cubicBezTo>
                      <a:pt x="55" y="30"/>
                      <a:pt x="54" y="30"/>
                      <a:pt x="54" y="30"/>
                    </a:cubicBezTo>
                    <a:cubicBezTo>
                      <a:pt x="54" y="30"/>
                      <a:pt x="54" y="30"/>
                      <a:pt x="54" y="30"/>
                    </a:cubicBezTo>
                    <a:cubicBezTo>
                      <a:pt x="54" y="30"/>
                      <a:pt x="54" y="29"/>
                      <a:pt x="53" y="29"/>
                    </a:cubicBezTo>
                    <a:cubicBezTo>
                      <a:pt x="53" y="29"/>
                      <a:pt x="53" y="29"/>
                      <a:pt x="53" y="28"/>
                    </a:cubicBezTo>
                    <a:cubicBezTo>
                      <a:pt x="53" y="28"/>
                      <a:pt x="52" y="28"/>
                      <a:pt x="52" y="28"/>
                    </a:cubicBezTo>
                    <a:cubicBezTo>
                      <a:pt x="52" y="28"/>
                      <a:pt x="52" y="28"/>
                      <a:pt x="52" y="28"/>
                    </a:cubicBezTo>
                    <a:cubicBezTo>
                      <a:pt x="52" y="27"/>
                      <a:pt x="52" y="27"/>
                      <a:pt x="52" y="27"/>
                    </a:cubicBezTo>
                    <a:cubicBezTo>
                      <a:pt x="52" y="27"/>
                      <a:pt x="51" y="26"/>
                      <a:pt x="51" y="26"/>
                    </a:cubicBezTo>
                    <a:cubicBezTo>
                      <a:pt x="51" y="26"/>
                      <a:pt x="51" y="25"/>
                      <a:pt x="51" y="25"/>
                    </a:cubicBezTo>
                    <a:cubicBezTo>
                      <a:pt x="51" y="25"/>
                      <a:pt x="52" y="25"/>
                      <a:pt x="52" y="25"/>
                    </a:cubicBezTo>
                    <a:cubicBezTo>
                      <a:pt x="53" y="25"/>
                      <a:pt x="53" y="25"/>
                      <a:pt x="53" y="25"/>
                    </a:cubicBezTo>
                    <a:cubicBezTo>
                      <a:pt x="53" y="25"/>
                      <a:pt x="53" y="25"/>
                      <a:pt x="54" y="25"/>
                    </a:cubicBezTo>
                    <a:cubicBezTo>
                      <a:pt x="54" y="25"/>
                      <a:pt x="54" y="25"/>
                      <a:pt x="54" y="24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24"/>
                      <a:pt x="54" y="23"/>
                      <a:pt x="54" y="23"/>
                    </a:cubicBezTo>
                    <a:cubicBezTo>
                      <a:pt x="54" y="23"/>
                      <a:pt x="53" y="22"/>
                      <a:pt x="53" y="22"/>
                    </a:cubicBezTo>
                    <a:cubicBezTo>
                      <a:pt x="53" y="22"/>
                      <a:pt x="52" y="22"/>
                      <a:pt x="52" y="22"/>
                    </a:cubicBezTo>
                    <a:cubicBezTo>
                      <a:pt x="52" y="22"/>
                      <a:pt x="51" y="22"/>
                      <a:pt x="51" y="22"/>
                    </a:cubicBezTo>
                    <a:cubicBezTo>
                      <a:pt x="51" y="22"/>
                      <a:pt x="51" y="22"/>
                      <a:pt x="51" y="22"/>
                    </a:cubicBezTo>
                    <a:cubicBezTo>
                      <a:pt x="51" y="21"/>
                      <a:pt x="50" y="21"/>
                      <a:pt x="50" y="21"/>
                    </a:cubicBezTo>
                    <a:close/>
                    <a:moveTo>
                      <a:pt x="31" y="25"/>
                    </a:moveTo>
                    <a:cubicBezTo>
                      <a:pt x="31" y="25"/>
                      <a:pt x="31" y="25"/>
                      <a:pt x="31" y="25"/>
                    </a:cubicBezTo>
                    <a:cubicBezTo>
                      <a:pt x="32" y="24"/>
                      <a:pt x="32" y="24"/>
                      <a:pt x="32" y="24"/>
                    </a:cubicBezTo>
                    <a:lnTo>
                      <a:pt x="31" y="25"/>
                    </a:lnTo>
                    <a:close/>
                    <a:moveTo>
                      <a:pt x="32" y="26"/>
                    </a:moveTo>
                    <a:cubicBezTo>
                      <a:pt x="32" y="26"/>
                      <a:pt x="32" y="26"/>
                      <a:pt x="32" y="26"/>
                    </a:cubicBezTo>
                    <a:cubicBezTo>
                      <a:pt x="32" y="26"/>
                      <a:pt x="32" y="26"/>
                      <a:pt x="32" y="2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43" name="Freeform 178">
                <a:extLst>
                  <a:ext uri="{FF2B5EF4-FFF2-40B4-BE49-F238E27FC236}">
                    <a16:creationId xmlns:a16="http://schemas.microsoft.com/office/drawing/2014/main" id="{5C44F10E-C08E-4A50-9A81-B5B3517A1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3" y="2641"/>
                <a:ext cx="9" cy="9"/>
              </a:xfrm>
              <a:custGeom>
                <a:avLst/>
                <a:gdLst>
                  <a:gd name="T0" fmla="*/ 2 w 4"/>
                  <a:gd name="T1" fmla="*/ 0 h 4"/>
                  <a:gd name="T2" fmla="*/ 1 w 4"/>
                  <a:gd name="T3" fmla="*/ 0 h 4"/>
                  <a:gd name="T4" fmla="*/ 1 w 4"/>
                  <a:gd name="T5" fmla="*/ 1 h 4"/>
                  <a:gd name="T6" fmla="*/ 1 w 4"/>
                  <a:gd name="T7" fmla="*/ 1 h 4"/>
                  <a:gd name="T8" fmla="*/ 0 w 4"/>
                  <a:gd name="T9" fmla="*/ 2 h 4"/>
                  <a:gd name="T10" fmla="*/ 0 w 4"/>
                  <a:gd name="T11" fmla="*/ 2 h 4"/>
                  <a:gd name="T12" fmla="*/ 0 w 4"/>
                  <a:gd name="T13" fmla="*/ 3 h 4"/>
                  <a:gd name="T14" fmla="*/ 0 w 4"/>
                  <a:gd name="T15" fmla="*/ 3 h 4"/>
                  <a:gd name="T16" fmla="*/ 1 w 4"/>
                  <a:gd name="T17" fmla="*/ 3 h 4"/>
                  <a:gd name="T18" fmla="*/ 1 w 4"/>
                  <a:gd name="T19" fmla="*/ 4 h 4"/>
                  <a:gd name="T20" fmla="*/ 3 w 4"/>
                  <a:gd name="T21" fmla="*/ 3 h 4"/>
                  <a:gd name="T22" fmla="*/ 3 w 4"/>
                  <a:gd name="T23" fmla="*/ 3 h 4"/>
                  <a:gd name="T24" fmla="*/ 3 w 4"/>
                  <a:gd name="T25" fmla="*/ 3 h 4"/>
                  <a:gd name="T26" fmla="*/ 3 w 4"/>
                  <a:gd name="T27" fmla="*/ 2 h 4"/>
                  <a:gd name="T28" fmla="*/ 3 w 4"/>
                  <a:gd name="T29" fmla="*/ 1 h 4"/>
                  <a:gd name="T30" fmla="*/ 4 w 4"/>
                  <a:gd name="T31" fmla="*/ 1 h 4"/>
                  <a:gd name="T32" fmla="*/ 3 w 4"/>
                  <a:gd name="T33" fmla="*/ 0 h 4"/>
                  <a:gd name="T34" fmla="*/ 2 w 4"/>
                  <a:gd name="T35" fmla="*/ 0 h 4"/>
                  <a:gd name="T36" fmla="*/ 2 w 4"/>
                  <a:gd name="T3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cubicBezTo>
                      <a:pt x="2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1" y="3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4"/>
                      <a:pt x="2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1"/>
                    </a:cubicBezTo>
                    <a:cubicBezTo>
                      <a:pt x="3" y="1"/>
                      <a:pt x="3" y="1"/>
                      <a:pt x="4" y="1"/>
                    </a:cubicBezTo>
                    <a:cubicBezTo>
                      <a:pt x="4" y="1"/>
                      <a:pt x="3" y="1"/>
                      <a:pt x="3" y="0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44" name="Freeform 179">
                <a:extLst>
                  <a:ext uri="{FF2B5EF4-FFF2-40B4-BE49-F238E27FC236}">
                    <a16:creationId xmlns:a16="http://schemas.microsoft.com/office/drawing/2014/main" id="{7EC7AEF1-F256-4406-868D-A7A03EF4B8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" y="2610"/>
                <a:ext cx="31" cy="21"/>
              </a:xfrm>
              <a:custGeom>
                <a:avLst/>
                <a:gdLst>
                  <a:gd name="T0" fmla="*/ 2 w 13"/>
                  <a:gd name="T1" fmla="*/ 5 h 9"/>
                  <a:gd name="T2" fmla="*/ 1 w 13"/>
                  <a:gd name="T3" fmla="*/ 5 h 9"/>
                  <a:gd name="T4" fmla="*/ 0 w 13"/>
                  <a:gd name="T5" fmla="*/ 5 h 9"/>
                  <a:gd name="T6" fmla="*/ 0 w 13"/>
                  <a:gd name="T7" fmla="*/ 6 h 9"/>
                  <a:gd name="T8" fmla="*/ 0 w 13"/>
                  <a:gd name="T9" fmla="*/ 7 h 9"/>
                  <a:gd name="T10" fmla="*/ 2 w 13"/>
                  <a:gd name="T11" fmla="*/ 7 h 9"/>
                  <a:gd name="T12" fmla="*/ 2 w 13"/>
                  <a:gd name="T13" fmla="*/ 8 h 9"/>
                  <a:gd name="T14" fmla="*/ 3 w 13"/>
                  <a:gd name="T15" fmla="*/ 8 h 9"/>
                  <a:gd name="T16" fmla="*/ 4 w 13"/>
                  <a:gd name="T17" fmla="*/ 9 h 9"/>
                  <a:gd name="T18" fmla="*/ 7 w 13"/>
                  <a:gd name="T19" fmla="*/ 8 h 9"/>
                  <a:gd name="T20" fmla="*/ 9 w 13"/>
                  <a:gd name="T21" fmla="*/ 7 h 9"/>
                  <a:gd name="T22" fmla="*/ 10 w 13"/>
                  <a:gd name="T23" fmla="*/ 6 h 9"/>
                  <a:gd name="T24" fmla="*/ 10 w 13"/>
                  <a:gd name="T25" fmla="*/ 6 h 9"/>
                  <a:gd name="T26" fmla="*/ 12 w 13"/>
                  <a:gd name="T27" fmla="*/ 5 h 9"/>
                  <a:gd name="T28" fmla="*/ 11 w 13"/>
                  <a:gd name="T29" fmla="*/ 4 h 9"/>
                  <a:gd name="T30" fmla="*/ 12 w 13"/>
                  <a:gd name="T31" fmla="*/ 3 h 9"/>
                  <a:gd name="T32" fmla="*/ 13 w 13"/>
                  <a:gd name="T33" fmla="*/ 1 h 9"/>
                  <a:gd name="T34" fmla="*/ 12 w 13"/>
                  <a:gd name="T35" fmla="*/ 0 h 9"/>
                  <a:gd name="T36" fmla="*/ 11 w 13"/>
                  <a:gd name="T37" fmla="*/ 1 h 9"/>
                  <a:gd name="T38" fmla="*/ 11 w 13"/>
                  <a:gd name="T39" fmla="*/ 0 h 9"/>
                  <a:gd name="T40" fmla="*/ 10 w 13"/>
                  <a:gd name="T41" fmla="*/ 1 h 9"/>
                  <a:gd name="T42" fmla="*/ 10 w 13"/>
                  <a:gd name="T43" fmla="*/ 3 h 9"/>
                  <a:gd name="T44" fmla="*/ 9 w 13"/>
                  <a:gd name="T45" fmla="*/ 3 h 9"/>
                  <a:gd name="T46" fmla="*/ 8 w 13"/>
                  <a:gd name="T47" fmla="*/ 5 h 9"/>
                  <a:gd name="T48" fmla="*/ 8 w 13"/>
                  <a:gd name="T49" fmla="*/ 5 h 9"/>
                  <a:gd name="T50" fmla="*/ 7 w 13"/>
                  <a:gd name="T51" fmla="*/ 5 h 9"/>
                  <a:gd name="T52" fmla="*/ 6 w 13"/>
                  <a:gd name="T53" fmla="*/ 5 h 9"/>
                  <a:gd name="T54" fmla="*/ 5 w 13"/>
                  <a:gd name="T55" fmla="*/ 4 h 9"/>
                  <a:gd name="T56" fmla="*/ 6 w 13"/>
                  <a:gd name="T57" fmla="*/ 3 h 9"/>
                  <a:gd name="T58" fmla="*/ 5 w 13"/>
                  <a:gd name="T59" fmla="*/ 4 h 9"/>
                  <a:gd name="T60" fmla="*/ 5 w 13"/>
                  <a:gd name="T61" fmla="*/ 5 h 9"/>
                  <a:gd name="T62" fmla="*/ 4 w 13"/>
                  <a:gd name="T63" fmla="*/ 6 h 9"/>
                  <a:gd name="T64" fmla="*/ 3 w 13"/>
                  <a:gd name="T65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" h="9">
                    <a:moveTo>
                      <a:pt x="3" y="5"/>
                    </a:moveTo>
                    <a:cubicBezTo>
                      <a:pt x="3" y="6"/>
                      <a:pt x="2" y="5"/>
                      <a:pt x="2" y="5"/>
                    </a:cubicBezTo>
                    <a:cubicBezTo>
                      <a:pt x="2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8"/>
                      <a:pt x="2" y="8"/>
                    </a:cubicBezTo>
                    <a:cubicBezTo>
                      <a:pt x="2" y="8"/>
                      <a:pt x="2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4" y="8"/>
                      <a:pt x="4" y="8"/>
                    </a:cubicBezTo>
                    <a:cubicBezTo>
                      <a:pt x="4" y="8"/>
                      <a:pt x="4" y="9"/>
                      <a:pt x="4" y="9"/>
                    </a:cubicBezTo>
                    <a:cubicBezTo>
                      <a:pt x="5" y="9"/>
                      <a:pt x="5" y="8"/>
                      <a:pt x="6" y="8"/>
                    </a:cubicBezTo>
                    <a:cubicBezTo>
                      <a:pt x="6" y="8"/>
                      <a:pt x="6" y="8"/>
                      <a:pt x="7" y="8"/>
                    </a:cubicBezTo>
                    <a:cubicBezTo>
                      <a:pt x="7" y="8"/>
                      <a:pt x="8" y="7"/>
                      <a:pt x="8" y="7"/>
                    </a:cubicBezTo>
                    <a:cubicBezTo>
                      <a:pt x="9" y="7"/>
                      <a:pt x="8" y="8"/>
                      <a:pt x="9" y="7"/>
                    </a:cubicBezTo>
                    <a:cubicBezTo>
                      <a:pt x="10" y="7"/>
                      <a:pt x="10" y="6"/>
                      <a:pt x="10" y="6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6"/>
                      <a:pt x="10" y="5"/>
                      <a:pt x="10" y="5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6"/>
                      <a:pt x="12" y="5"/>
                      <a:pt x="12" y="5"/>
                    </a:cubicBezTo>
                    <a:cubicBezTo>
                      <a:pt x="12" y="5"/>
                      <a:pt x="12" y="5"/>
                      <a:pt x="12" y="4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2" y="4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4"/>
                      <a:pt x="12" y="3"/>
                    </a:cubicBezTo>
                    <a:cubicBezTo>
                      <a:pt x="13" y="2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2" y="1"/>
                      <a:pt x="12" y="0"/>
                    </a:cubicBezTo>
                    <a:cubicBezTo>
                      <a:pt x="12" y="0"/>
                      <a:pt x="12" y="0"/>
                      <a:pt x="12" y="1"/>
                    </a:cubicBezTo>
                    <a:cubicBezTo>
                      <a:pt x="12" y="1"/>
                      <a:pt x="11" y="1"/>
                      <a:pt x="11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10" y="1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2"/>
                      <a:pt x="10" y="2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3"/>
                      <a:pt x="9" y="3"/>
                      <a:pt x="9" y="3"/>
                    </a:cubicBezTo>
                    <a:cubicBezTo>
                      <a:pt x="9" y="3"/>
                      <a:pt x="9" y="4"/>
                      <a:pt x="9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7" y="5"/>
                      <a:pt x="7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5"/>
                      <a:pt x="7" y="5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5"/>
                      <a:pt x="5" y="4"/>
                      <a:pt x="5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3"/>
                      <a:pt x="6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4" y="6"/>
                      <a:pt x="4" y="6"/>
                    </a:cubicBezTo>
                    <a:cubicBezTo>
                      <a:pt x="4" y="6"/>
                      <a:pt x="4" y="6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45" name="Freeform 180">
                <a:extLst>
                  <a:ext uri="{FF2B5EF4-FFF2-40B4-BE49-F238E27FC236}">
                    <a16:creationId xmlns:a16="http://schemas.microsoft.com/office/drawing/2014/main" id="{AF677B95-D2D5-41C9-B299-3036F7DF02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0" y="2596"/>
                <a:ext cx="19" cy="21"/>
              </a:xfrm>
              <a:custGeom>
                <a:avLst/>
                <a:gdLst>
                  <a:gd name="T0" fmla="*/ 0 w 8"/>
                  <a:gd name="T1" fmla="*/ 1 h 9"/>
                  <a:gd name="T2" fmla="*/ 1 w 8"/>
                  <a:gd name="T3" fmla="*/ 1 h 9"/>
                  <a:gd name="T4" fmla="*/ 2 w 8"/>
                  <a:gd name="T5" fmla="*/ 1 h 9"/>
                  <a:gd name="T6" fmla="*/ 3 w 8"/>
                  <a:gd name="T7" fmla="*/ 2 h 9"/>
                  <a:gd name="T8" fmla="*/ 4 w 8"/>
                  <a:gd name="T9" fmla="*/ 3 h 9"/>
                  <a:gd name="T10" fmla="*/ 4 w 8"/>
                  <a:gd name="T11" fmla="*/ 4 h 9"/>
                  <a:gd name="T12" fmla="*/ 5 w 8"/>
                  <a:gd name="T13" fmla="*/ 4 h 9"/>
                  <a:gd name="T14" fmla="*/ 5 w 8"/>
                  <a:gd name="T15" fmla="*/ 4 h 9"/>
                  <a:gd name="T16" fmla="*/ 5 w 8"/>
                  <a:gd name="T17" fmla="*/ 4 h 9"/>
                  <a:gd name="T18" fmla="*/ 6 w 8"/>
                  <a:gd name="T19" fmla="*/ 5 h 9"/>
                  <a:gd name="T20" fmla="*/ 6 w 8"/>
                  <a:gd name="T21" fmla="*/ 6 h 9"/>
                  <a:gd name="T22" fmla="*/ 7 w 8"/>
                  <a:gd name="T23" fmla="*/ 7 h 9"/>
                  <a:gd name="T24" fmla="*/ 7 w 8"/>
                  <a:gd name="T25" fmla="*/ 8 h 9"/>
                  <a:gd name="T26" fmla="*/ 7 w 8"/>
                  <a:gd name="T27" fmla="*/ 8 h 9"/>
                  <a:gd name="T28" fmla="*/ 7 w 8"/>
                  <a:gd name="T29" fmla="*/ 8 h 9"/>
                  <a:gd name="T30" fmla="*/ 8 w 8"/>
                  <a:gd name="T31" fmla="*/ 9 h 9"/>
                  <a:gd name="T32" fmla="*/ 8 w 8"/>
                  <a:gd name="T33" fmla="*/ 8 h 9"/>
                  <a:gd name="T34" fmla="*/ 8 w 8"/>
                  <a:gd name="T35" fmla="*/ 8 h 9"/>
                  <a:gd name="T36" fmla="*/ 8 w 8"/>
                  <a:gd name="T37" fmla="*/ 7 h 9"/>
                  <a:gd name="T38" fmla="*/ 8 w 8"/>
                  <a:gd name="T39" fmla="*/ 6 h 9"/>
                  <a:gd name="T40" fmla="*/ 8 w 8"/>
                  <a:gd name="T41" fmla="*/ 6 h 9"/>
                  <a:gd name="T42" fmla="*/ 8 w 8"/>
                  <a:gd name="T43" fmla="*/ 6 h 9"/>
                  <a:gd name="T44" fmla="*/ 7 w 8"/>
                  <a:gd name="T45" fmla="*/ 5 h 9"/>
                  <a:gd name="T46" fmla="*/ 6 w 8"/>
                  <a:gd name="T47" fmla="*/ 4 h 9"/>
                  <a:gd name="T48" fmla="*/ 5 w 8"/>
                  <a:gd name="T49" fmla="*/ 3 h 9"/>
                  <a:gd name="T50" fmla="*/ 5 w 8"/>
                  <a:gd name="T51" fmla="*/ 3 h 9"/>
                  <a:gd name="T52" fmla="*/ 4 w 8"/>
                  <a:gd name="T53" fmla="*/ 2 h 9"/>
                  <a:gd name="T54" fmla="*/ 3 w 8"/>
                  <a:gd name="T55" fmla="*/ 1 h 9"/>
                  <a:gd name="T56" fmla="*/ 1 w 8"/>
                  <a:gd name="T57" fmla="*/ 0 h 9"/>
                  <a:gd name="T58" fmla="*/ 1 w 8"/>
                  <a:gd name="T59" fmla="*/ 0 h 9"/>
                  <a:gd name="T60" fmla="*/ 0 w 8"/>
                  <a:gd name="T61" fmla="*/ 0 h 9"/>
                  <a:gd name="T62" fmla="*/ 0 w 8"/>
                  <a:gd name="T63" fmla="*/ 1 h 9"/>
                  <a:gd name="T64" fmla="*/ 0 w 8"/>
                  <a:gd name="T65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" h="9">
                    <a:moveTo>
                      <a:pt x="0" y="1"/>
                    </a:move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4" y="3"/>
                      <a:pt x="4" y="4"/>
                      <a:pt x="4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6"/>
                      <a:pt x="6" y="6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7" y="8"/>
                      <a:pt x="7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9"/>
                      <a:pt x="7" y="9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8" y="7"/>
                      <a:pt x="8" y="7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7" y="5"/>
                      <a:pt x="7" y="5"/>
                    </a:cubicBezTo>
                    <a:cubicBezTo>
                      <a:pt x="7" y="5"/>
                      <a:pt x="6" y="4"/>
                      <a:pt x="6" y="4"/>
                    </a:cubicBezTo>
                    <a:cubicBezTo>
                      <a:pt x="6" y="4"/>
                      <a:pt x="6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2"/>
                      <a:pt x="4" y="2"/>
                    </a:cubicBezTo>
                    <a:cubicBezTo>
                      <a:pt x="3" y="2"/>
                      <a:pt x="3" y="2"/>
                      <a:pt x="3" y="1"/>
                    </a:cubicBezTo>
                    <a:cubicBezTo>
                      <a:pt x="2" y="1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46" name="Freeform 181">
                <a:extLst>
                  <a:ext uri="{FF2B5EF4-FFF2-40B4-BE49-F238E27FC236}">
                    <a16:creationId xmlns:a16="http://schemas.microsoft.com/office/drawing/2014/main" id="{C189D831-5228-41D2-93EB-F6162A211B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8" y="2620"/>
                <a:ext cx="12" cy="16"/>
              </a:xfrm>
              <a:custGeom>
                <a:avLst/>
                <a:gdLst>
                  <a:gd name="T0" fmla="*/ 5 w 5"/>
                  <a:gd name="T1" fmla="*/ 5 h 7"/>
                  <a:gd name="T2" fmla="*/ 4 w 5"/>
                  <a:gd name="T3" fmla="*/ 4 h 7"/>
                  <a:gd name="T4" fmla="*/ 4 w 5"/>
                  <a:gd name="T5" fmla="*/ 4 h 7"/>
                  <a:gd name="T6" fmla="*/ 4 w 5"/>
                  <a:gd name="T7" fmla="*/ 4 h 7"/>
                  <a:gd name="T8" fmla="*/ 3 w 5"/>
                  <a:gd name="T9" fmla="*/ 2 h 7"/>
                  <a:gd name="T10" fmla="*/ 2 w 5"/>
                  <a:gd name="T11" fmla="*/ 1 h 7"/>
                  <a:gd name="T12" fmla="*/ 2 w 5"/>
                  <a:gd name="T13" fmla="*/ 1 h 7"/>
                  <a:gd name="T14" fmla="*/ 2 w 5"/>
                  <a:gd name="T15" fmla="*/ 1 h 7"/>
                  <a:gd name="T16" fmla="*/ 1 w 5"/>
                  <a:gd name="T17" fmla="*/ 1 h 7"/>
                  <a:gd name="T18" fmla="*/ 1 w 5"/>
                  <a:gd name="T19" fmla="*/ 0 h 7"/>
                  <a:gd name="T20" fmla="*/ 1 w 5"/>
                  <a:gd name="T21" fmla="*/ 0 h 7"/>
                  <a:gd name="T22" fmla="*/ 1 w 5"/>
                  <a:gd name="T23" fmla="*/ 0 h 7"/>
                  <a:gd name="T24" fmla="*/ 1 w 5"/>
                  <a:gd name="T25" fmla="*/ 1 h 7"/>
                  <a:gd name="T26" fmla="*/ 1 w 5"/>
                  <a:gd name="T27" fmla="*/ 1 h 7"/>
                  <a:gd name="T28" fmla="*/ 1 w 5"/>
                  <a:gd name="T29" fmla="*/ 2 h 7"/>
                  <a:gd name="T30" fmla="*/ 1 w 5"/>
                  <a:gd name="T31" fmla="*/ 3 h 7"/>
                  <a:gd name="T32" fmla="*/ 2 w 5"/>
                  <a:gd name="T33" fmla="*/ 3 h 7"/>
                  <a:gd name="T34" fmla="*/ 2 w 5"/>
                  <a:gd name="T35" fmla="*/ 4 h 7"/>
                  <a:gd name="T36" fmla="*/ 3 w 5"/>
                  <a:gd name="T37" fmla="*/ 4 h 7"/>
                  <a:gd name="T38" fmla="*/ 3 w 5"/>
                  <a:gd name="T39" fmla="*/ 4 h 7"/>
                  <a:gd name="T40" fmla="*/ 3 w 5"/>
                  <a:gd name="T41" fmla="*/ 5 h 7"/>
                  <a:gd name="T42" fmla="*/ 3 w 5"/>
                  <a:gd name="T43" fmla="*/ 6 h 7"/>
                  <a:gd name="T44" fmla="*/ 4 w 5"/>
                  <a:gd name="T45" fmla="*/ 6 h 7"/>
                  <a:gd name="T46" fmla="*/ 4 w 5"/>
                  <a:gd name="T47" fmla="*/ 7 h 7"/>
                  <a:gd name="T48" fmla="*/ 5 w 5"/>
                  <a:gd name="T49" fmla="*/ 6 h 7"/>
                  <a:gd name="T50" fmla="*/ 5 w 5"/>
                  <a:gd name="T51" fmla="*/ 6 h 7"/>
                  <a:gd name="T52" fmla="*/ 5 w 5"/>
                  <a:gd name="T53" fmla="*/ 6 h 7"/>
                  <a:gd name="T54" fmla="*/ 5 w 5"/>
                  <a:gd name="T55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" h="7">
                    <a:moveTo>
                      <a:pt x="5" y="5"/>
                    </a:move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2"/>
                      <a:pt x="3" y="2"/>
                    </a:cubicBezTo>
                    <a:cubicBezTo>
                      <a:pt x="3" y="2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3"/>
                    </a:cubicBezTo>
                    <a:cubicBezTo>
                      <a:pt x="1" y="3"/>
                      <a:pt x="1" y="3"/>
                      <a:pt x="2" y="3"/>
                    </a:cubicBezTo>
                    <a:cubicBezTo>
                      <a:pt x="2" y="3"/>
                      <a:pt x="2" y="4"/>
                      <a:pt x="2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6"/>
                    </a:cubicBezTo>
                    <a:cubicBezTo>
                      <a:pt x="3" y="6"/>
                      <a:pt x="3" y="6"/>
                      <a:pt x="4" y="6"/>
                    </a:cubicBezTo>
                    <a:cubicBezTo>
                      <a:pt x="4" y="6"/>
                      <a:pt x="4" y="6"/>
                      <a:pt x="4" y="7"/>
                    </a:cubicBezTo>
                    <a:cubicBezTo>
                      <a:pt x="5" y="7"/>
                      <a:pt x="5" y="7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47" name="Freeform 182">
                <a:extLst>
                  <a:ext uri="{FF2B5EF4-FFF2-40B4-BE49-F238E27FC236}">
                    <a16:creationId xmlns:a16="http://schemas.microsoft.com/office/drawing/2014/main" id="{35D03525-9FD2-42AD-BAA7-2B7CCE096E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5" y="2634"/>
                <a:ext cx="7" cy="7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2 h 3"/>
                  <a:gd name="T4" fmla="*/ 3 w 3"/>
                  <a:gd name="T5" fmla="*/ 2 h 3"/>
                  <a:gd name="T6" fmla="*/ 2 w 3"/>
                  <a:gd name="T7" fmla="*/ 1 h 3"/>
                  <a:gd name="T8" fmla="*/ 2 w 3"/>
                  <a:gd name="T9" fmla="*/ 1 h 3"/>
                  <a:gd name="T10" fmla="*/ 2 w 3"/>
                  <a:gd name="T11" fmla="*/ 1 h 3"/>
                  <a:gd name="T12" fmla="*/ 1 w 3"/>
                  <a:gd name="T13" fmla="*/ 0 h 3"/>
                  <a:gd name="T14" fmla="*/ 0 w 3"/>
                  <a:gd name="T15" fmla="*/ 0 h 3"/>
                  <a:gd name="T16" fmla="*/ 0 w 3"/>
                  <a:gd name="T17" fmla="*/ 0 h 3"/>
                  <a:gd name="T18" fmla="*/ 0 w 3"/>
                  <a:gd name="T19" fmla="*/ 0 h 3"/>
                  <a:gd name="T20" fmla="*/ 1 w 3"/>
                  <a:gd name="T21" fmla="*/ 1 h 3"/>
                  <a:gd name="T22" fmla="*/ 1 w 3"/>
                  <a:gd name="T23" fmla="*/ 1 h 3"/>
                  <a:gd name="T24" fmla="*/ 1 w 3"/>
                  <a:gd name="T25" fmla="*/ 2 h 3"/>
                  <a:gd name="T26" fmla="*/ 2 w 3"/>
                  <a:gd name="T27" fmla="*/ 2 h 3"/>
                  <a:gd name="T28" fmla="*/ 3 w 3"/>
                  <a:gd name="T2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cubicBezTo>
                      <a:pt x="3" y="3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2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1" y="2"/>
                      <a:pt x="2" y="2"/>
                      <a:pt x="2" y="2"/>
                    </a:cubicBezTo>
                    <a:cubicBezTo>
                      <a:pt x="2" y="2"/>
                      <a:pt x="3" y="3"/>
                      <a:pt x="3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48" name="Freeform 183">
                <a:extLst>
                  <a:ext uri="{FF2B5EF4-FFF2-40B4-BE49-F238E27FC236}">
                    <a16:creationId xmlns:a16="http://schemas.microsoft.com/office/drawing/2014/main" id="{CB0A5175-3540-4E8B-94C7-26D8FF5B49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9" y="2646"/>
                <a:ext cx="7" cy="4"/>
              </a:xfrm>
              <a:custGeom>
                <a:avLst/>
                <a:gdLst>
                  <a:gd name="T0" fmla="*/ 2 w 3"/>
                  <a:gd name="T1" fmla="*/ 1 h 2"/>
                  <a:gd name="T2" fmla="*/ 2 w 3"/>
                  <a:gd name="T3" fmla="*/ 1 h 2"/>
                  <a:gd name="T4" fmla="*/ 1 w 3"/>
                  <a:gd name="T5" fmla="*/ 1 h 2"/>
                  <a:gd name="T6" fmla="*/ 2 w 3"/>
                  <a:gd name="T7" fmla="*/ 0 h 2"/>
                  <a:gd name="T8" fmla="*/ 1 w 3"/>
                  <a:gd name="T9" fmla="*/ 0 h 2"/>
                  <a:gd name="T10" fmla="*/ 1 w 3"/>
                  <a:gd name="T11" fmla="*/ 0 h 2"/>
                  <a:gd name="T12" fmla="*/ 0 w 3"/>
                  <a:gd name="T13" fmla="*/ 1 h 2"/>
                  <a:gd name="T14" fmla="*/ 0 w 3"/>
                  <a:gd name="T15" fmla="*/ 1 h 2"/>
                  <a:gd name="T16" fmla="*/ 1 w 3"/>
                  <a:gd name="T17" fmla="*/ 1 h 2"/>
                  <a:gd name="T18" fmla="*/ 1 w 3"/>
                  <a:gd name="T19" fmla="*/ 1 h 2"/>
                  <a:gd name="T20" fmla="*/ 1 w 3"/>
                  <a:gd name="T21" fmla="*/ 1 h 2"/>
                  <a:gd name="T22" fmla="*/ 2 w 3"/>
                  <a:gd name="T23" fmla="*/ 2 h 2"/>
                  <a:gd name="T24" fmla="*/ 2 w 3"/>
                  <a:gd name="T25" fmla="*/ 2 h 2"/>
                  <a:gd name="T26" fmla="*/ 2 w 3"/>
                  <a:gd name="T27" fmla="*/ 2 h 2"/>
                  <a:gd name="T28" fmla="*/ 3 w 3"/>
                  <a:gd name="T29" fmla="*/ 2 h 2"/>
                  <a:gd name="T30" fmla="*/ 2 w 3"/>
                  <a:gd name="T31" fmla="*/ 1 h 2"/>
                  <a:gd name="T32" fmla="*/ 2 w 3"/>
                  <a:gd name="T33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" h="2"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2" y="2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49" name="Freeform 184">
                <a:extLst>
                  <a:ext uri="{FF2B5EF4-FFF2-40B4-BE49-F238E27FC236}">
                    <a16:creationId xmlns:a16="http://schemas.microsoft.com/office/drawing/2014/main" id="{76E94CDD-9CD6-4220-9BF3-FBC3C4AAA5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" y="2641"/>
                <a:ext cx="12" cy="9"/>
              </a:xfrm>
              <a:custGeom>
                <a:avLst/>
                <a:gdLst>
                  <a:gd name="T0" fmla="*/ 5 w 5"/>
                  <a:gd name="T1" fmla="*/ 4 h 4"/>
                  <a:gd name="T2" fmla="*/ 5 w 5"/>
                  <a:gd name="T3" fmla="*/ 3 h 4"/>
                  <a:gd name="T4" fmla="*/ 4 w 5"/>
                  <a:gd name="T5" fmla="*/ 3 h 4"/>
                  <a:gd name="T6" fmla="*/ 2 w 5"/>
                  <a:gd name="T7" fmla="*/ 1 h 4"/>
                  <a:gd name="T8" fmla="*/ 2 w 5"/>
                  <a:gd name="T9" fmla="*/ 1 h 4"/>
                  <a:gd name="T10" fmla="*/ 1 w 5"/>
                  <a:gd name="T11" fmla="*/ 1 h 4"/>
                  <a:gd name="T12" fmla="*/ 1 w 5"/>
                  <a:gd name="T13" fmla="*/ 1 h 4"/>
                  <a:gd name="T14" fmla="*/ 1 w 5"/>
                  <a:gd name="T15" fmla="*/ 0 h 4"/>
                  <a:gd name="T16" fmla="*/ 0 w 5"/>
                  <a:gd name="T17" fmla="*/ 1 h 4"/>
                  <a:gd name="T18" fmla="*/ 0 w 5"/>
                  <a:gd name="T19" fmla="*/ 1 h 4"/>
                  <a:gd name="T20" fmla="*/ 1 w 5"/>
                  <a:gd name="T21" fmla="*/ 1 h 4"/>
                  <a:gd name="T22" fmla="*/ 2 w 5"/>
                  <a:gd name="T23" fmla="*/ 3 h 4"/>
                  <a:gd name="T24" fmla="*/ 3 w 5"/>
                  <a:gd name="T25" fmla="*/ 3 h 4"/>
                  <a:gd name="T26" fmla="*/ 4 w 5"/>
                  <a:gd name="T27" fmla="*/ 4 h 4"/>
                  <a:gd name="T28" fmla="*/ 5 w 5"/>
                  <a:gd name="T2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" h="4">
                    <a:moveTo>
                      <a:pt x="5" y="4"/>
                    </a:moveTo>
                    <a:cubicBezTo>
                      <a:pt x="4" y="4"/>
                      <a:pt x="4" y="3"/>
                      <a:pt x="5" y="3"/>
                    </a:cubicBezTo>
                    <a:cubicBezTo>
                      <a:pt x="5" y="3"/>
                      <a:pt x="4" y="3"/>
                      <a:pt x="4" y="3"/>
                    </a:cubicBezTo>
                    <a:cubicBezTo>
                      <a:pt x="4" y="2"/>
                      <a:pt x="3" y="2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2" y="2"/>
                      <a:pt x="2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4" y="4"/>
                      <a:pt x="4" y="4"/>
                    </a:cubicBezTo>
                    <a:cubicBezTo>
                      <a:pt x="4" y="4"/>
                      <a:pt x="5" y="4"/>
                      <a:pt x="5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50" name="Freeform 185">
                <a:extLst>
                  <a:ext uri="{FF2B5EF4-FFF2-40B4-BE49-F238E27FC236}">
                    <a16:creationId xmlns:a16="http://schemas.microsoft.com/office/drawing/2014/main" id="{7FCC41F7-72B9-41EF-9078-1E4B3AE7B6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5" y="2648"/>
                <a:ext cx="8" cy="12"/>
              </a:xfrm>
              <a:custGeom>
                <a:avLst/>
                <a:gdLst>
                  <a:gd name="T0" fmla="*/ 3 w 3"/>
                  <a:gd name="T1" fmla="*/ 5 h 5"/>
                  <a:gd name="T2" fmla="*/ 3 w 3"/>
                  <a:gd name="T3" fmla="*/ 5 h 5"/>
                  <a:gd name="T4" fmla="*/ 2 w 3"/>
                  <a:gd name="T5" fmla="*/ 5 h 5"/>
                  <a:gd name="T6" fmla="*/ 2 w 3"/>
                  <a:gd name="T7" fmla="*/ 3 h 5"/>
                  <a:gd name="T8" fmla="*/ 1 w 3"/>
                  <a:gd name="T9" fmla="*/ 2 h 5"/>
                  <a:gd name="T10" fmla="*/ 1 w 3"/>
                  <a:gd name="T11" fmla="*/ 2 h 5"/>
                  <a:gd name="T12" fmla="*/ 1 w 3"/>
                  <a:gd name="T13" fmla="*/ 2 h 5"/>
                  <a:gd name="T14" fmla="*/ 1 w 3"/>
                  <a:gd name="T15" fmla="*/ 1 h 5"/>
                  <a:gd name="T16" fmla="*/ 0 w 3"/>
                  <a:gd name="T17" fmla="*/ 0 h 5"/>
                  <a:gd name="T18" fmla="*/ 0 w 3"/>
                  <a:gd name="T19" fmla="*/ 0 h 5"/>
                  <a:gd name="T20" fmla="*/ 0 w 3"/>
                  <a:gd name="T21" fmla="*/ 0 h 5"/>
                  <a:gd name="T22" fmla="*/ 0 w 3"/>
                  <a:gd name="T23" fmla="*/ 2 h 5"/>
                  <a:gd name="T24" fmla="*/ 1 w 3"/>
                  <a:gd name="T25" fmla="*/ 3 h 5"/>
                  <a:gd name="T26" fmla="*/ 1 w 3"/>
                  <a:gd name="T27" fmla="*/ 4 h 5"/>
                  <a:gd name="T28" fmla="*/ 2 w 3"/>
                  <a:gd name="T29" fmla="*/ 5 h 5"/>
                  <a:gd name="T30" fmla="*/ 2 w 3"/>
                  <a:gd name="T31" fmla="*/ 5 h 5"/>
                  <a:gd name="T32" fmla="*/ 3 w 3"/>
                  <a:gd name="T3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" h="5">
                    <a:moveTo>
                      <a:pt x="3" y="5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4"/>
                      <a:pt x="2" y="3"/>
                      <a:pt x="2" y="3"/>
                    </a:cubicBezTo>
                    <a:cubicBezTo>
                      <a:pt x="2" y="3"/>
                      <a:pt x="2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1" y="3"/>
                      <a:pt x="1" y="3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2" y="4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3" y="5"/>
                      <a:pt x="3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51" name="Freeform 186">
                <a:extLst>
                  <a:ext uri="{FF2B5EF4-FFF2-40B4-BE49-F238E27FC236}">
                    <a16:creationId xmlns:a16="http://schemas.microsoft.com/office/drawing/2014/main" id="{0E323464-061E-4E8F-B0F1-D72D1A1B0B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6" y="2658"/>
                <a:ext cx="12" cy="7"/>
              </a:xfrm>
              <a:custGeom>
                <a:avLst/>
                <a:gdLst>
                  <a:gd name="T0" fmla="*/ 4 w 5"/>
                  <a:gd name="T1" fmla="*/ 1 h 3"/>
                  <a:gd name="T2" fmla="*/ 3 w 5"/>
                  <a:gd name="T3" fmla="*/ 1 h 3"/>
                  <a:gd name="T4" fmla="*/ 3 w 5"/>
                  <a:gd name="T5" fmla="*/ 0 h 3"/>
                  <a:gd name="T6" fmla="*/ 2 w 5"/>
                  <a:gd name="T7" fmla="*/ 0 h 3"/>
                  <a:gd name="T8" fmla="*/ 1 w 5"/>
                  <a:gd name="T9" fmla="*/ 0 h 3"/>
                  <a:gd name="T10" fmla="*/ 1 w 5"/>
                  <a:gd name="T11" fmla="*/ 0 h 3"/>
                  <a:gd name="T12" fmla="*/ 1 w 5"/>
                  <a:gd name="T13" fmla="*/ 0 h 3"/>
                  <a:gd name="T14" fmla="*/ 1 w 5"/>
                  <a:gd name="T15" fmla="*/ 1 h 3"/>
                  <a:gd name="T16" fmla="*/ 2 w 5"/>
                  <a:gd name="T17" fmla="*/ 2 h 3"/>
                  <a:gd name="T18" fmla="*/ 3 w 5"/>
                  <a:gd name="T19" fmla="*/ 2 h 3"/>
                  <a:gd name="T20" fmla="*/ 3 w 5"/>
                  <a:gd name="T21" fmla="*/ 2 h 3"/>
                  <a:gd name="T22" fmla="*/ 4 w 5"/>
                  <a:gd name="T23" fmla="*/ 3 h 3"/>
                  <a:gd name="T24" fmla="*/ 5 w 5"/>
                  <a:gd name="T25" fmla="*/ 2 h 3"/>
                  <a:gd name="T26" fmla="*/ 5 w 5"/>
                  <a:gd name="T27" fmla="*/ 2 h 3"/>
                  <a:gd name="T28" fmla="*/ 5 w 5"/>
                  <a:gd name="T29" fmla="*/ 2 h 3"/>
                  <a:gd name="T30" fmla="*/ 4 w 5"/>
                  <a:gd name="T3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" h="3">
                    <a:moveTo>
                      <a:pt x="4" y="1"/>
                    </a:moveTo>
                    <a:cubicBezTo>
                      <a:pt x="4" y="1"/>
                      <a:pt x="4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2" y="1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1" y="1"/>
                      <a:pt x="1" y="1"/>
                    </a:cubicBezTo>
                    <a:cubicBezTo>
                      <a:pt x="1" y="2"/>
                      <a:pt x="2" y="2"/>
                      <a:pt x="2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4" y="2"/>
                      <a:pt x="4" y="2"/>
                      <a:pt x="4" y="3"/>
                    </a:cubicBezTo>
                    <a:cubicBezTo>
                      <a:pt x="5" y="3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lnTo>
                      <a:pt x="4" y="1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52" name="Freeform 187">
                <a:extLst>
                  <a:ext uri="{FF2B5EF4-FFF2-40B4-BE49-F238E27FC236}">
                    <a16:creationId xmlns:a16="http://schemas.microsoft.com/office/drawing/2014/main" id="{FF3A4261-1E5A-45FC-92D6-FE8C1D5AD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0" y="2665"/>
                <a:ext cx="10" cy="7"/>
              </a:xfrm>
              <a:custGeom>
                <a:avLst/>
                <a:gdLst>
                  <a:gd name="T0" fmla="*/ 3 w 4"/>
                  <a:gd name="T1" fmla="*/ 2 h 3"/>
                  <a:gd name="T2" fmla="*/ 3 w 4"/>
                  <a:gd name="T3" fmla="*/ 2 h 3"/>
                  <a:gd name="T4" fmla="*/ 2 w 4"/>
                  <a:gd name="T5" fmla="*/ 1 h 3"/>
                  <a:gd name="T6" fmla="*/ 1 w 4"/>
                  <a:gd name="T7" fmla="*/ 1 h 3"/>
                  <a:gd name="T8" fmla="*/ 0 w 4"/>
                  <a:gd name="T9" fmla="*/ 1 h 3"/>
                  <a:gd name="T10" fmla="*/ 0 w 4"/>
                  <a:gd name="T11" fmla="*/ 1 h 3"/>
                  <a:gd name="T12" fmla="*/ 1 w 4"/>
                  <a:gd name="T13" fmla="*/ 1 h 3"/>
                  <a:gd name="T14" fmla="*/ 1 w 4"/>
                  <a:gd name="T15" fmla="*/ 2 h 3"/>
                  <a:gd name="T16" fmla="*/ 1 w 4"/>
                  <a:gd name="T17" fmla="*/ 2 h 3"/>
                  <a:gd name="T18" fmla="*/ 2 w 4"/>
                  <a:gd name="T19" fmla="*/ 3 h 3"/>
                  <a:gd name="T20" fmla="*/ 3 w 4"/>
                  <a:gd name="T21" fmla="*/ 3 h 3"/>
                  <a:gd name="T22" fmla="*/ 4 w 4"/>
                  <a:gd name="T23" fmla="*/ 3 h 3"/>
                  <a:gd name="T24" fmla="*/ 4 w 4"/>
                  <a:gd name="T25" fmla="*/ 3 h 3"/>
                  <a:gd name="T26" fmla="*/ 3 w 4"/>
                  <a:gd name="T2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" h="3">
                    <a:moveTo>
                      <a:pt x="3" y="2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2" y="2"/>
                      <a:pt x="2" y="1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3"/>
                      <a:pt x="2" y="3"/>
                    </a:cubicBezTo>
                    <a:cubicBezTo>
                      <a:pt x="2" y="3"/>
                      <a:pt x="3" y="3"/>
                      <a:pt x="3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3" y="2"/>
                      <a:pt x="3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53" name="Freeform 188">
                <a:extLst>
                  <a:ext uri="{FF2B5EF4-FFF2-40B4-BE49-F238E27FC236}">
                    <a16:creationId xmlns:a16="http://schemas.microsoft.com/office/drawing/2014/main" id="{84CD7406-43C0-4562-89DB-6D4C6BD22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8" y="2897"/>
                <a:ext cx="47" cy="76"/>
              </a:xfrm>
              <a:custGeom>
                <a:avLst/>
                <a:gdLst>
                  <a:gd name="T0" fmla="*/ 16 w 20"/>
                  <a:gd name="T1" fmla="*/ 14 h 32"/>
                  <a:gd name="T2" fmla="*/ 13 w 20"/>
                  <a:gd name="T3" fmla="*/ 15 h 32"/>
                  <a:gd name="T4" fmla="*/ 10 w 20"/>
                  <a:gd name="T5" fmla="*/ 13 h 32"/>
                  <a:gd name="T6" fmla="*/ 10 w 20"/>
                  <a:gd name="T7" fmla="*/ 10 h 32"/>
                  <a:gd name="T8" fmla="*/ 10 w 20"/>
                  <a:gd name="T9" fmla="*/ 10 h 32"/>
                  <a:gd name="T10" fmla="*/ 8 w 20"/>
                  <a:gd name="T11" fmla="*/ 9 h 32"/>
                  <a:gd name="T12" fmla="*/ 9 w 20"/>
                  <a:gd name="T13" fmla="*/ 11 h 32"/>
                  <a:gd name="T14" fmla="*/ 8 w 20"/>
                  <a:gd name="T15" fmla="*/ 12 h 32"/>
                  <a:gd name="T16" fmla="*/ 6 w 20"/>
                  <a:gd name="T17" fmla="*/ 10 h 32"/>
                  <a:gd name="T18" fmla="*/ 7 w 20"/>
                  <a:gd name="T19" fmla="*/ 8 h 32"/>
                  <a:gd name="T20" fmla="*/ 6 w 20"/>
                  <a:gd name="T21" fmla="*/ 6 h 32"/>
                  <a:gd name="T22" fmla="*/ 3 w 20"/>
                  <a:gd name="T23" fmla="*/ 3 h 32"/>
                  <a:gd name="T24" fmla="*/ 1 w 20"/>
                  <a:gd name="T25" fmla="*/ 1 h 32"/>
                  <a:gd name="T26" fmla="*/ 1 w 20"/>
                  <a:gd name="T27" fmla="*/ 0 h 32"/>
                  <a:gd name="T28" fmla="*/ 0 w 20"/>
                  <a:gd name="T29" fmla="*/ 0 h 32"/>
                  <a:gd name="T30" fmla="*/ 1 w 20"/>
                  <a:gd name="T31" fmla="*/ 2 h 32"/>
                  <a:gd name="T32" fmla="*/ 1 w 20"/>
                  <a:gd name="T33" fmla="*/ 3 h 32"/>
                  <a:gd name="T34" fmla="*/ 2 w 20"/>
                  <a:gd name="T35" fmla="*/ 5 h 32"/>
                  <a:gd name="T36" fmla="*/ 3 w 20"/>
                  <a:gd name="T37" fmla="*/ 7 h 32"/>
                  <a:gd name="T38" fmla="*/ 4 w 20"/>
                  <a:gd name="T39" fmla="*/ 9 h 32"/>
                  <a:gd name="T40" fmla="*/ 5 w 20"/>
                  <a:gd name="T41" fmla="*/ 9 h 32"/>
                  <a:gd name="T42" fmla="*/ 5 w 20"/>
                  <a:gd name="T43" fmla="*/ 9 h 32"/>
                  <a:gd name="T44" fmla="*/ 5 w 20"/>
                  <a:gd name="T45" fmla="*/ 10 h 32"/>
                  <a:gd name="T46" fmla="*/ 6 w 20"/>
                  <a:gd name="T47" fmla="*/ 12 h 32"/>
                  <a:gd name="T48" fmla="*/ 6 w 20"/>
                  <a:gd name="T49" fmla="*/ 13 h 32"/>
                  <a:gd name="T50" fmla="*/ 7 w 20"/>
                  <a:gd name="T51" fmla="*/ 15 h 32"/>
                  <a:gd name="T52" fmla="*/ 7 w 20"/>
                  <a:gd name="T53" fmla="*/ 15 h 32"/>
                  <a:gd name="T54" fmla="*/ 7 w 20"/>
                  <a:gd name="T55" fmla="*/ 16 h 32"/>
                  <a:gd name="T56" fmla="*/ 6 w 20"/>
                  <a:gd name="T57" fmla="*/ 17 h 32"/>
                  <a:gd name="T58" fmla="*/ 6 w 20"/>
                  <a:gd name="T59" fmla="*/ 19 h 32"/>
                  <a:gd name="T60" fmla="*/ 3 w 20"/>
                  <a:gd name="T61" fmla="*/ 21 h 32"/>
                  <a:gd name="T62" fmla="*/ 6 w 20"/>
                  <a:gd name="T63" fmla="*/ 23 h 32"/>
                  <a:gd name="T64" fmla="*/ 7 w 20"/>
                  <a:gd name="T65" fmla="*/ 24 h 32"/>
                  <a:gd name="T66" fmla="*/ 8 w 20"/>
                  <a:gd name="T67" fmla="*/ 26 h 32"/>
                  <a:gd name="T68" fmla="*/ 7 w 20"/>
                  <a:gd name="T69" fmla="*/ 28 h 32"/>
                  <a:gd name="T70" fmla="*/ 6 w 20"/>
                  <a:gd name="T71" fmla="*/ 30 h 32"/>
                  <a:gd name="T72" fmla="*/ 6 w 20"/>
                  <a:gd name="T73" fmla="*/ 30 h 32"/>
                  <a:gd name="T74" fmla="*/ 7 w 20"/>
                  <a:gd name="T75" fmla="*/ 30 h 32"/>
                  <a:gd name="T76" fmla="*/ 8 w 20"/>
                  <a:gd name="T77" fmla="*/ 30 h 32"/>
                  <a:gd name="T78" fmla="*/ 8 w 20"/>
                  <a:gd name="T79" fmla="*/ 31 h 32"/>
                  <a:gd name="T80" fmla="*/ 12 w 20"/>
                  <a:gd name="T81" fmla="*/ 28 h 32"/>
                  <a:gd name="T82" fmla="*/ 13 w 20"/>
                  <a:gd name="T83" fmla="*/ 26 h 32"/>
                  <a:gd name="T84" fmla="*/ 14 w 20"/>
                  <a:gd name="T85" fmla="*/ 24 h 32"/>
                  <a:gd name="T86" fmla="*/ 14 w 20"/>
                  <a:gd name="T87" fmla="*/ 23 h 32"/>
                  <a:gd name="T88" fmla="*/ 13 w 20"/>
                  <a:gd name="T89" fmla="*/ 21 h 32"/>
                  <a:gd name="T90" fmla="*/ 16 w 20"/>
                  <a:gd name="T91" fmla="*/ 20 h 32"/>
                  <a:gd name="T92" fmla="*/ 17 w 20"/>
                  <a:gd name="T93" fmla="*/ 21 h 32"/>
                  <a:gd name="T94" fmla="*/ 17 w 20"/>
                  <a:gd name="T95" fmla="*/ 20 h 32"/>
                  <a:gd name="T96" fmla="*/ 17 w 20"/>
                  <a:gd name="T97" fmla="*/ 18 h 32"/>
                  <a:gd name="T98" fmla="*/ 18 w 20"/>
                  <a:gd name="T99" fmla="*/ 15 h 32"/>
                  <a:gd name="T100" fmla="*/ 17 w 20"/>
                  <a:gd name="T101" fmla="*/ 1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0" h="32">
                    <a:moveTo>
                      <a:pt x="17" y="13"/>
                    </a:moveTo>
                    <a:cubicBezTo>
                      <a:pt x="16" y="14"/>
                      <a:pt x="17" y="13"/>
                      <a:pt x="16" y="14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4" y="16"/>
                      <a:pt x="13" y="15"/>
                      <a:pt x="13" y="15"/>
                    </a:cubicBezTo>
                    <a:cubicBezTo>
                      <a:pt x="12" y="15"/>
                      <a:pt x="12" y="15"/>
                      <a:pt x="11" y="14"/>
                    </a:cubicBezTo>
                    <a:cubicBezTo>
                      <a:pt x="11" y="14"/>
                      <a:pt x="10" y="13"/>
                      <a:pt x="10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2"/>
                      <a:pt x="10" y="11"/>
                      <a:pt x="10" y="10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9" y="10"/>
                      <a:pt x="9" y="10"/>
                      <a:pt x="9" y="9"/>
                    </a:cubicBezTo>
                    <a:cubicBezTo>
                      <a:pt x="9" y="9"/>
                      <a:pt x="8" y="9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9" y="10"/>
                      <a:pt x="8" y="11"/>
                      <a:pt x="9" y="11"/>
                    </a:cubicBezTo>
                    <a:cubicBezTo>
                      <a:pt x="9" y="11"/>
                      <a:pt x="9" y="12"/>
                      <a:pt x="9" y="12"/>
                    </a:cubicBezTo>
                    <a:cubicBezTo>
                      <a:pt x="9" y="12"/>
                      <a:pt x="9" y="13"/>
                      <a:pt x="8" y="12"/>
                    </a:cubicBezTo>
                    <a:cubicBezTo>
                      <a:pt x="8" y="11"/>
                      <a:pt x="7" y="11"/>
                      <a:pt x="7" y="11"/>
                    </a:cubicBezTo>
                    <a:cubicBezTo>
                      <a:pt x="7" y="11"/>
                      <a:pt x="6" y="11"/>
                      <a:pt x="6" y="10"/>
                    </a:cubicBezTo>
                    <a:cubicBezTo>
                      <a:pt x="6" y="9"/>
                      <a:pt x="6" y="9"/>
                      <a:pt x="7" y="9"/>
                    </a:cubicBezTo>
                    <a:cubicBezTo>
                      <a:pt x="7" y="9"/>
                      <a:pt x="7" y="8"/>
                      <a:pt x="7" y="8"/>
                    </a:cubicBezTo>
                    <a:cubicBezTo>
                      <a:pt x="6" y="8"/>
                      <a:pt x="5" y="8"/>
                      <a:pt x="6" y="7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5" y="4"/>
                      <a:pt x="5" y="4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3" y="2"/>
                      <a:pt x="3" y="3"/>
                      <a:pt x="2" y="2"/>
                    </a:cubicBezTo>
                    <a:cubicBezTo>
                      <a:pt x="1" y="2"/>
                      <a:pt x="2" y="2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3"/>
                      <a:pt x="1" y="3"/>
                      <a:pt x="1" y="3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2" y="5"/>
                      <a:pt x="2" y="5"/>
                    </a:cubicBezTo>
                    <a:cubicBezTo>
                      <a:pt x="3" y="6"/>
                      <a:pt x="3" y="6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4" y="8"/>
                      <a:pt x="4" y="8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5" y="10"/>
                      <a:pt x="5" y="1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11"/>
                      <a:pt x="6" y="11"/>
                      <a:pt x="6" y="11"/>
                    </a:cubicBezTo>
                    <a:cubicBezTo>
                      <a:pt x="6" y="11"/>
                      <a:pt x="6" y="11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4"/>
                      <a:pt x="6" y="14"/>
                      <a:pt x="7" y="14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6" y="16"/>
                      <a:pt x="6" y="17"/>
                      <a:pt x="6" y="17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6" y="17"/>
                      <a:pt x="7" y="18"/>
                      <a:pt x="6" y="19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4" y="20"/>
                      <a:pt x="3" y="20"/>
                      <a:pt x="3" y="21"/>
                    </a:cubicBezTo>
                    <a:cubicBezTo>
                      <a:pt x="3" y="22"/>
                      <a:pt x="4" y="22"/>
                      <a:pt x="4" y="22"/>
                    </a:cubicBezTo>
                    <a:cubicBezTo>
                      <a:pt x="4" y="23"/>
                      <a:pt x="5" y="23"/>
                      <a:pt x="6" y="23"/>
                    </a:cubicBezTo>
                    <a:cubicBezTo>
                      <a:pt x="6" y="23"/>
                      <a:pt x="6" y="24"/>
                      <a:pt x="6" y="24"/>
                    </a:cubicBezTo>
                    <a:cubicBezTo>
                      <a:pt x="6" y="24"/>
                      <a:pt x="6" y="24"/>
                      <a:pt x="7" y="24"/>
                    </a:cubicBezTo>
                    <a:cubicBezTo>
                      <a:pt x="7" y="24"/>
                      <a:pt x="8" y="25"/>
                      <a:pt x="8" y="25"/>
                    </a:cubicBezTo>
                    <a:cubicBezTo>
                      <a:pt x="8" y="25"/>
                      <a:pt x="8" y="25"/>
                      <a:pt x="8" y="26"/>
                    </a:cubicBezTo>
                    <a:cubicBezTo>
                      <a:pt x="8" y="27"/>
                      <a:pt x="8" y="28"/>
                      <a:pt x="7" y="28"/>
                    </a:cubicBezTo>
                    <a:cubicBezTo>
                      <a:pt x="7" y="28"/>
                      <a:pt x="7" y="28"/>
                      <a:pt x="7" y="28"/>
                    </a:cubicBezTo>
                    <a:cubicBezTo>
                      <a:pt x="7" y="29"/>
                      <a:pt x="6" y="29"/>
                      <a:pt x="6" y="29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30"/>
                      <a:pt x="6" y="31"/>
                      <a:pt x="7" y="31"/>
                    </a:cubicBezTo>
                    <a:cubicBezTo>
                      <a:pt x="7" y="31"/>
                      <a:pt x="7" y="30"/>
                      <a:pt x="8" y="30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8" y="31"/>
                      <a:pt x="8" y="32"/>
                      <a:pt x="8" y="31"/>
                    </a:cubicBezTo>
                    <a:cubicBezTo>
                      <a:pt x="9" y="31"/>
                      <a:pt x="9" y="31"/>
                      <a:pt x="10" y="30"/>
                    </a:cubicBezTo>
                    <a:cubicBezTo>
                      <a:pt x="10" y="30"/>
                      <a:pt x="11" y="28"/>
                      <a:pt x="12" y="28"/>
                    </a:cubicBezTo>
                    <a:cubicBezTo>
                      <a:pt x="12" y="27"/>
                      <a:pt x="12" y="26"/>
                      <a:pt x="12" y="26"/>
                    </a:cubicBezTo>
                    <a:cubicBezTo>
                      <a:pt x="12" y="26"/>
                      <a:pt x="12" y="27"/>
                      <a:pt x="13" y="26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3" y="24"/>
                      <a:pt x="14" y="25"/>
                      <a:pt x="14" y="24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14" y="23"/>
                      <a:pt x="14" y="22"/>
                      <a:pt x="14" y="22"/>
                    </a:cubicBezTo>
                    <a:cubicBezTo>
                      <a:pt x="13" y="22"/>
                      <a:pt x="13" y="21"/>
                      <a:pt x="13" y="21"/>
                    </a:cubicBezTo>
                    <a:cubicBezTo>
                      <a:pt x="14" y="21"/>
                      <a:pt x="14" y="20"/>
                      <a:pt x="15" y="20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6" y="21"/>
                      <a:pt x="17" y="21"/>
                      <a:pt x="17" y="21"/>
                    </a:cubicBezTo>
                    <a:cubicBezTo>
                      <a:pt x="17" y="21"/>
                      <a:pt x="18" y="21"/>
                      <a:pt x="17" y="20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17" y="19"/>
                      <a:pt x="16" y="19"/>
                      <a:pt x="17" y="18"/>
                    </a:cubicBezTo>
                    <a:cubicBezTo>
                      <a:pt x="18" y="18"/>
                      <a:pt x="18" y="17"/>
                      <a:pt x="18" y="17"/>
                    </a:cubicBezTo>
                    <a:cubicBezTo>
                      <a:pt x="18" y="16"/>
                      <a:pt x="18" y="15"/>
                      <a:pt x="18" y="15"/>
                    </a:cubicBezTo>
                    <a:cubicBezTo>
                      <a:pt x="19" y="14"/>
                      <a:pt x="20" y="14"/>
                      <a:pt x="19" y="14"/>
                    </a:cubicBezTo>
                    <a:cubicBezTo>
                      <a:pt x="17" y="13"/>
                      <a:pt x="17" y="13"/>
                      <a:pt x="17" y="1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54" name="Freeform 189">
                <a:extLst>
                  <a:ext uri="{FF2B5EF4-FFF2-40B4-BE49-F238E27FC236}">
                    <a16:creationId xmlns:a16="http://schemas.microsoft.com/office/drawing/2014/main" id="{538599B1-2A5A-404A-821E-9E1503A898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0" y="2959"/>
                <a:ext cx="60" cy="66"/>
              </a:xfrm>
              <a:custGeom>
                <a:avLst/>
                <a:gdLst>
                  <a:gd name="T0" fmla="*/ 24 w 25"/>
                  <a:gd name="T1" fmla="*/ 4 h 28"/>
                  <a:gd name="T2" fmla="*/ 25 w 25"/>
                  <a:gd name="T3" fmla="*/ 3 h 28"/>
                  <a:gd name="T4" fmla="*/ 23 w 25"/>
                  <a:gd name="T5" fmla="*/ 3 h 28"/>
                  <a:gd name="T6" fmla="*/ 21 w 25"/>
                  <a:gd name="T7" fmla="*/ 4 h 28"/>
                  <a:gd name="T8" fmla="*/ 21 w 25"/>
                  <a:gd name="T9" fmla="*/ 3 h 28"/>
                  <a:gd name="T10" fmla="*/ 21 w 25"/>
                  <a:gd name="T11" fmla="*/ 2 h 28"/>
                  <a:gd name="T12" fmla="*/ 20 w 25"/>
                  <a:gd name="T13" fmla="*/ 1 h 28"/>
                  <a:gd name="T14" fmla="*/ 20 w 25"/>
                  <a:gd name="T15" fmla="*/ 1 h 28"/>
                  <a:gd name="T16" fmla="*/ 18 w 25"/>
                  <a:gd name="T17" fmla="*/ 4 h 28"/>
                  <a:gd name="T18" fmla="*/ 16 w 25"/>
                  <a:gd name="T19" fmla="*/ 6 h 28"/>
                  <a:gd name="T20" fmla="*/ 16 w 25"/>
                  <a:gd name="T21" fmla="*/ 8 h 28"/>
                  <a:gd name="T22" fmla="*/ 15 w 25"/>
                  <a:gd name="T23" fmla="*/ 10 h 28"/>
                  <a:gd name="T24" fmla="*/ 14 w 25"/>
                  <a:gd name="T25" fmla="*/ 11 h 28"/>
                  <a:gd name="T26" fmla="*/ 13 w 25"/>
                  <a:gd name="T27" fmla="*/ 12 h 28"/>
                  <a:gd name="T28" fmla="*/ 11 w 25"/>
                  <a:gd name="T29" fmla="*/ 13 h 28"/>
                  <a:gd name="T30" fmla="*/ 10 w 25"/>
                  <a:gd name="T31" fmla="*/ 15 h 28"/>
                  <a:gd name="T32" fmla="*/ 8 w 25"/>
                  <a:gd name="T33" fmla="*/ 16 h 28"/>
                  <a:gd name="T34" fmla="*/ 7 w 25"/>
                  <a:gd name="T35" fmla="*/ 16 h 28"/>
                  <a:gd name="T36" fmla="*/ 6 w 25"/>
                  <a:gd name="T37" fmla="*/ 17 h 28"/>
                  <a:gd name="T38" fmla="*/ 5 w 25"/>
                  <a:gd name="T39" fmla="*/ 18 h 28"/>
                  <a:gd name="T40" fmla="*/ 3 w 25"/>
                  <a:gd name="T41" fmla="*/ 19 h 28"/>
                  <a:gd name="T42" fmla="*/ 2 w 25"/>
                  <a:gd name="T43" fmla="*/ 21 h 28"/>
                  <a:gd name="T44" fmla="*/ 1 w 25"/>
                  <a:gd name="T45" fmla="*/ 22 h 28"/>
                  <a:gd name="T46" fmla="*/ 0 w 25"/>
                  <a:gd name="T47" fmla="*/ 24 h 28"/>
                  <a:gd name="T48" fmla="*/ 0 w 25"/>
                  <a:gd name="T49" fmla="*/ 25 h 28"/>
                  <a:gd name="T50" fmla="*/ 1 w 25"/>
                  <a:gd name="T51" fmla="*/ 26 h 28"/>
                  <a:gd name="T52" fmla="*/ 3 w 25"/>
                  <a:gd name="T53" fmla="*/ 26 h 28"/>
                  <a:gd name="T54" fmla="*/ 5 w 25"/>
                  <a:gd name="T55" fmla="*/ 27 h 28"/>
                  <a:gd name="T56" fmla="*/ 7 w 25"/>
                  <a:gd name="T57" fmla="*/ 28 h 28"/>
                  <a:gd name="T58" fmla="*/ 8 w 25"/>
                  <a:gd name="T59" fmla="*/ 28 h 28"/>
                  <a:gd name="T60" fmla="*/ 11 w 25"/>
                  <a:gd name="T61" fmla="*/ 26 h 28"/>
                  <a:gd name="T62" fmla="*/ 13 w 25"/>
                  <a:gd name="T63" fmla="*/ 25 h 28"/>
                  <a:gd name="T64" fmla="*/ 14 w 25"/>
                  <a:gd name="T65" fmla="*/ 24 h 28"/>
                  <a:gd name="T66" fmla="*/ 14 w 25"/>
                  <a:gd name="T67" fmla="*/ 21 h 28"/>
                  <a:gd name="T68" fmla="*/ 15 w 25"/>
                  <a:gd name="T69" fmla="*/ 18 h 28"/>
                  <a:gd name="T70" fmla="*/ 16 w 25"/>
                  <a:gd name="T71" fmla="*/ 17 h 28"/>
                  <a:gd name="T72" fmla="*/ 17 w 25"/>
                  <a:gd name="T73" fmla="*/ 16 h 28"/>
                  <a:gd name="T74" fmla="*/ 18 w 25"/>
                  <a:gd name="T75" fmla="*/ 16 h 28"/>
                  <a:gd name="T76" fmla="*/ 18 w 25"/>
                  <a:gd name="T77" fmla="*/ 15 h 28"/>
                  <a:gd name="T78" fmla="*/ 19 w 25"/>
                  <a:gd name="T79" fmla="*/ 15 h 28"/>
                  <a:gd name="T80" fmla="*/ 20 w 25"/>
                  <a:gd name="T81" fmla="*/ 15 h 28"/>
                  <a:gd name="T82" fmla="*/ 21 w 25"/>
                  <a:gd name="T83" fmla="*/ 15 h 28"/>
                  <a:gd name="T84" fmla="*/ 20 w 25"/>
                  <a:gd name="T85" fmla="*/ 14 h 28"/>
                  <a:gd name="T86" fmla="*/ 20 w 25"/>
                  <a:gd name="T87" fmla="*/ 14 h 28"/>
                  <a:gd name="T88" fmla="*/ 18 w 25"/>
                  <a:gd name="T89" fmla="*/ 13 h 28"/>
                  <a:gd name="T90" fmla="*/ 19 w 25"/>
                  <a:gd name="T91" fmla="*/ 12 h 28"/>
                  <a:gd name="T92" fmla="*/ 21 w 25"/>
                  <a:gd name="T93" fmla="*/ 12 h 28"/>
                  <a:gd name="T94" fmla="*/ 23 w 25"/>
                  <a:gd name="T95" fmla="*/ 9 h 28"/>
                  <a:gd name="T96" fmla="*/ 23 w 25"/>
                  <a:gd name="T97" fmla="*/ 8 h 28"/>
                  <a:gd name="T98" fmla="*/ 24 w 25"/>
                  <a:gd name="T99" fmla="*/ 7 h 28"/>
                  <a:gd name="T100" fmla="*/ 24 w 25"/>
                  <a:gd name="T101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5" h="28">
                    <a:moveTo>
                      <a:pt x="24" y="5"/>
                    </a:moveTo>
                    <a:cubicBezTo>
                      <a:pt x="24" y="5"/>
                      <a:pt x="24" y="5"/>
                      <a:pt x="24" y="5"/>
                    </a:cubicBezTo>
                    <a:cubicBezTo>
                      <a:pt x="24" y="5"/>
                      <a:pt x="24" y="5"/>
                      <a:pt x="24" y="4"/>
                    </a:cubicBezTo>
                    <a:cubicBezTo>
                      <a:pt x="24" y="4"/>
                      <a:pt x="24" y="4"/>
                      <a:pt x="25" y="4"/>
                    </a:cubicBezTo>
                    <a:cubicBezTo>
                      <a:pt x="25" y="4"/>
                      <a:pt x="25" y="4"/>
                      <a:pt x="25" y="3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5" y="3"/>
                      <a:pt x="25" y="3"/>
                      <a:pt x="24" y="3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2"/>
                      <a:pt x="23" y="3"/>
                      <a:pt x="23" y="3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23" y="3"/>
                      <a:pt x="23" y="3"/>
                      <a:pt x="22" y="3"/>
                    </a:cubicBezTo>
                    <a:cubicBezTo>
                      <a:pt x="22" y="3"/>
                      <a:pt x="22" y="4"/>
                      <a:pt x="21" y="4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0" y="2"/>
                      <a:pt x="20" y="2"/>
                      <a:pt x="20" y="1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0"/>
                      <a:pt x="20" y="1"/>
                      <a:pt x="20" y="1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1"/>
                      <a:pt x="18" y="2"/>
                      <a:pt x="18" y="3"/>
                    </a:cubicBezTo>
                    <a:cubicBezTo>
                      <a:pt x="18" y="3"/>
                      <a:pt x="18" y="4"/>
                      <a:pt x="18" y="4"/>
                    </a:cubicBezTo>
                    <a:cubicBezTo>
                      <a:pt x="18" y="4"/>
                      <a:pt x="18" y="4"/>
                      <a:pt x="17" y="5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6" y="6"/>
                      <a:pt x="16" y="7"/>
                      <a:pt x="16" y="7"/>
                    </a:cubicBezTo>
                    <a:cubicBezTo>
                      <a:pt x="16" y="7"/>
                      <a:pt x="15" y="8"/>
                      <a:pt x="15" y="8"/>
                    </a:cubicBezTo>
                    <a:cubicBezTo>
                      <a:pt x="15" y="8"/>
                      <a:pt x="15" y="8"/>
                      <a:pt x="16" y="8"/>
                    </a:cubicBezTo>
                    <a:cubicBezTo>
                      <a:pt x="17" y="8"/>
                      <a:pt x="17" y="8"/>
                      <a:pt x="16" y="9"/>
                    </a:cubicBezTo>
                    <a:cubicBezTo>
                      <a:pt x="16" y="9"/>
                      <a:pt x="15" y="9"/>
                      <a:pt x="15" y="10"/>
                    </a:cubicBezTo>
                    <a:cubicBezTo>
                      <a:pt x="15" y="10"/>
                      <a:pt x="14" y="10"/>
                      <a:pt x="15" y="10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4" y="11"/>
                      <a:pt x="13" y="11"/>
                      <a:pt x="13" y="11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2" y="12"/>
                      <a:pt x="12" y="12"/>
                      <a:pt x="12" y="13"/>
                    </a:cubicBezTo>
                    <a:cubicBezTo>
                      <a:pt x="12" y="13"/>
                      <a:pt x="11" y="13"/>
                      <a:pt x="11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1" y="13"/>
                      <a:pt x="11" y="14"/>
                      <a:pt x="10" y="14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10" y="14"/>
                      <a:pt x="10" y="15"/>
                      <a:pt x="10" y="15"/>
                    </a:cubicBezTo>
                    <a:cubicBezTo>
                      <a:pt x="9" y="14"/>
                      <a:pt x="9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9" y="16"/>
                      <a:pt x="9" y="16"/>
                      <a:pt x="8" y="16"/>
                    </a:cubicBezTo>
                    <a:cubicBezTo>
                      <a:pt x="8" y="15"/>
                      <a:pt x="8" y="16"/>
                      <a:pt x="8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7" y="16"/>
                      <a:pt x="7" y="16"/>
                      <a:pt x="6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6" y="17"/>
                      <a:pt x="5" y="17"/>
                      <a:pt x="5" y="17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5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3" y="19"/>
                      <a:pt x="3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2" y="20"/>
                      <a:pt x="2" y="21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2" y="22"/>
                      <a:pt x="2" y="22"/>
                      <a:pt x="1" y="22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1" y="22"/>
                      <a:pt x="1" y="23"/>
                      <a:pt x="1" y="23"/>
                    </a:cubicBezTo>
                    <a:cubicBezTo>
                      <a:pt x="1" y="23"/>
                      <a:pt x="1" y="24"/>
                      <a:pt x="1" y="24"/>
                    </a:cubicBezTo>
                    <a:cubicBezTo>
                      <a:pt x="1" y="24"/>
                      <a:pt x="1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6"/>
                      <a:pt x="1" y="26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2" y="26"/>
                      <a:pt x="3" y="26"/>
                      <a:pt x="3" y="26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6"/>
                      <a:pt x="3" y="26"/>
                      <a:pt x="3" y="25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5" y="28"/>
                      <a:pt x="4" y="27"/>
                      <a:pt x="5" y="27"/>
                    </a:cubicBezTo>
                    <a:cubicBezTo>
                      <a:pt x="6" y="27"/>
                      <a:pt x="5" y="26"/>
                      <a:pt x="5" y="27"/>
                    </a:cubicBezTo>
                    <a:cubicBezTo>
                      <a:pt x="6" y="27"/>
                      <a:pt x="6" y="27"/>
                      <a:pt x="6" y="28"/>
                    </a:cubicBezTo>
                    <a:cubicBezTo>
                      <a:pt x="6" y="28"/>
                      <a:pt x="6" y="28"/>
                      <a:pt x="7" y="28"/>
                    </a:cubicBezTo>
                    <a:cubicBezTo>
                      <a:pt x="7" y="27"/>
                      <a:pt x="7" y="28"/>
                      <a:pt x="8" y="28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9" y="28"/>
                      <a:pt x="9" y="28"/>
                      <a:pt x="9" y="28"/>
                    </a:cubicBezTo>
                    <a:cubicBezTo>
                      <a:pt x="9" y="28"/>
                      <a:pt x="10" y="28"/>
                      <a:pt x="10" y="28"/>
                    </a:cubicBezTo>
                    <a:cubicBezTo>
                      <a:pt x="11" y="27"/>
                      <a:pt x="11" y="27"/>
                      <a:pt x="11" y="26"/>
                    </a:cubicBezTo>
                    <a:cubicBezTo>
                      <a:pt x="12" y="26"/>
                      <a:pt x="12" y="26"/>
                      <a:pt x="12" y="25"/>
                    </a:cubicBezTo>
                    <a:cubicBezTo>
                      <a:pt x="12" y="25"/>
                      <a:pt x="12" y="25"/>
                      <a:pt x="13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3" y="25"/>
                      <a:pt x="14" y="24"/>
                      <a:pt x="14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14" y="23"/>
                      <a:pt x="14" y="22"/>
                      <a:pt x="14" y="22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5" y="21"/>
                      <a:pt x="15" y="19"/>
                      <a:pt x="15" y="19"/>
                    </a:cubicBezTo>
                    <a:cubicBezTo>
                      <a:pt x="15" y="19"/>
                      <a:pt x="15" y="18"/>
                      <a:pt x="15" y="18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5" y="18"/>
                      <a:pt x="16" y="17"/>
                      <a:pt x="16" y="17"/>
                    </a:cubicBezTo>
                    <a:cubicBezTo>
                      <a:pt x="16" y="17"/>
                      <a:pt x="16" y="17"/>
                      <a:pt x="16" y="16"/>
                    </a:cubicBezTo>
                    <a:cubicBezTo>
                      <a:pt x="16" y="16"/>
                      <a:pt x="16" y="16"/>
                      <a:pt x="16" y="17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7" y="16"/>
                      <a:pt x="17" y="16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7" y="16"/>
                      <a:pt x="18" y="16"/>
                      <a:pt x="18" y="16"/>
                    </a:cubicBezTo>
                    <a:cubicBezTo>
                      <a:pt x="18" y="16"/>
                      <a:pt x="18" y="15"/>
                      <a:pt x="17" y="15"/>
                    </a:cubicBezTo>
                    <a:cubicBezTo>
                      <a:pt x="17" y="15"/>
                      <a:pt x="17" y="15"/>
                      <a:pt x="17" y="14"/>
                    </a:cubicBezTo>
                    <a:cubicBezTo>
                      <a:pt x="17" y="14"/>
                      <a:pt x="18" y="15"/>
                      <a:pt x="18" y="15"/>
                    </a:cubicBezTo>
                    <a:cubicBezTo>
                      <a:pt x="18" y="15"/>
                      <a:pt x="18" y="15"/>
                      <a:pt x="19" y="15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9" y="15"/>
                      <a:pt x="20" y="15"/>
                      <a:pt x="20" y="15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20" y="15"/>
                      <a:pt x="20" y="16"/>
                      <a:pt x="21" y="16"/>
                    </a:cubicBezTo>
                    <a:cubicBezTo>
                      <a:pt x="21" y="16"/>
                      <a:pt x="21" y="16"/>
                      <a:pt x="21" y="15"/>
                    </a:cubicBezTo>
                    <a:cubicBezTo>
                      <a:pt x="22" y="15"/>
                      <a:pt x="21" y="15"/>
                      <a:pt x="21" y="15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1" y="14"/>
                      <a:pt x="21" y="14"/>
                      <a:pt x="20" y="14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20" y="13"/>
                      <a:pt x="19" y="13"/>
                      <a:pt x="19" y="13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8" y="13"/>
                      <a:pt x="19" y="13"/>
                      <a:pt x="19" y="13"/>
                    </a:cubicBezTo>
                    <a:cubicBezTo>
                      <a:pt x="19" y="13"/>
                      <a:pt x="19" y="13"/>
                      <a:pt x="19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2"/>
                      <a:pt x="20" y="13"/>
                      <a:pt x="20" y="13"/>
                    </a:cubicBezTo>
                    <a:cubicBezTo>
                      <a:pt x="20" y="12"/>
                      <a:pt x="21" y="12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22" y="10"/>
                      <a:pt x="23" y="10"/>
                      <a:pt x="23" y="9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3" y="9"/>
                      <a:pt x="23" y="9"/>
                      <a:pt x="24" y="8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4" y="8"/>
                      <a:pt x="23" y="8"/>
                      <a:pt x="23" y="8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8"/>
                      <a:pt x="24" y="7"/>
                      <a:pt x="24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5" y="7"/>
                      <a:pt x="25" y="6"/>
                      <a:pt x="25" y="6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5" y="6"/>
                      <a:pt x="25" y="6"/>
                      <a:pt x="24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55" name="Freeform 190">
                <a:extLst>
                  <a:ext uri="{FF2B5EF4-FFF2-40B4-BE49-F238E27FC236}">
                    <a16:creationId xmlns:a16="http://schemas.microsoft.com/office/drawing/2014/main" id="{70F65C95-1524-49C8-B45E-AE800BB6C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8" y="3025"/>
                <a:ext cx="7" cy="7"/>
              </a:xfrm>
              <a:custGeom>
                <a:avLst/>
                <a:gdLst>
                  <a:gd name="T0" fmla="*/ 2 w 3"/>
                  <a:gd name="T1" fmla="*/ 1 h 3"/>
                  <a:gd name="T2" fmla="*/ 2 w 3"/>
                  <a:gd name="T3" fmla="*/ 1 h 3"/>
                  <a:gd name="T4" fmla="*/ 3 w 3"/>
                  <a:gd name="T5" fmla="*/ 1 h 3"/>
                  <a:gd name="T6" fmla="*/ 2 w 3"/>
                  <a:gd name="T7" fmla="*/ 1 h 3"/>
                  <a:gd name="T8" fmla="*/ 2 w 3"/>
                  <a:gd name="T9" fmla="*/ 1 h 3"/>
                  <a:gd name="T10" fmla="*/ 2 w 3"/>
                  <a:gd name="T11" fmla="*/ 0 h 3"/>
                  <a:gd name="T12" fmla="*/ 1 w 3"/>
                  <a:gd name="T13" fmla="*/ 0 h 3"/>
                  <a:gd name="T14" fmla="*/ 1 w 3"/>
                  <a:gd name="T15" fmla="*/ 0 h 3"/>
                  <a:gd name="T16" fmla="*/ 1 w 3"/>
                  <a:gd name="T17" fmla="*/ 0 h 3"/>
                  <a:gd name="T18" fmla="*/ 1 w 3"/>
                  <a:gd name="T19" fmla="*/ 1 h 3"/>
                  <a:gd name="T20" fmla="*/ 1 w 3"/>
                  <a:gd name="T21" fmla="*/ 2 h 3"/>
                  <a:gd name="T22" fmla="*/ 1 w 3"/>
                  <a:gd name="T23" fmla="*/ 2 h 3"/>
                  <a:gd name="T24" fmla="*/ 0 w 3"/>
                  <a:gd name="T25" fmla="*/ 3 h 3"/>
                  <a:gd name="T26" fmla="*/ 0 w 3"/>
                  <a:gd name="T27" fmla="*/ 3 h 3"/>
                  <a:gd name="T28" fmla="*/ 0 w 3"/>
                  <a:gd name="T29" fmla="*/ 3 h 3"/>
                  <a:gd name="T30" fmla="*/ 1 w 3"/>
                  <a:gd name="T31" fmla="*/ 3 h 3"/>
                  <a:gd name="T32" fmla="*/ 1 w 3"/>
                  <a:gd name="T33" fmla="*/ 3 h 3"/>
                  <a:gd name="T34" fmla="*/ 1 w 3"/>
                  <a:gd name="T35" fmla="*/ 3 h 3"/>
                  <a:gd name="T36" fmla="*/ 2 w 3"/>
                  <a:gd name="T37" fmla="*/ 2 h 3"/>
                  <a:gd name="T38" fmla="*/ 3 w 3"/>
                  <a:gd name="T39" fmla="*/ 2 h 3"/>
                  <a:gd name="T40" fmla="*/ 3 w 3"/>
                  <a:gd name="T41" fmla="*/ 2 h 3"/>
                  <a:gd name="T42" fmla="*/ 2 w 3"/>
                  <a:gd name="T43" fmla="*/ 1 h 3"/>
                  <a:gd name="T44" fmla="*/ 2 w 3"/>
                  <a:gd name="T4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" h="3"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3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3"/>
                      <a:pt x="2" y="3"/>
                      <a:pt x="2" y="2"/>
                    </a:cubicBezTo>
                    <a:cubicBezTo>
                      <a:pt x="2" y="2"/>
                      <a:pt x="2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56" name="Freeform 191">
                <a:extLst>
                  <a:ext uri="{FF2B5EF4-FFF2-40B4-BE49-F238E27FC236}">
                    <a16:creationId xmlns:a16="http://schemas.microsoft.com/office/drawing/2014/main" id="{B1830CC2-D48B-4CF3-B512-675D7A45B6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3" y="2909"/>
                <a:ext cx="12" cy="5"/>
              </a:xfrm>
              <a:custGeom>
                <a:avLst/>
                <a:gdLst>
                  <a:gd name="T0" fmla="*/ 4 w 5"/>
                  <a:gd name="T1" fmla="*/ 1 h 2"/>
                  <a:gd name="T2" fmla="*/ 4 w 5"/>
                  <a:gd name="T3" fmla="*/ 1 h 2"/>
                  <a:gd name="T4" fmla="*/ 4 w 5"/>
                  <a:gd name="T5" fmla="*/ 1 h 2"/>
                  <a:gd name="T6" fmla="*/ 4 w 5"/>
                  <a:gd name="T7" fmla="*/ 1 h 2"/>
                  <a:gd name="T8" fmla="*/ 3 w 5"/>
                  <a:gd name="T9" fmla="*/ 0 h 2"/>
                  <a:gd name="T10" fmla="*/ 3 w 5"/>
                  <a:gd name="T11" fmla="*/ 0 h 2"/>
                  <a:gd name="T12" fmla="*/ 2 w 5"/>
                  <a:gd name="T13" fmla="*/ 1 h 2"/>
                  <a:gd name="T14" fmla="*/ 1 w 5"/>
                  <a:gd name="T15" fmla="*/ 1 h 2"/>
                  <a:gd name="T16" fmla="*/ 0 w 5"/>
                  <a:gd name="T17" fmla="*/ 2 h 2"/>
                  <a:gd name="T18" fmla="*/ 0 w 5"/>
                  <a:gd name="T19" fmla="*/ 2 h 2"/>
                  <a:gd name="T20" fmla="*/ 1 w 5"/>
                  <a:gd name="T21" fmla="*/ 2 h 2"/>
                  <a:gd name="T22" fmla="*/ 2 w 5"/>
                  <a:gd name="T23" fmla="*/ 2 h 2"/>
                  <a:gd name="T24" fmla="*/ 2 w 5"/>
                  <a:gd name="T25" fmla="*/ 2 h 2"/>
                  <a:gd name="T26" fmla="*/ 3 w 5"/>
                  <a:gd name="T27" fmla="*/ 2 h 2"/>
                  <a:gd name="T28" fmla="*/ 3 w 5"/>
                  <a:gd name="T29" fmla="*/ 2 h 2"/>
                  <a:gd name="T30" fmla="*/ 3 w 5"/>
                  <a:gd name="T31" fmla="*/ 2 h 2"/>
                  <a:gd name="T32" fmla="*/ 4 w 5"/>
                  <a:gd name="T33" fmla="*/ 2 h 2"/>
                  <a:gd name="T34" fmla="*/ 4 w 5"/>
                  <a:gd name="T35" fmla="*/ 2 h 2"/>
                  <a:gd name="T36" fmla="*/ 5 w 5"/>
                  <a:gd name="T37" fmla="*/ 2 h 2"/>
                  <a:gd name="T38" fmla="*/ 5 w 5"/>
                  <a:gd name="T39" fmla="*/ 2 h 2"/>
                  <a:gd name="T40" fmla="*/ 5 w 5"/>
                  <a:gd name="T41" fmla="*/ 2 h 2"/>
                  <a:gd name="T42" fmla="*/ 5 w 5"/>
                  <a:gd name="T43" fmla="*/ 1 h 2"/>
                  <a:gd name="T44" fmla="*/ 5 w 5"/>
                  <a:gd name="T45" fmla="*/ 1 h 2"/>
                  <a:gd name="T46" fmla="*/ 4 w 5"/>
                  <a:gd name="T4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" h="2">
                    <a:moveTo>
                      <a:pt x="4" y="1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4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57" name="Freeform 192">
                <a:extLst>
                  <a:ext uri="{FF2B5EF4-FFF2-40B4-BE49-F238E27FC236}">
                    <a16:creationId xmlns:a16="http://schemas.microsoft.com/office/drawing/2014/main" id="{DA003F74-8401-430F-926C-7911816F8C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5" y="2669"/>
                <a:ext cx="308" cy="276"/>
              </a:xfrm>
              <a:custGeom>
                <a:avLst/>
                <a:gdLst>
                  <a:gd name="T0" fmla="*/ 128 w 130"/>
                  <a:gd name="T1" fmla="*/ 62 h 116"/>
                  <a:gd name="T2" fmla="*/ 123 w 130"/>
                  <a:gd name="T3" fmla="*/ 53 h 116"/>
                  <a:gd name="T4" fmla="*/ 121 w 130"/>
                  <a:gd name="T5" fmla="*/ 47 h 116"/>
                  <a:gd name="T6" fmla="*/ 118 w 130"/>
                  <a:gd name="T7" fmla="*/ 47 h 116"/>
                  <a:gd name="T8" fmla="*/ 114 w 130"/>
                  <a:gd name="T9" fmla="*/ 38 h 116"/>
                  <a:gd name="T10" fmla="*/ 110 w 130"/>
                  <a:gd name="T11" fmla="*/ 35 h 116"/>
                  <a:gd name="T12" fmla="*/ 105 w 130"/>
                  <a:gd name="T13" fmla="*/ 27 h 116"/>
                  <a:gd name="T14" fmla="*/ 103 w 130"/>
                  <a:gd name="T15" fmla="*/ 17 h 116"/>
                  <a:gd name="T16" fmla="*/ 98 w 130"/>
                  <a:gd name="T17" fmla="*/ 13 h 116"/>
                  <a:gd name="T18" fmla="*/ 96 w 130"/>
                  <a:gd name="T19" fmla="*/ 5 h 116"/>
                  <a:gd name="T20" fmla="*/ 92 w 130"/>
                  <a:gd name="T21" fmla="*/ 6 h 116"/>
                  <a:gd name="T22" fmla="*/ 92 w 130"/>
                  <a:gd name="T23" fmla="*/ 18 h 116"/>
                  <a:gd name="T24" fmla="*/ 83 w 130"/>
                  <a:gd name="T25" fmla="*/ 25 h 116"/>
                  <a:gd name="T26" fmla="*/ 75 w 130"/>
                  <a:gd name="T27" fmla="*/ 20 h 116"/>
                  <a:gd name="T28" fmla="*/ 73 w 130"/>
                  <a:gd name="T29" fmla="*/ 13 h 116"/>
                  <a:gd name="T30" fmla="*/ 75 w 130"/>
                  <a:gd name="T31" fmla="*/ 8 h 116"/>
                  <a:gd name="T32" fmla="*/ 73 w 130"/>
                  <a:gd name="T33" fmla="*/ 5 h 116"/>
                  <a:gd name="T34" fmla="*/ 68 w 130"/>
                  <a:gd name="T35" fmla="*/ 5 h 116"/>
                  <a:gd name="T36" fmla="*/ 62 w 130"/>
                  <a:gd name="T37" fmla="*/ 2 h 116"/>
                  <a:gd name="T38" fmla="*/ 62 w 130"/>
                  <a:gd name="T39" fmla="*/ 7 h 116"/>
                  <a:gd name="T40" fmla="*/ 57 w 130"/>
                  <a:gd name="T41" fmla="*/ 7 h 116"/>
                  <a:gd name="T42" fmla="*/ 55 w 130"/>
                  <a:gd name="T43" fmla="*/ 11 h 116"/>
                  <a:gd name="T44" fmla="*/ 53 w 130"/>
                  <a:gd name="T45" fmla="*/ 18 h 116"/>
                  <a:gd name="T46" fmla="*/ 48 w 130"/>
                  <a:gd name="T47" fmla="*/ 16 h 116"/>
                  <a:gd name="T48" fmla="*/ 42 w 130"/>
                  <a:gd name="T49" fmla="*/ 14 h 116"/>
                  <a:gd name="T50" fmla="*/ 38 w 130"/>
                  <a:gd name="T51" fmla="*/ 18 h 116"/>
                  <a:gd name="T52" fmla="*/ 35 w 130"/>
                  <a:gd name="T53" fmla="*/ 22 h 116"/>
                  <a:gd name="T54" fmla="*/ 33 w 130"/>
                  <a:gd name="T55" fmla="*/ 26 h 116"/>
                  <a:gd name="T56" fmla="*/ 29 w 130"/>
                  <a:gd name="T57" fmla="*/ 27 h 116"/>
                  <a:gd name="T58" fmla="*/ 23 w 130"/>
                  <a:gd name="T59" fmla="*/ 37 h 116"/>
                  <a:gd name="T60" fmla="*/ 13 w 130"/>
                  <a:gd name="T61" fmla="*/ 40 h 116"/>
                  <a:gd name="T62" fmla="*/ 5 w 130"/>
                  <a:gd name="T63" fmla="*/ 44 h 116"/>
                  <a:gd name="T64" fmla="*/ 2 w 130"/>
                  <a:gd name="T65" fmla="*/ 47 h 116"/>
                  <a:gd name="T66" fmla="*/ 4 w 130"/>
                  <a:gd name="T67" fmla="*/ 62 h 116"/>
                  <a:gd name="T68" fmla="*/ 1 w 130"/>
                  <a:gd name="T69" fmla="*/ 61 h 116"/>
                  <a:gd name="T70" fmla="*/ 3 w 130"/>
                  <a:gd name="T71" fmla="*/ 66 h 116"/>
                  <a:gd name="T72" fmla="*/ 6 w 130"/>
                  <a:gd name="T73" fmla="*/ 79 h 116"/>
                  <a:gd name="T74" fmla="*/ 7 w 130"/>
                  <a:gd name="T75" fmla="*/ 93 h 116"/>
                  <a:gd name="T76" fmla="*/ 15 w 130"/>
                  <a:gd name="T77" fmla="*/ 100 h 116"/>
                  <a:gd name="T78" fmla="*/ 21 w 130"/>
                  <a:gd name="T79" fmla="*/ 95 h 116"/>
                  <a:gd name="T80" fmla="*/ 29 w 130"/>
                  <a:gd name="T81" fmla="*/ 94 h 116"/>
                  <a:gd name="T82" fmla="*/ 35 w 130"/>
                  <a:gd name="T83" fmla="*/ 92 h 116"/>
                  <a:gd name="T84" fmla="*/ 46 w 130"/>
                  <a:gd name="T85" fmla="*/ 87 h 116"/>
                  <a:gd name="T86" fmla="*/ 60 w 130"/>
                  <a:gd name="T87" fmla="*/ 85 h 116"/>
                  <a:gd name="T88" fmla="*/ 67 w 130"/>
                  <a:gd name="T89" fmla="*/ 88 h 116"/>
                  <a:gd name="T90" fmla="*/ 69 w 130"/>
                  <a:gd name="T91" fmla="*/ 91 h 116"/>
                  <a:gd name="T92" fmla="*/ 71 w 130"/>
                  <a:gd name="T93" fmla="*/ 97 h 116"/>
                  <a:gd name="T94" fmla="*/ 75 w 130"/>
                  <a:gd name="T95" fmla="*/ 95 h 116"/>
                  <a:gd name="T96" fmla="*/ 79 w 130"/>
                  <a:gd name="T97" fmla="*/ 89 h 116"/>
                  <a:gd name="T98" fmla="*/ 78 w 130"/>
                  <a:gd name="T99" fmla="*/ 95 h 116"/>
                  <a:gd name="T100" fmla="*/ 77 w 130"/>
                  <a:gd name="T101" fmla="*/ 100 h 116"/>
                  <a:gd name="T102" fmla="*/ 81 w 130"/>
                  <a:gd name="T103" fmla="*/ 98 h 116"/>
                  <a:gd name="T104" fmla="*/ 83 w 130"/>
                  <a:gd name="T105" fmla="*/ 100 h 116"/>
                  <a:gd name="T106" fmla="*/ 87 w 130"/>
                  <a:gd name="T107" fmla="*/ 110 h 116"/>
                  <a:gd name="T108" fmla="*/ 98 w 130"/>
                  <a:gd name="T109" fmla="*/ 115 h 116"/>
                  <a:gd name="T110" fmla="*/ 102 w 130"/>
                  <a:gd name="T111" fmla="*/ 112 h 116"/>
                  <a:gd name="T112" fmla="*/ 107 w 130"/>
                  <a:gd name="T113" fmla="*/ 116 h 116"/>
                  <a:gd name="T114" fmla="*/ 116 w 130"/>
                  <a:gd name="T115" fmla="*/ 111 h 116"/>
                  <a:gd name="T116" fmla="*/ 119 w 130"/>
                  <a:gd name="T117" fmla="*/ 104 h 116"/>
                  <a:gd name="T118" fmla="*/ 124 w 130"/>
                  <a:gd name="T119" fmla="*/ 90 h 116"/>
                  <a:gd name="T120" fmla="*/ 129 w 130"/>
                  <a:gd name="T121" fmla="*/ 78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0" h="116">
                    <a:moveTo>
                      <a:pt x="129" y="69"/>
                    </a:moveTo>
                    <a:cubicBezTo>
                      <a:pt x="129" y="69"/>
                      <a:pt x="129" y="69"/>
                      <a:pt x="129" y="69"/>
                    </a:cubicBezTo>
                    <a:cubicBezTo>
                      <a:pt x="129" y="69"/>
                      <a:pt x="129" y="69"/>
                      <a:pt x="129" y="68"/>
                    </a:cubicBezTo>
                    <a:cubicBezTo>
                      <a:pt x="129" y="68"/>
                      <a:pt x="129" y="68"/>
                      <a:pt x="129" y="68"/>
                    </a:cubicBezTo>
                    <a:cubicBezTo>
                      <a:pt x="129" y="68"/>
                      <a:pt x="129" y="67"/>
                      <a:pt x="129" y="67"/>
                    </a:cubicBezTo>
                    <a:cubicBezTo>
                      <a:pt x="128" y="66"/>
                      <a:pt x="128" y="66"/>
                      <a:pt x="128" y="66"/>
                    </a:cubicBezTo>
                    <a:cubicBezTo>
                      <a:pt x="128" y="66"/>
                      <a:pt x="128" y="66"/>
                      <a:pt x="128" y="66"/>
                    </a:cubicBezTo>
                    <a:cubicBezTo>
                      <a:pt x="128" y="66"/>
                      <a:pt x="129" y="65"/>
                      <a:pt x="129" y="65"/>
                    </a:cubicBezTo>
                    <a:cubicBezTo>
                      <a:pt x="128" y="65"/>
                      <a:pt x="128" y="65"/>
                      <a:pt x="128" y="65"/>
                    </a:cubicBezTo>
                    <a:cubicBezTo>
                      <a:pt x="128" y="65"/>
                      <a:pt x="128" y="65"/>
                      <a:pt x="128" y="65"/>
                    </a:cubicBezTo>
                    <a:cubicBezTo>
                      <a:pt x="128" y="64"/>
                      <a:pt x="128" y="63"/>
                      <a:pt x="128" y="63"/>
                    </a:cubicBezTo>
                    <a:cubicBezTo>
                      <a:pt x="128" y="63"/>
                      <a:pt x="128" y="63"/>
                      <a:pt x="128" y="62"/>
                    </a:cubicBezTo>
                    <a:cubicBezTo>
                      <a:pt x="128" y="62"/>
                      <a:pt x="128" y="62"/>
                      <a:pt x="128" y="62"/>
                    </a:cubicBezTo>
                    <a:cubicBezTo>
                      <a:pt x="128" y="62"/>
                      <a:pt x="128" y="62"/>
                      <a:pt x="128" y="62"/>
                    </a:cubicBezTo>
                    <a:cubicBezTo>
                      <a:pt x="129" y="62"/>
                      <a:pt x="128" y="61"/>
                      <a:pt x="128" y="61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8" y="61"/>
                      <a:pt x="127" y="60"/>
                      <a:pt x="128" y="60"/>
                    </a:cubicBezTo>
                    <a:cubicBezTo>
                      <a:pt x="128" y="59"/>
                      <a:pt x="128" y="59"/>
                      <a:pt x="128" y="59"/>
                    </a:cubicBezTo>
                    <a:cubicBezTo>
                      <a:pt x="128" y="59"/>
                      <a:pt x="127" y="59"/>
                      <a:pt x="127" y="58"/>
                    </a:cubicBezTo>
                    <a:cubicBezTo>
                      <a:pt x="127" y="58"/>
                      <a:pt x="127" y="58"/>
                      <a:pt x="126" y="58"/>
                    </a:cubicBezTo>
                    <a:cubicBezTo>
                      <a:pt x="126" y="58"/>
                      <a:pt x="127" y="57"/>
                      <a:pt x="127" y="57"/>
                    </a:cubicBezTo>
                    <a:cubicBezTo>
                      <a:pt x="127" y="56"/>
                      <a:pt x="126" y="57"/>
                      <a:pt x="126" y="56"/>
                    </a:cubicBezTo>
                    <a:cubicBezTo>
                      <a:pt x="125" y="56"/>
                      <a:pt x="125" y="56"/>
                      <a:pt x="125" y="55"/>
                    </a:cubicBezTo>
                    <a:cubicBezTo>
                      <a:pt x="125" y="55"/>
                      <a:pt x="125" y="55"/>
                      <a:pt x="125" y="55"/>
                    </a:cubicBezTo>
                    <a:cubicBezTo>
                      <a:pt x="124" y="54"/>
                      <a:pt x="124" y="53"/>
                      <a:pt x="124" y="53"/>
                    </a:cubicBezTo>
                    <a:cubicBezTo>
                      <a:pt x="124" y="53"/>
                      <a:pt x="124" y="53"/>
                      <a:pt x="124" y="53"/>
                    </a:cubicBezTo>
                    <a:cubicBezTo>
                      <a:pt x="124" y="53"/>
                      <a:pt x="123" y="53"/>
                      <a:pt x="123" y="53"/>
                    </a:cubicBezTo>
                    <a:cubicBezTo>
                      <a:pt x="123" y="53"/>
                      <a:pt x="123" y="53"/>
                      <a:pt x="123" y="53"/>
                    </a:cubicBezTo>
                    <a:cubicBezTo>
                      <a:pt x="123" y="53"/>
                      <a:pt x="123" y="53"/>
                      <a:pt x="123" y="53"/>
                    </a:cubicBezTo>
                    <a:cubicBezTo>
                      <a:pt x="123" y="53"/>
                      <a:pt x="123" y="53"/>
                      <a:pt x="122" y="53"/>
                    </a:cubicBezTo>
                    <a:cubicBezTo>
                      <a:pt x="122" y="52"/>
                      <a:pt x="122" y="52"/>
                      <a:pt x="122" y="52"/>
                    </a:cubicBezTo>
                    <a:cubicBezTo>
                      <a:pt x="122" y="52"/>
                      <a:pt x="122" y="52"/>
                      <a:pt x="122" y="52"/>
                    </a:cubicBezTo>
                    <a:cubicBezTo>
                      <a:pt x="122" y="52"/>
                      <a:pt x="122" y="52"/>
                      <a:pt x="121" y="51"/>
                    </a:cubicBezTo>
                    <a:cubicBezTo>
                      <a:pt x="121" y="51"/>
                      <a:pt x="121" y="51"/>
                      <a:pt x="121" y="51"/>
                    </a:cubicBezTo>
                    <a:cubicBezTo>
                      <a:pt x="121" y="51"/>
                      <a:pt x="121" y="51"/>
                      <a:pt x="121" y="51"/>
                    </a:cubicBezTo>
                    <a:cubicBezTo>
                      <a:pt x="121" y="51"/>
                      <a:pt x="121" y="51"/>
                      <a:pt x="121" y="51"/>
                    </a:cubicBezTo>
                    <a:cubicBezTo>
                      <a:pt x="121" y="51"/>
                      <a:pt x="121" y="51"/>
                      <a:pt x="121" y="51"/>
                    </a:cubicBezTo>
                    <a:cubicBezTo>
                      <a:pt x="121" y="50"/>
                      <a:pt x="121" y="50"/>
                      <a:pt x="121" y="50"/>
                    </a:cubicBezTo>
                    <a:cubicBezTo>
                      <a:pt x="121" y="50"/>
                      <a:pt x="121" y="50"/>
                      <a:pt x="121" y="50"/>
                    </a:cubicBezTo>
                    <a:cubicBezTo>
                      <a:pt x="121" y="50"/>
                      <a:pt x="121" y="49"/>
                      <a:pt x="121" y="49"/>
                    </a:cubicBezTo>
                    <a:cubicBezTo>
                      <a:pt x="121" y="49"/>
                      <a:pt x="121" y="49"/>
                      <a:pt x="121" y="49"/>
                    </a:cubicBezTo>
                    <a:cubicBezTo>
                      <a:pt x="121" y="49"/>
                      <a:pt x="121" y="48"/>
                      <a:pt x="121" y="47"/>
                    </a:cubicBezTo>
                    <a:cubicBezTo>
                      <a:pt x="121" y="47"/>
                      <a:pt x="121" y="47"/>
                      <a:pt x="121" y="47"/>
                    </a:cubicBezTo>
                    <a:cubicBezTo>
                      <a:pt x="121" y="47"/>
                      <a:pt x="121" y="47"/>
                      <a:pt x="121" y="47"/>
                    </a:cubicBezTo>
                    <a:cubicBezTo>
                      <a:pt x="121" y="47"/>
                      <a:pt x="121" y="47"/>
                      <a:pt x="121" y="47"/>
                    </a:cubicBezTo>
                    <a:cubicBezTo>
                      <a:pt x="120" y="47"/>
                      <a:pt x="120" y="47"/>
                      <a:pt x="120" y="47"/>
                    </a:cubicBezTo>
                    <a:cubicBezTo>
                      <a:pt x="120" y="47"/>
                      <a:pt x="120" y="47"/>
                      <a:pt x="120" y="48"/>
                    </a:cubicBezTo>
                    <a:cubicBezTo>
                      <a:pt x="120" y="48"/>
                      <a:pt x="120" y="48"/>
                      <a:pt x="120" y="48"/>
                    </a:cubicBezTo>
                    <a:cubicBezTo>
                      <a:pt x="120" y="48"/>
                      <a:pt x="120" y="47"/>
                      <a:pt x="120" y="47"/>
                    </a:cubicBezTo>
                    <a:cubicBezTo>
                      <a:pt x="120" y="47"/>
                      <a:pt x="119" y="47"/>
                      <a:pt x="119" y="47"/>
                    </a:cubicBezTo>
                    <a:cubicBezTo>
                      <a:pt x="119" y="47"/>
                      <a:pt x="119" y="46"/>
                      <a:pt x="119" y="46"/>
                    </a:cubicBezTo>
                    <a:cubicBezTo>
                      <a:pt x="118" y="46"/>
                      <a:pt x="118" y="46"/>
                      <a:pt x="118" y="46"/>
                    </a:cubicBezTo>
                    <a:cubicBezTo>
                      <a:pt x="118" y="46"/>
                      <a:pt x="118" y="46"/>
                      <a:pt x="118" y="46"/>
                    </a:cubicBezTo>
                    <a:cubicBezTo>
                      <a:pt x="118" y="46"/>
                      <a:pt x="118" y="46"/>
                      <a:pt x="118" y="46"/>
                    </a:cubicBezTo>
                    <a:cubicBezTo>
                      <a:pt x="118" y="46"/>
                      <a:pt x="118" y="46"/>
                      <a:pt x="118" y="46"/>
                    </a:cubicBezTo>
                    <a:cubicBezTo>
                      <a:pt x="118" y="47"/>
                      <a:pt x="118" y="47"/>
                      <a:pt x="118" y="47"/>
                    </a:cubicBezTo>
                    <a:cubicBezTo>
                      <a:pt x="118" y="47"/>
                      <a:pt x="118" y="47"/>
                      <a:pt x="118" y="47"/>
                    </a:cubicBezTo>
                    <a:cubicBezTo>
                      <a:pt x="118" y="47"/>
                      <a:pt x="117" y="47"/>
                      <a:pt x="117" y="46"/>
                    </a:cubicBezTo>
                    <a:cubicBezTo>
                      <a:pt x="117" y="46"/>
                      <a:pt x="117" y="46"/>
                      <a:pt x="117" y="46"/>
                    </a:cubicBezTo>
                    <a:cubicBezTo>
                      <a:pt x="117" y="46"/>
                      <a:pt x="117" y="45"/>
                      <a:pt x="117" y="45"/>
                    </a:cubicBezTo>
                    <a:cubicBezTo>
                      <a:pt x="116" y="44"/>
                      <a:pt x="116" y="44"/>
                      <a:pt x="116" y="43"/>
                    </a:cubicBezTo>
                    <a:cubicBezTo>
                      <a:pt x="116" y="43"/>
                      <a:pt x="116" y="43"/>
                      <a:pt x="116" y="43"/>
                    </a:cubicBezTo>
                    <a:cubicBezTo>
                      <a:pt x="116" y="43"/>
                      <a:pt x="116" y="43"/>
                      <a:pt x="116" y="42"/>
                    </a:cubicBezTo>
                    <a:cubicBezTo>
                      <a:pt x="116" y="42"/>
                      <a:pt x="116" y="42"/>
                      <a:pt x="116" y="41"/>
                    </a:cubicBezTo>
                    <a:cubicBezTo>
                      <a:pt x="116" y="41"/>
                      <a:pt x="115" y="41"/>
                      <a:pt x="115" y="41"/>
                    </a:cubicBezTo>
                    <a:cubicBezTo>
                      <a:pt x="115" y="41"/>
                      <a:pt x="114" y="40"/>
                      <a:pt x="114" y="40"/>
                    </a:cubicBezTo>
                    <a:cubicBezTo>
                      <a:pt x="114" y="40"/>
                      <a:pt x="114" y="40"/>
                      <a:pt x="114" y="39"/>
                    </a:cubicBezTo>
                    <a:cubicBezTo>
                      <a:pt x="114" y="39"/>
                      <a:pt x="114" y="39"/>
                      <a:pt x="114" y="39"/>
                    </a:cubicBezTo>
                    <a:cubicBezTo>
                      <a:pt x="115" y="39"/>
                      <a:pt x="115" y="39"/>
                      <a:pt x="115" y="39"/>
                    </a:cubicBezTo>
                    <a:cubicBezTo>
                      <a:pt x="114" y="38"/>
                      <a:pt x="114" y="38"/>
                      <a:pt x="114" y="38"/>
                    </a:cubicBezTo>
                    <a:cubicBezTo>
                      <a:pt x="113" y="37"/>
                      <a:pt x="113" y="37"/>
                      <a:pt x="113" y="37"/>
                    </a:cubicBezTo>
                    <a:cubicBezTo>
                      <a:pt x="114" y="37"/>
                      <a:pt x="113" y="38"/>
                      <a:pt x="113" y="38"/>
                    </a:cubicBezTo>
                    <a:cubicBezTo>
                      <a:pt x="113" y="38"/>
                      <a:pt x="113" y="38"/>
                      <a:pt x="113" y="38"/>
                    </a:cubicBezTo>
                    <a:cubicBezTo>
                      <a:pt x="113" y="37"/>
                      <a:pt x="113" y="37"/>
                      <a:pt x="112" y="36"/>
                    </a:cubicBezTo>
                    <a:cubicBezTo>
                      <a:pt x="112" y="36"/>
                      <a:pt x="112" y="36"/>
                      <a:pt x="112" y="36"/>
                    </a:cubicBezTo>
                    <a:cubicBezTo>
                      <a:pt x="112" y="36"/>
                      <a:pt x="112" y="36"/>
                      <a:pt x="112" y="36"/>
                    </a:cubicBezTo>
                    <a:cubicBezTo>
                      <a:pt x="112" y="36"/>
                      <a:pt x="111" y="36"/>
                      <a:pt x="111" y="36"/>
                    </a:cubicBezTo>
                    <a:cubicBezTo>
                      <a:pt x="111" y="36"/>
                      <a:pt x="111" y="36"/>
                      <a:pt x="111" y="36"/>
                    </a:cubicBezTo>
                    <a:cubicBezTo>
                      <a:pt x="111" y="36"/>
                      <a:pt x="111" y="36"/>
                      <a:pt x="111" y="36"/>
                    </a:cubicBezTo>
                    <a:cubicBezTo>
                      <a:pt x="110" y="36"/>
                      <a:pt x="110" y="36"/>
                      <a:pt x="110" y="36"/>
                    </a:cubicBezTo>
                    <a:cubicBezTo>
                      <a:pt x="110" y="36"/>
                      <a:pt x="110" y="36"/>
                      <a:pt x="110" y="36"/>
                    </a:cubicBezTo>
                    <a:cubicBezTo>
                      <a:pt x="110" y="36"/>
                      <a:pt x="110" y="35"/>
                      <a:pt x="110" y="35"/>
                    </a:cubicBezTo>
                    <a:cubicBezTo>
                      <a:pt x="110" y="35"/>
                      <a:pt x="110" y="34"/>
                      <a:pt x="110" y="35"/>
                    </a:cubicBezTo>
                    <a:cubicBezTo>
                      <a:pt x="110" y="35"/>
                      <a:pt x="110" y="35"/>
                      <a:pt x="110" y="35"/>
                    </a:cubicBezTo>
                    <a:cubicBezTo>
                      <a:pt x="109" y="35"/>
                      <a:pt x="109" y="35"/>
                      <a:pt x="109" y="35"/>
                    </a:cubicBezTo>
                    <a:cubicBezTo>
                      <a:pt x="108" y="34"/>
                      <a:pt x="108" y="34"/>
                      <a:pt x="108" y="34"/>
                    </a:cubicBezTo>
                    <a:cubicBezTo>
                      <a:pt x="108" y="34"/>
                      <a:pt x="108" y="34"/>
                      <a:pt x="108" y="34"/>
                    </a:cubicBezTo>
                    <a:cubicBezTo>
                      <a:pt x="108" y="34"/>
                      <a:pt x="108" y="34"/>
                      <a:pt x="107" y="34"/>
                    </a:cubicBezTo>
                    <a:cubicBezTo>
                      <a:pt x="107" y="33"/>
                      <a:pt x="107" y="34"/>
                      <a:pt x="107" y="33"/>
                    </a:cubicBezTo>
                    <a:cubicBezTo>
                      <a:pt x="107" y="33"/>
                      <a:pt x="106" y="32"/>
                      <a:pt x="106" y="32"/>
                    </a:cubicBezTo>
                    <a:cubicBezTo>
                      <a:pt x="106" y="32"/>
                      <a:pt x="106" y="32"/>
                      <a:pt x="106" y="32"/>
                    </a:cubicBezTo>
                    <a:cubicBezTo>
                      <a:pt x="106" y="32"/>
                      <a:pt x="106" y="32"/>
                      <a:pt x="106" y="31"/>
                    </a:cubicBezTo>
                    <a:cubicBezTo>
                      <a:pt x="106" y="31"/>
                      <a:pt x="106" y="31"/>
                      <a:pt x="106" y="31"/>
                    </a:cubicBezTo>
                    <a:cubicBezTo>
                      <a:pt x="106" y="31"/>
                      <a:pt x="106" y="30"/>
                      <a:pt x="105" y="30"/>
                    </a:cubicBezTo>
                    <a:cubicBezTo>
                      <a:pt x="105" y="29"/>
                      <a:pt x="105" y="29"/>
                      <a:pt x="105" y="29"/>
                    </a:cubicBezTo>
                    <a:cubicBezTo>
                      <a:pt x="106" y="29"/>
                      <a:pt x="106" y="28"/>
                      <a:pt x="106" y="28"/>
                    </a:cubicBezTo>
                    <a:cubicBezTo>
                      <a:pt x="106" y="27"/>
                      <a:pt x="106" y="27"/>
                      <a:pt x="106" y="27"/>
                    </a:cubicBezTo>
                    <a:cubicBezTo>
                      <a:pt x="106" y="27"/>
                      <a:pt x="106" y="27"/>
                      <a:pt x="105" y="27"/>
                    </a:cubicBezTo>
                    <a:cubicBezTo>
                      <a:pt x="105" y="26"/>
                      <a:pt x="105" y="26"/>
                      <a:pt x="105" y="26"/>
                    </a:cubicBezTo>
                    <a:cubicBezTo>
                      <a:pt x="105" y="26"/>
                      <a:pt x="105" y="25"/>
                      <a:pt x="105" y="25"/>
                    </a:cubicBezTo>
                    <a:cubicBezTo>
                      <a:pt x="105" y="25"/>
                      <a:pt x="104" y="24"/>
                      <a:pt x="104" y="24"/>
                    </a:cubicBezTo>
                    <a:cubicBezTo>
                      <a:pt x="104" y="23"/>
                      <a:pt x="103" y="23"/>
                      <a:pt x="103" y="23"/>
                    </a:cubicBezTo>
                    <a:cubicBezTo>
                      <a:pt x="103" y="23"/>
                      <a:pt x="104" y="23"/>
                      <a:pt x="104" y="23"/>
                    </a:cubicBezTo>
                    <a:cubicBezTo>
                      <a:pt x="104" y="22"/>
                      <a:pt x="104" y="22"/>
                      <a:pt x="104" y="22"/>
                    </a:cubicBezTo>
                    <a:cubicBezTo>
                      <a:pt x="104" y="21"/>
                      <a:pt x="103" y="21"/>
                      <a:pt x="103" y="20"/>
                    </a:cubicBezTo>
                    <a:cubicBezTo>
                      <a:pt x="103" y="20"/>
                      <a:pt x="103" y="20"/>
                      <a:pt x="103" y="20"/>
                    </a:cubicBezTo>
                    <a:cubicBezTo>
                      <a:pt x="103" y="20"/>
                      <a:pt x="103" y="20"/>
                      <a:pt x="103" y="20"/>
                    </a:cubicBezTo>
                    <a:cubicBezTo>
                      <a:pt x="103" y="19"/>
                      <a:pt x="103" y="19"/>
                      <a:pt x="103" y="19"/>
                    </a:cubicBezTo>
                    <a:cubicBezTo>
                      <a:pt x="103" y="18"/>
                      <a:pt x="103" y="18"/>
                      <a:pt x="103" y="18"/>
                    </a:cubicBezTo>
                    <a:cubicBezTo>
                      <a:pt x="104" y="18"/>
                      <a:pt x="103" y="18"/>
                      <a:pt x="103" y="18"/>
                    </a:cubicBezTo>
                    <a:cubicBezTo>
                      <a:pt x="103" y="17"/>
                      <a:pt x="103" y="17"/>
                      <a:pt x="103" y="17"/>
                    </a:cubicBezTo>
                    <a:cubicBezTo>
                      <a:pt x="103" y="17"/>
                      <a:pt x="103" y="17"/>
                      <a:pt x="103" y="17"/>
                    </a:cubicBezTo>
                    <a:cubicBezTo>
                      <a:pt x="103" y="17"/>
                      <a:pt x="103" y="17"/>
                      <a:pt x="103" y="17"/>
                    </a:cubicBezTo>
                    <a:cubicBezTo>
                      <a:pt x="103" y="17"/>
                      <a:pt x="102" y="16"/>
                      <a:pt x="102" y="16"/>
                    </a:cubicBezTo>
                    <a:cubicBezTo>
                      <a:pt x="102" y="16"/>
                      <a:pt x="102" y="16"/>
                      <a:pt x="102" y="16"/>
                    </a:cubicBezTo>
                    <a:cubicBezTo>
                      <a:pt x="101" y="15"/>
                      <a:pt x="101" y="15"/>
                      <a:pt x="101" y="15"/>
                    </a:cubicBezTo>
                    <a:cubicBezTo>
                      <a:pt x="101" y="15"/>
                      <a:pt x="101" y="15"/>
                      <a:pt x="101" y="15"/>
                    </a:cubicBezTo>
                    <a:cubicBezTo>
                      <a:pt x="101" y="15"/>
                      <a:pt x="101" y="14"/>
                      <a:pt x="101" y="14"/>
                    </a:cubicBezTo>
                    <a:cubicBezTo>
                      <a:pt x="101" y="14"/>
                      <a:pt x="101" y="14"/>
                      <a:pt x="101" y="14"/>
                    </a:cubicBezTo>
                    <a:cubicBezTo>
                      <a:pt x="101" y="14"/>
                      <a:pt x="100" y="14"/>
                      <a:pt x="100" y="15"/>
                    </a:cubicBezTo>
                    <a:cubicBezTo>
                      <a:pt x="100" y="15"/>
                      <a:pt x="100" y="15"/>
                      <a:pt x="100" y="15"/>
                    </a:cubicBezTo>
                    <a:cubicBezTo>
                      <a:pt x="100" y="15"/>
                      <a:pt x="100" y="15"/>
                      <a:pt x="100" y="15"/>
                    </a:cubicBezTo>
                    <a:cubicBezTo>
                      <a:pt x="100" y="15"/>
                      <a:pt x="99" y="15"/>
                      <a:pt x="99" y="15"/>
                    </a:cubicBezTo>
                    <a:cubicBezTo>
                      <a:pt x="98" y="15"/>
                      <a:pt x="99" y="15"/>
                      <a:pt x="98" y="15"/>
                    </a:cubicBezTo>
                    <a:cubicBezTo>
                      <a:pt x="98" y="15"/>
                      <a:pt x="98" y="15"/>
                      <a:pt x="98" y="15"/>
                    </a:cubicBezTo>
                    <a:cubicBezTo>
                      <a:pt x="98" y="14"/>
                      <a:pt x="98" y="14"/>
                      <a:pt x="98" y="13"/>
                    </a:cubicBezTo>
                    <a:cubicBezTo>
                      <a:pt x="98" y="13"/>
                      <a:pt x="98" y="13"/>
                      <a:pt x="98" y="13"/>
                    </a:cubicBezTo>
                    <a:cubicBezTo>
                      <a:pt x="98" y="13"/>
                      <a:pt x="97" y="13"/>
                      <a:pt x="98" y="12"/>
                    </a:cubicBezTo>
                    <a:cubicBezTo>
                      <a:pt x="98" y="12"/>
                      <a:pt x="98" y="11"/>
                      <a:pt x="98" y="11"/>
                    </a:cubicBezTo>
                    <a:cubicBezTo>
                      <a:pt x="98" y="11"/>
                      <a:pt x="98" y="11"/>
                      <a:pt x="98" y="11"/>
                    </a:cubicBezTo>
                    <a:cubicBezTo>
                      <a:pt x="97" y="10"/>
                      <a:pt x="97" y="9"/>
                      <a:pt x="97" y="9"/>
                    </a:cubicBezTo>
                    <a:cubicBezTo>
                      <a:pt x="97" y="9"/>
                      <a:pt x="97" y="9"/>
                      <a:pt x="97" y="9"/>
                    </a:cubicBezTo>
                    <a:cubicBezTo>
                      <a:pt x="97" y="9"/>
                      <a:pt x="97" y="9"/>
                      <a:pt x="97" y="9"/>
                    </a:cubicBezTo>
                    <a:cubicBezTo>
                      <a:pt x="97" y="9"/>
                      <a:pt x="97" y="9"/>
                      <a:pt x="97" y="9"/>
                    </a:cubicBezTo>
                    <a:cubicBezTo>
                      <a:pt x="97" y="8"/>
                      <a:pt x="97" y="8"/>
                      <a:pt x="97" y="8"/>
                    </a:cubicBezTo>
                    <a:cubicBezTo>
                      <a:pt x="97" y="8"/>
                      <a:pt x="97" y="8"/>
                      <a:pt x="97" y="8"/>
                    </a:cubicBezTo>
                    <a:cubicBezTo>
                      <a:pt x="97" y="7"/>
                      <a:pt x="96" y="7"/>
                      <a:pt x="96" y="7"/>
                    </a:cubicBezTo>
                    <a:cubicBezTo>
                      <a:pt x="96" y="7"/>
                      <a:pt x="96" y="6"/>
                      <a:pt x="96" y="6"/>
                    </a:cubicBezTo>
                    <a:cubicBezTo>
                      <a:pt x="96" y="6"/>
                      <a:pt x="96" y="6"/>
                      <a:pt x="96" y="6"/>
                    </a:cubicBezTo>
                    <a:cubicBezTo>
                      <a:pt x="96" y="5"/>
                      <a:pt x="96" y="5"/>
                      <a:pt x="96" y="5"/>
                    </a:cubicBezTo>
                    <a:cubicBezTo>
                      <a:pt x="96" y="5"/>
                      <a:pt x="96" y="5"/>
                      <a:pt x="96" y="5"/>
                    </a:cubicBezTo>
                    <a:cubicBezTo>
                      <a:pt x="95" y="5"/>
                      <a:pt x="95" y="4"/>
                      <a:pt x="95" y="4"/>
                    </a:cubicBezTo>
                    <a:cubicBezTo>
                      <a:pt x="95" y="4"/>
                      <a:pt x="95" y="3"/>
                      <a:pt x="95" y="3"/>
                    </a:cubicBezTo>
                    <a:cubicBezTo>
                      <a:pt x="95" y="3"/>
                      <a:pt x="95" y="2"/>
                      <a:pt x="95" y="2"/>
                    </a:cubicBezTo>
                    <a:cubicBezTo>
                      <a:pt x="95" y="2"/>
                      <a:pt x="95" y="2"/>
                      <a:pt x="95" y="1"/>
                    </a:cubicBezTo>
                    <a:cubicBezTo>
                      <a:pt x="94" y="1"/>
                      <a:pt x="94" y="1"/>
                      <a:pt x="95" y="1"/>
                    </a:cubicBezTo>
                    <a:cubicBezTo>
                      <a:pt x="95" y="1"/>
                      <a:pt x="95" y="1"/>
                      <a:pt x="94" y="1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4" y="1"/>
                      <a:pt x="94" y="1"/>
                      <a:pt x="93" y="1"/>
                    </a:cubicBezTo>
                    <a:cubicBezTo>
                      <a:pt x="93" y="2"/>
                      <a:pt x="93" y="2"/>
                      <a:pt x="93" y="2"/>
                    </a:cubicBezTo>
                    <a:cubicBezTo>
                      <a:pt x="93" y="3"/>
                      <a:pt x="93" y="3"/>
                      <a:pt x="93" y="4"/>
                    </a:cubicBezTo>
                    <a:cubicBezTo>
                      <a:pt x="93" y="4"/>
                      <a:pt x="93" y="5"/>
                      <a:pt x="93" y="5"/>
                    </a:cubicBezTo>
                    <a:cubicBezTo>
                      <a:pt x="92" y="6"/>
                      <a:pt x="92" y="6"/>
                      <a:pt x="92" y="6"/>
                    </a:cubicBezTo>
                    <a:cubicBezTo>
                      <a:pt x="92" y="6"/>
                      <a:pt x="92" y="6"/>
                      <a:pt x="92" y="6"/>
                    </a:cubicBezTo>
                    <a:cubicBezTo>
                      <a:pt x="92" y="6"/>
                      <a:pt x="92" y="7"/>
                      <a:pt x="92" y="7"/>
                    </a:cubicBezTo>
                    <a:cubicBezTo>
                      <a:pt x="92" y="7"/>
                      <a:pt x="92" y="8"/>
                      <a:pt x="92" y="8"/>
                    </a:cubicBezTo>
                    <a:cubicBezTo>
                      <a:pt x="92" y="8"/>
                      <a:pt x="92" y="8"/>
                      <a:pt x="92" y="8"/>
                    </a:cubicBezTo>
                    <a:cubicBezTo>
                      <a:pt x="92" y="8"/>
                      <a:pt x="92" y="9"/>
                      <a:pt x="92" y="9"/>
                    </a:cubicBezTo>
                    <a:cubicBezTo>
                      <a:pt x="92" y="9"/>
                      <a:pt x="92" y="9"/>
                      <a:pt x="92" y="9"/>
                    </a:cubicBezTo>
                    <a:cubicBezTo>
                      <a:pt x="91" y="10"/>
                      <a:pt x="91" y="10"/>
                      <a:pt x="92" y="11"/>
                    </a:cubicBezTo>
                    <a:cubicBezTo>
                      <a:pt x="92" y="11"/>
                      <a:pt x="92" y="11"/>
                      <a:pt x="92" y="11"/>
                    </a:cubicBezTo>
                    <a:cubicBezTo>
                      <a:pt x="91" y="11"/>
                      <a:pt x="91" y="12"/>
                      <a:pt x="91" y="12"/>
                    </a:cubicBezTo>
                    <a:cubicBezTo>
                      <a:pt x="91" y="13"/>
                      <a:pt x="91" y="13"/>
                      <a:pt x="91" y="13"/>
                    </a:cubicBezTo>
                    <a:cubicBezTo>
                      <a:pt x="91" y="13"/>
                      <a:pt x="92" y="14"/>
                      <a:pt x="92" y="14"/>
                    </a:cubicBezTo>
                    <a:cubicBezTo>
                      <a:pt x="92" y="14"/>
                      <a:pt x="92" y="14"/>
                      <a:pt x="92" y="14"/>
                    </a:cubicBezTo>
                    <a:cubicBezTo>
                      <a:pt x="91" y="15"/>
                      <a:pt x="91" y="15"/>
                      <a:pt x="91" y="16"/>
                    </a:cubicBezTo>
                    <a:cubicBezTo>
                      <a:pt x="92" y="18"/>
                      <a:pt x="92" y="18"/>
                      <a:pt x="92" y="18"/>
                    </a:cubicBezTo>
                    <a:cubicBezTo>
                      <a:pt x="92" y="19"/>
                      <a:pt x="91" y="19"/>
                      <a:pt x="91" y="19"/>
                    </a:cubicBezTo>
                    <a:cubicBezTo>
                      <a:pt x="91" y="20"/>
                      <a:pt x="91" y="21"/>
                      <a:pt x="91" y="22"/>
                    </a:cubicBezTo>
                    <a:cubicBezTo>
                      <a:pt x="90" y="23"/>
                      <a:pt x="90" y="23"/>
                      <a:pt x="90" y="24"/>
                    </a:cubicBezTo>
                    <a:cubicBezTo>
                      <a:pt x="90" y="25"/>
                      <a:pt x="90" y="25"/>
                      <a:pt x="89" y="26"/>
                    </a:cubicBezTo>
                    <a:cubicBezTo>
                      <a:pt x="89" y="26"/>
                      <a:pt x="89" y="27"/>
                      <a:pt x="89" y="27"/>
                    </a:cubicBezTo>
                    <a:cubicBezTo>
                      <a:pt x="89" y="27"/>
                      <a:pt x="88" y="27"/>
                      <a:pt x="88" y="28"/>
                    </a:cubicBezTo>
                    <a:cubicBezTo>
                      <a:pt x="88" y="28"/>
                      <a:pt x="87" y="28"/>
                      <a:pt x="87" y="28"/>
                    </a:cubicBezTo>
                    <a:cubicBezTo>
                      <a:pt x="86" y="28"/>
                      <a:pt x="86" y="28"/>
                      <a:pt x="86" y="28"/>
                    </a:cubicBezTo>
                    <a:cubicBezTo>
                      <a:pt x="86" y="28"/>
                      <a:pt x="86" y="28"/>
                      <a:pt x="86" y="28"/>
                    </a:cubicBezTo>
                    <a:cubicBezTo>
                      <a:pt x="85" y="28"/>
                      <a:pt x="85" y="27"/>
                      <a:pt x="85" y="27"/>
                    </a:cubicBezTo>
                    <a:cubicBezTo>
                      <a:pt x="84" y="27"/>
                      <a:pt x="84" y="27"/>
                      <a:pt x="84" y="26"/>
                    </a:cubicBezTo>
                    <a:cubicBezTo>
                      <a:pt x="84" y="26"/>
                      <a:pt x="84" y="26"/>
                      <a:pt x="84" y="26"/>
                    </a:cubicBezTo>
                    <a:cubicBezTo>
                      <a:pt x="84" y="26"/>
                      <a:pt x="84" y="26"/>
                      <a:pt x="84" y="26"/>
                    </a:cubicBezTo>
                    <a:cubicBezTo>
                      <a:pt x="84" y="26"/>
                      <a:pt x="83" y="26"/>
                      <a:pt x="83" y="25"/>
                    </a:cubicBezTo>
                    <a:cubicBezTo>
                      <a:pt x="82" y="25"/>
                      <a:pt x="82" y="25"/>
                      <a:pt x="82" y="25"/>
                    </a:cubicBezTo>
                    <a:cubicBezTo>
                      <a:pt x="82" y="25"/>
                      <a:pt x="81" y="25"/>
                      <a:pt x="81" y="24"/>
                    </a:cubicBezTo>
                    <a:cubicBezTo>
                      <a:pt x="80" y="24"/>
                      <a:pt x="80" y="24"/>
                      <a:pt x="80" y="24"/>
                    </a:cubicBezTo>
                    <a:cubicBezTo>
                      <a:pt x="80" y="23"/>
                      <a:pt x="80" y="23"/>
                      <a:pt x="80" y="23"/>
                    </a:cubicBezTo>
                    <a:cubicBezTo>
                      <a:pt x="79" y="23"/>
                      <a:pt x="79" y="23"/>
                      <a:pt x="79" y="23"/>
                    </a:cubicBezTo>
                    <a:cubicBezTo>
                      <a:pt x="79" y="23"/>
                      <a:pt x="79" y="22"/>
                      <a:pt x="78" y="22"/>
                    </a:cubicBezTo>
                    <a:cubicBezTo>
                      <a:pt x="78" y="22"/>
                      <a:pt x="78" y="22"/>
                      <a:pt x="78" y="22"/>
                    </a:cubicBezTo>
                    <a:cubicBezTo>
                      <a:pt x="78" y="22"/>
                      <a:pt x="78" y="22"/>
                      <a:pt x="77" y="22"/>
                    </a:cubicBezTo>
                    <a:cubicBezTo>
                      <a:pt x="77" y="22"/>
                      <a:pt x="77" y="22"/>
                      <a:pt x="77" y="22"/>
                    </a:cubicBezTo>
                    <a:cubicBezTo>
                      <a:pt x="77" y="21"/>
                      <a:pt x="76" y="21"/>
                      <a:pt x="76" y="21"/>
                    </a:cubicBezTo>
                    <a:cubicBezTo>
                      <a:pt x="76" y="21"/>
                      <a:pt x="76" y="21"/>
                      <a:pt x="76" y="21"/>
                    </a:cubicBezTo>
                    <a:cubicBezTo>
                      <a:pt x="76" y="21"/>
                      <a:pt x="76" y="21"/>
                      <a:pt x="75" y="21"/>
                    </a:cubicBezTo>
                    <a:cubicBezTo>
                      <a:pt x="75" y="20"/>
                      <a:pt x="75" y="20"/>
                      <a:pt x="75" y="20"/>
                    </a:cubicBezTo>
                    <a:cubicBezTo>
                      <a:pt x="75" y="20"/>
                      <a:pt x="75" y="20"/>
                      <a:pt x="75" y="20"/>
                    </a:cubicBezTo>
                    <a:cubicBezTo>
                      <a:pt x="75" y="20"/>
                      <a:pt x="74" y="20"/>
                      <a:pt x="74" y="19"/>
                    </a:cubicBezTo>
                    <a:cubicBezTo>
                      <a:pt x="74" y="19"/>
                      <a:pt x="74" y="19"/>
                      <a:pt x="74" y="19"/>
                    </a:cubicBezTo>
                    <a:cubicBezTo>
                      <a:pt x="74" y="19"/>
                      <a:pt x="73" y="18"/>
                      <a:pt x="73" y="18"/>
                    </a:cubicBezTo>
                    <a:cubicBezTo>
                      <a:pt x="73" y="18"/>
                      <a:pt x="72" y="17"/>
                      <a:pt x="72" y="17"/>
                    </a:cubicBezTo>
                    <a:cubicBezTo>
                      <a:pt x="72" y="17"/>
                      <a:pt x="72" y="17"/>
                      <a:pt x="72" y="17"/>
                    </a:cubicBezTo>
                    <a:cubicBezTo>
                      <a:pt x="71" y="17"/>
                      <a:pt x="72" y="16"/>
                      <a:pt x="72" y="16"/>
                    </a:cubicBezTo>
                    <a:cubicBezTo>
                      <a:pt x="72" y="16"/>
                      <a:pt x="72" y="16"/>
                      <a:pt x="72" y="16"/>
                    </a:cubicBezTo>
                    <a:cubicBezTo>
                      <a:pt x="72" y="16"/>
                      <a:pt x="72" y="16"/>
                      <a:pt x="72" y="15"/>
                    </a:cubicBezTo>
                    <a:cubicBezTo>
                      <a:pt x="72" y="15"/>
                      <a:pt x="72" y="15"/>
                      <a:pt x="72" y="15"/>
                    </a:cubicBezTo>
                    <a:cubicBezTo>
                      <a:pt x="72" y="15"/>
                      <a:pt x="72" y="15"/>
                      <a:pt x="73" y="15"/>
                    </a:cubicBezTo>
                    <a:cubicBezTo>
                      <a:pt x="73" y="14"/>
                      <a:pt x="73" y="14"/>
                      <a:pt x="73" y="14"/>
                    </a:cubicBezTo>
                    <a:cubicBezTo>
                      <a:pt x="73" y="14"/>
                      <a:pt x="73" y="14"/>
                      <a:pt x="73" y="14"/>
                    </a:cubicBezTo>
                    <a:cubicBezTo>
                      <a:pt x="73" y="14"/>
                      <a:pt x="73" y="14"/>
                      <a:pt x="73" y="14"/>
                    </a:cubicBezTo>
                    <a:cubicBezTo>
                      <a:pt x="73" y="14"/>
                      <a:pt x="73" y="13"/>
                      <a:pt x="73" y="13"/>
                    </a:cubicBezTo>
                    <a:cubicBezTo>
                      <a:pt x="73" y="13"/>
                      <a:pt x="74" y="13"/>
                      <a:pt x="74" y="12"/>
                    </a:cubicBezTo>
                    <a:cubicBezTo>
                      <a:pt x="74" y="12"/>
                      <a:pt x="74" y="12"/>
                      <a:pt x="73" y="12"/>
                    </a:cubicBezTo>
                    <a:cubicBezTo>
                      <a:pt x="73" y="12"/>
                      <a:pt x="73" y="12"/>
                      <a:pt x="73" y="12"/>
                    </a:cubicBezTo>
                    <a:cubicBezTo>
                      <a:pt x="73" y="12"/>
                      <a:pt x="73" y="11"/>
                      <a:pt x="73" y="11"/>
                    </a:cubicBezTo>
                    <a:cubicBezTo>
                      <a:pt x="73" y="11"/>
                      <a:pt x="73" y="11"/>
                      <a:pt x="73" y="11"/>
                    </a:cubicBezTo>
                    <a:cubicBezTo>
                      <a:pt x="73" y="11"/>
                      <a:pt x="73" y="11"/>
                      <a:pt x="73" y="11"/>
                    </a:cubicBezTo>
                    <a:cubicBezTo>
                      <a:pt x="74" y="11"/>
                      <a:pt x="74" y="10"/>
                      <a:pt x="74" y="10"/>
                    </a:cubicBezTo>
                    <a:cubicBezTo>
                      <a:pt x="74" y="10"/>
                      <a:pt x="74" y="10"/>
                      <a:pt x="75" y="10"/>
                    </a:cubicBezTo>
                    <a:cubicBezTo>
                      <a:pt x="75" y="11"/>
                      <a:pt x="75" y="11"/>
                      <a:pt x="75" y="10"/>
                    </a:cubicBezTo>
                    <a:cubicBezTo>
                      <a:pt x="75" y="10"/>
                      <a:pt x="75" y="10"/>
                      <a:pt x="75" y="10"/>
                    </a:cubicBezTo>
                    <a:cubicBezTo>
                      <a:pt x="75" y="10"/>
                      <a:pt x="75" y="10"/>
                      <a:pt x="75" y="10"/>
                    </a:cubicBezTo>
                    <a:cubicBezTo>
                      <a:pt x="75" y="10"/>
                      <a:pt x="75" y="9"/>
                      <a:pt x="75" y="9"/>
                    </a:cubicBezTo>
                    <a:cubicBezTo>
                      <a:pt x="75" y="9"/>
                      <a:pt x="75" y="9"/>
                      <a:pt x="75" y="9"/>
                    </a:cubicBezTo>
                    <a:cubicBezTo>
                      <a:pt x="75" y="9"/>
                      <a:pt x="75" y="9"/>
                      <a:pt x="75" y="8"/>
                    </a:cubicBezTo>
                    <a:cubicBezTo>
                      <a:pt x="75" y="8"/>
                      <a:pt x="75" y="8"/>
                      <a:pt x="75" y="8"/>
                    </a:cubicBezTo>
                    <a:cubicBezTo>
                      <a:pt x="75" y="8"/>
                      <a:pt x="76" y="7"/>
                      <a:pt x="76" y="7"/>
                    </a:cubicBezTo>
                    <a:cubicBezTo>
                      <a:pt x="76" y="7"/>
                      <a:pt x="76" y="7"/>
                      <a:pt x="76" y="7"/>
                    </a:cubicBezTo>
                    <a:cubicBezTo>
                      <a:pt x="76" y="6"/>
                      <a:pt x="76" y="6"/>
                      <a:pt x="76" y="6"/>
                    </a:cubicBezTo>
                    <a:cubicBezTo>
                      <a:pt x="76" y="6"/>
                      <a:pt x="75" y="6"/>
                      <a:pt x="75" y="6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75" y="5"/>
                      <a:pt x="75" y="5"/>
                      <a:pt x="75" y="6"/>
                    </a:cubicBezTo>
                    <a:cubicBezTo>
                      <a:pt x="74" y="6"/>
                      <a:pt x="74" y="6"/>
                      <a:pt x="74" y="7"/>
                    </a:cubicBezTo>
                    <a:cubicBezTo>
                      <a:pt x="74" y="7"/>
                      <a:pt x="74" y="7"/>
                      <a:pt x="74" y="7"/>
                    </a:cubicBezTo>
                    <a:cubicBezTo>
                      <a:pt x="74" y="7"/>
                      <a:pt x="74" y="7"/>
                      <a:pt x="74" y="7"/>
                    </a:cubicBezTo>
                    <a:cubicBezTo>
                      <a:pt x="74" y="7"/>
                      <a:pt x="73" y="7"/>
                      <a:pt x="73" y="6"/>
                    </a:cubicBezTo>
                    <a:cubicBezTo>
                      <a:pt x="73" y="6"/>
                      <a:pt x="73" y="6"/>
                      <a:pt x="73" y="6"/>
                    </a:cubicBezTo>
                    <a:cubicBezTo>
                      <a:pt x="73" y="6"/>
                      <a:pt x="73" y="6"/>
                      <a:pt x="73" y="6"/>
                    </a:cubicBezTo>
                    <a:cubicBezTo>
                      <a:pt x="73" y="6"/>
                      <a:pt x="73" y="6"/>
                      <a:pt x="73" y="5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72" y="5"/>
                      <a:pt x="72" y="5"/>
                      <a:pt x="72" y="5"/>
                    </a:cubicBezTo>
                    <a:cubicBezTo>
                      <a:pt x="72" y="5"/>
                      <a:pt x="72" y="6"/>
                      <a:pt x="72" y="6"/>
                    </a:cubicBezTo>
                    <a:cubicBezTo>
                      <a:pt x="72" y="6"/>
                      <a:pt x="71" y="6"/>
                      <a:pt x="71" y="6"/>
                    </a:cubicBezTo>
                    <a:cubicBezTo>
                      <a:pt x="71" y="6"/>
                      <a:pt x="71" y="6"/>
                      <a:pt x="71" y="6"/>
                    </a:cubicBezTo>
                    <a:cubicBezTo>
                      <a:pt x="71" y="6"/>
                      <a:pt x="71" y="6"/>
                      <a:pt x="71" y="6"/>
                    </a:cubicBezTo>
                    <a:cubicBezTo>
                      <a:pt x="71" y="6"/>
                      <a:pt x="70" y="6"/>
                      <a:pt x="70" y="6"/>
                    </a:cubicBezTo>
                    <a:cubicBezTo>
                      <a:pt x="70" y="6"/>
                      <a:pt x="70" y="6"/>
                      <a:pt x="70" y="6"/>
                    </a:cubicBezTo>
                    <a:cubicBezTo>
                      <a:pt x="70" y="6"/>
                      <a:pt x="70" y="6"/>
                      <a:pt x="70" y="6"/>
                    </a:cubicBezTo>
                    <a:cubicBezTo>
                      <a:pt x="69" y="6"/>
                      <a:pt x="69" y="6"/>
                      <a:pt x="69" y="6"/>
                    </a:cubicBezTo>
                    <a:cubicBezTo>
                      <a:pt x="68" y="6"/>
                      <a:pt x="68" y="6"/>
                      <a:pt x="68" y="6"/>
                    </a:cubicBezTo>
                    <a:cubicBezTo>
                      <a:pt x="68" y="6"/>
                      <a:pt x="68" y="6"/>
                      <a:pt x="68" y="6"/>
                    </a:cubicBezTo>
                    <a:cubicBezTo>
                      <a:pt x="68" y="6"/>
                      <a:pt x="68" y="5"/>
                      <a:pt x="68" y="5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67" y="5"/>
                      <a:pt x="67" y="5"/>
                      <a:pt x="66" y="5"/>
                    </a:cubicBezTo>
                    <a:cubicBezTo>
                      <a:pt x="66" y="5"/>
                      <a:pt x="66" y="5"/>
                      <a:pt x="65" y="5"/>
                    </a:cubicBezTo>
                    <a:cubicBezTo>
                      <a:pt x="65" y="5"/>
                      <a:pt x="65" y="5"/>
                      <a:pt x="65" y="5"/>
                    </a:cubicBezTo>
                    <a:cubicBezTo>
                      <a:pt x="65" y="5"/>
                      <a:pt x="65" y="5"/>
                      <a:pt x="65" y="5"/>
                    </a:cubicBezTo>
                    <a:cubicBezTo>
                      <a:pt x="65" y="4"/>
                      <a:pt x="64" y="4"/>
                      <a:pt x="64" y="4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3"/>
                      <a:pt x="64" y="3"/>
                      <a:pt x="63" y="3"/>
                    </a:cubicBezTo>
                    <a:cubicBezTo>
                      <a:pt x="63" y="3"/>
                      <a:pt x="63" y="3"/>
                      <a:pt x="63" y="3"/>
                    </a:cubicBezTo>
                    <a:cubicBezTo>
                      <a:pt x="63" y="3"/>
                      <a:pt x="63" y="3"/>
                      <a:pt x="63" y="3"/>
                    </a:cubicBezTo>
                    <a:cubicBezTo>
                      <a:pt x="62" y="3"/>
                      <a:pt x="62" y="3"/>
                      <a:pt x="62" y="3"/>
                    </a:cubicBezTo>
                    <a:cubicBezTo>
                      <a:pt x="62" y="2"/>
                      <a:pt x="62" y="2"/>
                      <a:pt x="62" y="2"/>
                    </a:cubicBezTo>
                    <a:cubicBezTo>
                      <a:pt x="62" y="3"/>
                      <a:pt x="61" y="3"/>
                      <a:pt x="61" y="2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1" y="2"/>
                      <a:pt x="60" y="2"/>
                      <a:pt x="60" y="2"/>
                    </a:cubicBezTo>
                    <a:cubicBezTo>
                      <a:pt x="60" y="2"/>
                      <a:pt x="60" y="2"/>
                      <a:pt x="60" y="2"/>
                    </a:cubicBezTo>
                    <a:cubicBezTo>
                      <a:pt x="60" y="2"/>
                      <a:pt x="60" y="2"/>
                      <a:pt x="60" y="2"/>
                    </a:cubicBezTo>
                    <a:cubicBezTo>
                      <a:pt x="60" y="3"/>
                      <a:pt x="60" y="3"/>
                      <a:pt x="61" y="4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61" y="4"/>
                      <a:pt x="62" y="3"/>
                      <a:pt x="62" y="3"/>
                    </a:cubicBezTo>
                    <a:cubicBezTo>
                      <a:pt x="62" y="3"/>
                      <a:pt x="62" y="3"/>
                      <a:pt x="62" y="3"/>
                    </a:cubicBezTo>
                    <a:cubicBezTo>
                      <a:pt x="62" y="4"/>
                      <a:pt x="62" y="4"/>
                      <a:pt x="63" y="4"/>
                    </a:cubicBezTo>
                    <a:cubicBezTo>
                      <a:pt x="63" y="4"/>
                      <a:pt x="63" y="4"/>
                      <a:pt x="63" y="4"/>
                    </a:cubicBezTo>
                    <a:cubicBezTo>
                      <a:pt x="63" y="4"/>
                      <a:pt x="63" y="4"/>
                      <a:pt x="63" y="4"/>
                    </a:cubicBezTo>
                    <a:cubicBezTo>
                      <a:pt x="63" y="5"/>
                      <a:pt x="63" y="5"/>
                      <a:pt x="63" y="5"/>
                    </a:cubicBezTo>
                    <a:cubicBezTo>
                      <a:pt x="63" y="6"/>
                      <a:pt x="62" y="6"/>
                      <a:pt x="62" y="7"/>
                    </a:cubicBezTo>
                    <a:cubicBezTo>
                      <a:pt x="62" y="7"/>
                      <a:pt x="62" y="7"/>
                      <a:pt x="62" y="7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62" y="6"/>
                      <a:pt x="61" y="6"/>
                      <a:pt x="61" y="7"/>
                    </a:cubicBezTo>
                    <a:cubicBezTo>
                      <a:pt x="61" y="7"/>
                      <a:pt x="61" y="7"/>
                      <a:pt x="61" y="7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60" y="6"/>
                      <a:pt x="60" y="6"/>
                      <a:pt x="60" y="6"/>
                    </a:cubicBezTo>
                    <a:cubicBezTo>
                      <a:pt x="60" y="7"/>
                      <a:pt x="60" y="7"/>
                      <a:pt x="59" y="7"/>
                    </a:cubicBezTo>
                    <a:cubicBezTo>
                      <a:pt x="59" y="7"/>
                      <a:pt x="59" y="7"/>
                      <a:pt x="59" y="7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58" y="6"/>
                      <a:pt x="58" y="6"/>
                      <a:pt x="58" y="6"/>
                    </a:cubicBezTo>
                    <a:cubicBezTo>
                      <a:pt x="58" y="6"/>
                      <a:pt x="58" y="6"/>
                      <a:pt x="58" y="6"/>
                    </a:cubicBezTo>
                    <a:cubicBezTo>
                      <a:pt x="58" y="6"/>
                      <a:pt x="58" y="6"/>
                      <a:pt x="58" y="6"/>
                    </a:cubicBezTo>
                    <a:cubicBezTo>
                      <a:pt x="58" y="6"/>
                      <a:pt x="58" y="7"/>
                      <a:pt x="57" y="7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7" y="7"/>
                      <a:pt x="56" y="7"/>
                      <a:pt x="56" y="7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56" y="8"/>
                      <a:pt x="56" y="8"/>
                      <a:pt x="56" y="8"/>
                    </a:cubicBezTo>
                    <a:cubicBezTo>
                      <a:pt x="56" y="8"/>
                      <a:pt x="55" y="8"/>
                      <a:pt x="55" y="8"/>
                    </a:cubicBezTo>
                    <a:cubicBezTo>
                      <a:pt x="55" y="8"/>
                      <a:pt x="55" y="9"/>
                      <a:pt x="55" y="9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5" y="9"/>
                      <a:pt x="55" y="9"/>
                      <a:pt x="55" y="10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55" y="10"/>
                      <a:pt x="55" y="10"/>
                      <a:pt x="55" y="11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5" y="11"/>
                      <a:pt x="55" y="11"/>
                      <a:pt x="54" y="11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54" y="11"/>
                      <a:pt x="54" y="11"/>
                      <a:pt x="54" y="12"/>
                    </a:cubicBezTo>
                    <a:cubicBezTo>
                      <a:pt x="54" y="12"/>
                      <a:pt x="54" y="13"/>
                      <a:pt x="54" y="13"/>
                    </a:cubicBezTo>
                    <a:cubicBezTo>
                      <a:pt x="54" y="13"/>
                      <a:pt x="53" y="13"/>
                      <a:pt x="53" y="14"/>
                    </a:cubicBezTo>
                    <a:cubicBezTo>
                      <a:pt x="53" y="14"/>
                      <a:pt x="53" y="14"/>
                      <a:pt x="52" y="14"/>
                    </a:cubicBezTo>
                    <a:cubicBezTo>
                      <a:pt x="52" y="15"/>
                      <a:pt x="52" y="15"/>
                      <a:pt x="52" y="15"/>
                    </a:cubicBezTo>
                    <a:cubicBezTo>
                      <a:pt x="53" y="15"/>
                      <a:pt x="53" y="15"/>
                      <a:pt x="53" y="16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53" y="16"/>
                      <a:pt x="53" y="16"/>
                      <a:pt x="54" y="16"/>
                    </a:cubicBezTo>
                    <a:cubicBezTo>
                      <a:pt x="54" y="16"/>
                      <a:pt x="54" y="17"/>
                      <a:pt x="54" y="17"/>
                    </a:cubicBezTo>
                    <a:cubicBezTo>
                      <a:pt x="54" y="17"/>
                      <a:pt x="53" y="17"/>
                      <a:pt x="53" y="17"/>
                    </a:cubicBezTo>
                    <a:cubicBezTo>
                      <a:pt x="53" y="17"/>
                      <a:pt x="53" y="17"/>
                      <a:pt x="53" y="17"/>
                    </a:cubicBezTo>
                    <a:cubicBezTo>
                      <a:pt x="53" y="18"/>
                      <a:pt x="53" y="18"/>
                      <a:pt x="53" y="18"/>
                    </a:cubicBezTo>
                    <a:cubicBezTo>
                      <a:pt x="53" y="18"/>
                      <a:pt x="52" y="18"/>
                      <a:pt x="52" y="18"/>
                    </a:cubicBezTo>
                    <a:cubicBezTo>
                      <a:pt x="52" y="18"/>
                      <a:pt x="52" y="17"/>
                      <a:pt x="52" y="17"/>
                    </a:cubicBezTo>
                    <a:cubicBezTo>
                      <a:pt x="52" y="17"/>
                      <a:pt x="51" y="17"/>
                      <a:pt x="51" y="17"/>
                    </a:cubicBezTo>
                    <a:cubicBezTo>
                      <a:pt x="50" y="17"/>
                      <a:pt x="50" y="17"/>
                      <a:pt x="50" y="17"/>
                    </a:cubicBezTo>
                    <a:cubicBezTo>
                      <a:pt x="49" y="17"/>
                      <a:pt x="49" y="17"/>
                      <a:pt x="49" y="17"/>
                    </a:cubicBezTo>
                    <a:cubicBezTo>
                      <a:pt x="49" y="17"/>
                      <a:pt x="49" y="17"/>
                      <a:pt x="49" y="18"/>
                    </a:cubicBezTo>
                    <a:cubicBezTo>
                      <a:pt x="49" y="18"/>
                      <a:pt x="49" y="18"/>
                      <a:pt x="49" y="19"/>
                    </a:cubicBezTo>
                    <a:cubicBezTo>
                      <a:pt x="49" y="19"/>
                      <a:pt x="49" y="19"/>
                      <a:pt x="49" y="19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8" y="19"/>
                      <a:pt x="48" y="19"/>
                      <a:pt x="48" y="18"/>
                    </a:cubicBezTo>
                    <a:cubicBezTo>
                      <a:pt x="48" y="18"/>
                      <a:pt x="48" y="18"/>
                      <a:pt x="48" y="17"/>
                    </a:cubicBezTo>
                    <a:cubicBezTo>
                      <a:pt x="48" y="17"/>
                      <a:pt x="48" y="17"/>
                      <a:pt x="48" y="16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48" y="16"/>
                      <a:pt x="47" y="15"/>
                      <a:pt x="47" y="14"/>
                    </a:cubicBezTo>
                    <a:cubicBezTo>
                      <a:pt x="46" y="14"/>
                      <a:pt x="46" y="14"/>
                      <a:pt x="46" y="14"/>
                    </a:cubicBezTo>
                    <a:cubicBezTo>
                      <a:pt x="46" y="14"/>
                      <a:pt x="46" y="14"/>
                      <a:pt x="46" y="14"/>
                    </a:cubicBezTo>
                    <a:cubicBezTo>
                      <a:pt x="46" y="13"/>
                      <a:pt x="46" y="13"/>
                      <a:pt x="45" y="13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5" y="13"/>
                      <a:pt x="44" y="13"/>
                      <a:pt x="44" y="13"/>
                    </a:cubicBezTo>
                    <a:cubicBezTo>
                      <a:pt x="44" y="13"/>
                      <a:pt x="44" y="13"/>
                      <a:pt x="44" y="13"/>
                    </a:cubicBezTo>
                    <a:cubicBezTo>
                      <a:pt x="44" y="13"/>
                      <a:pt x="44" y="13"/>
                      <a:pt x="44" y="13"/>
                    </a:cubicBezTo>
                    <a:cubicBezTo>
                      <a:pt x="44" y="13"/>
                      <a:pt x="44" y="14"/>
                      <a:pt x="44" y="14"/>
                    </a:cubicBezTo>
                    <a:cubicBezTo>
                      <a:pt x="43" y="14"/>
                      <a:pt x="43" y="14"/>
                      <a:pt x="43" y="14"/>
                    </a:cubicBezTo>
                    <a:cubicBezTo>
                      <a:pt x="43" y="14"/>
                      <a:pt x="43" y="14"/>
                      <a:pt x="42" y="14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2" y="14"/>
                      <a:pt x="42" y="15"/>
                      <a:pt x="41" y="15"/>
                    </a:cubicBezTo>
                    <a:cubicBezTo>
                      <a:pt x="41" y="15"/>
                      <a:pt x="41" y="15"/>
                      <a:pt x="41" y="16"/>
                    </a:cubicBezTo>
                    <a:cubicBezTo>
                      <a:pt x="41" y="16"/>
                      <a:pt x="41" y="16"/>
                      <a:pt x="41" y="15"/>
                    </a:cubicBezTo>
                    <a:cubicBezTo>
                      <a:pt x="41" y="15"/>
                      <a:pt x="40" y="15"/>
                      <a:pt x="40" y="15"/>
                    </a:cubicBezTo>
                    <a:cubicBezTo>
                      <a:pt x="40" y="15"/>
                      <a:pt x="40" y="16"/>
                      <a:pt x="39" y="16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9" y="17"/>
                      <a:pt x="39" y="17"/>
                      <a:pt x="39" y="17"/>
                    </a:cubicBezTo>
                    <a:cubicBezTo>
                      <a:pt x="39" y="17"/>
                      <a:pt x="39" y="17"/>
                      <a:pt x="39" y="18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39" y="18"/>
                      <a:pt x="38" y="17"/>
                      <a:pt x="38" y="18"/>
                    </a:cubicBezTo>
                    <a:cubicBezTo>
                      <a:pt x="38" y="18"/>
                      <a:pt x="38" y="18"/>
                      <a:pt x="38" y="18"/>
                    </a:cubicBezTo>
                    <a:cubicBezTo>
                      <a:pt x="38" y="18"/>
                      <a:pt x="38" y="19"/>
                      <a:pt x="38" y="18"/>
                    </a:cubicBezTo>
                    <a:cubicBezTo>
                      <a:pt x="37" y="18"/>
                      <a:pt x="37" y="19"/>
                      <a:pt x="37" y="19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6" y="19"/>
                      <a:pt x="36" y="20"/>
                      <a:pt x="36" y="20"/>
                    </a:cubicBezTo>
                    <a:cubicBezTo>
                      <a:pt x="36" y="20"/>
                      <a:pt x="36" y="21"/>
                      <a:pt x="37" y="20"/>
                    </a:cubicBezTo>
                    <a:cubicBezTo>
                      <a:pt x="37" y="20"/>
                      <a:pt x="37" y="21"/>
                      <a:pt x="37" y="21"/>
                    </a:cubicBezTo>
                    <a:cubicBezTo>
                      <a:pt x="37" y="21"/>
                      <a:pt x="37" y="21"/>
                      <a:pt x="37" y="21"/>
                    </a:cubicBezTo>
                    <a:cubicBezTo>
                      <a:pt x="37" y="21"/>
                      <a:pt x="37" y="21"/>
                      <a:pt x="37" y="21"/>
                    </a:cubicBezTo>
                    <a:cubicBezTo>
                      <a:pt x="37" y="21"/>
                      <a:pt x="36" y="22"/>
                      <a:pt x="36" y="22"/>
                    </a:cubicBezTo>
                    <a:cubicBezTo>
                      <a:pt x="36" y="22"/>
                      <a:pt x="37" y="22"/>
                      <a:pt x="37" y="22"/>
                    </a:cubicBezTo>
                    <a:cubicBezTo>
                      <a:pt x="37" y="23"/>
                      <a:pt x="37" y="23"/>
                      <a:pt x="37" y="23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6" y="23"/>
                      <a:pt x="35" y="23"/>
                      <a:pt x="35" y="22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5" y="22"/>
                      <a:pt x="35" y="22"/>
                      <a:pt x="34" y="22"/>
                    </a:cubicBezTo>
                    <a:cubicBezTo>
                      <a:pt x="34" y="22"/>
                      <a:pt x="34" y="22"/>
                      <a:pt x="34" y="22"/>
                    </a:cubicBezTo>
                    <a:cubicBezTo>
                      <a:pt x="34" y="22"/>
                      <a:pt x="34" y="23"/>
                      <a:pt x="34" y="23"/>
                    </a:cubicBezTo>
                    <a:cubicBezTo>
                      <a:pt x="34" y="23"/>
                      <a:pt x="34" y="24"/>
                      <a:pt x="34" y="24"/>
                    </a:cubicBezTo>
                    <a:cubicBezTo>
                      <a:pt x="34" y="24"/>
                      <a:pt x="34" y="24"/>
                      <a:pt x="35" y="24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5" y="25"/>
                      <a:pt x="35" y="25"/>
                      <a:pt x="35" y="26"/>
                    </a:cubicBezTo>
                    <a:cubicBezTo>
                      <a:pt x="34" y="26"/>
                      <a:pt x="34" y="26"/>
                      <a:pt x="34" y="26"/>
                    </a:cubicBezTo>
                    <a:cubicBezTo>
                      <a:pt x="34" y="26"/>
                      <a:pt x="33" y="26"/>
                      <a:pt x="34" y="26"/>
                    </a:cubicBezTo>
                    <a:cubicBezTo>
                      <a:pt x="34" y="26"/>
                      <a:pt x="34" y="27"/>
                      <a:pt x="34" y="27"/>
                    </a:cubicBezTo>
                    <a:cubicBezTo>
                      <a:pt x="33" y="27"/>
                      <a:pt x="33" y="27"/>
                      <a:pt x="33" y="27"/>
                    </a:cubicBezTo>
                    <a:cubicBezTo>
                      <a:pt x="33" y="26"/>
                      <a:pt x="33" y="26"/>
                      <a:pt x="33" y="26"/>
                    </a:cubicBezTo>
                    <a:cubicBezTo>
                      <a:pt x="33" y="26"/>
                      <a:pt x="33" y="26"/>
                      <a:pt x="33" y="26"/>
                    </a:cubicBezTo>
                    <a:cubicBezTo>
                      <a:pt x="33" y="26"/>
                      <a:pt x="33" y="25"/>
                      <a:pt x="33" y="25"/>
                    </a:cubicBezTo>
                    <a:cubicBezTo>
                      <a:pt x="32" y="25"/>
                      <a:pt x="32" y="25"/>
                      <a:pt x="32" y="25"/>
                    </a:cubicBezTo>
                    <a:cubicBezTo>
                      <a:pt x="32" y="24"/>
                      <a:pt x="32" y="24"/>
                      <a:pt x="32" y="24"/>
                    </a:cubicBezTo>
                    <a:cubicBezTo>
                      <a:pt x="32" y="24"/>
                      <a:pt x="32" y="24"/>
                      <a:pt x="32" y="24"/>
                    </a:cubicBezTo>
                    <a:cubicBezTo>
                      <a:pt x="31" y="23"/>
                      <a:pt x="32" y="23"/>
                      <a:pt x="32" y="23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32" y="23"/>
                      <a:pt x="32" y="23"/>
                      <a:pt x="31" y="23"/>
                    </a:cubicBezTo>
                    <a:cubicBezTo>
                      <a:pt x="31" y="23"/>
                      <a:pt x="31" y="24"/>
                      <a:pt x="31" y="24"/>
                    </a:cubicBezTo>
                    <a:cubicBezTo>
                      <a:pt x="31" y="24"/>
                      <a:pt x="31" y="24"/>
                      <a:pt x="30" y="24"/>
                    </a:cubicBezTo>
                    <a:cubicBezTo>
                      <a:pt x="30" y="25"/>
                      <a:pt x="30" y="25"/>
                      <a:pt x="30" y="25"/>
                    </a:cubicBezTo>
                    <a:cubicBezTo>
                      <a:pt x="30" y="25"/>
                      <a:pt x="30" y="25"/>
                      <a:pt x="30" y="25"/>
                    </a:cubicBezTo>
                    <a:cubicBezTo>
                      <a:pt x="30" y="25"/>
                      <a:pt x="29" y="26"/>
                      <a:pt x="29" y="27"/>
                    </a:cubicBezTo>
                    <a:cubicBezTo>
                      <a:pt x="29" y="27"/>
                      <a:pt x="29" y="27"/>
                      <a:pt x="29" y="27"/>
                    </a:cubicBezTo>
                    <a:cubicBezTo>
                      <a:pt x="29" y="27"/>
                      <a:pt x="29" y="27"/>
                      <a:pt x="29" y="27"/>
                    </a:cubicBezTo>
                    <a:cubicBezTo>
                      <a:pt x="29" y="28"/>
                      <a:pt x="29" y="29"/>
                      <a:pt x="29" y="29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29" y="29"/>
                      <a:pt x="29" y="30"/>
                      <a:pt x="29" y="30"/>
                    </a:cubicBezTo>
                    <a:cubicBezTo>
                      <a:pt x="29" y="30"/>
                      <a:pt x="28" y="31"/>
                      <a:pt x="28" y="31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27" y="32"/>
                      <a:pt x="27" y="32"/>
                      <a:pt x="27" y="33"/>
                    </a:cubicBezTo>
                    <a:cubicBezTo>
                      <a:pt x="27" y="33"/>
                      <a:pt x="27" y="33"/>
                      <a:pt x="27" y="33"/>
                    </a:cubicBezTo>
                    <a:cubicBezTo>
                      <a:pt x="27" y="33"/>
                      <a:pt x="26" y="35"/>
                      <a:pt x="26" y="35"/>
                    </a:cubicBezTo>
                    <a:cubicBezTo>
                      <a:pt x="26" y="35"/>
                      <a:pt x="26" y="35"/>
                      <a:pt x="26" y="35"/>
                    </a:cubicBezTo>
                    <a:cubicBezTo>
                      <a:pt x="25" y="36"/>
                      <a:pt x="24" y="36"/>
                      <a:pt x="23" y="37"/>
                    </a:cubicBezTo>
                    <a:cubicBezTo>
                      <a:pt x="23" y="37"/>
                      <a:pt x="23" y="37"/>
                      <a:pt x="23" y="37"/>
                    </a:cubicBezTo>
                    <a:cubicBezTo>
                      <a:pt x="23" y="37"/>
                      <a:pt x="23" y="37"/>
                      <a:pt x="23" y="37"/>
                    </a:cubicBezTo>
                    <a:cubicBezTo>
                      <a:pt x="23" y="37"/>
                      <a:pt x="22" y="37"/>
                      <a:pt x="22" y="37"/>
                    </a:cubicBezTo>
                    <a:cubicBezTo>
                      <a:pt x="21" y="37"/>
                      <a:pt x="21" y="37"/>
                      <a:pt x="21" y="37"/>
                    </a:cubicBezTo>
                    <a:cubicBezTo>
                      <a:pt x="21" y="37"/>
                      <a:pt x="20" y="37"/>
                      <a:pt x="20" y="37"/>
                    </a:cubicBezTo>
                    <a:cubicBezTo>
                      <a:pt x="19" y="37"/>
                      <a:pt x="19" y="37"/>
                      <a:pt x="19" y="37"/>
                    </a:cubicBezTo>
                    <a:cubicBezTo>
                      <a:pt x="19" y="37"/>
                      <a:pt x="19" y="37"/>
                      <a:pt x="19" y="37"/>
                    </a:cubicBezTo>
                    <a:cubicBezTo>
                      <a:pt x="19" y="37"/>
                      <a:pt x="19" y="38"/>
                      <a:pt x="18" y="38"/>
                    </a:cubicBezTo>
                    <a:cubicBezTo>
                      <a:pt x="18" y="38"/>
                      <a:pt x="18" y="38"/>
                      <a:pt x="18" y="38"/>
                    </a:cubicBezTo>
                    <a:cubicBezTo>
                      <a:pt x="18" y="39"/>
                      <a:pt x="17" y="39"/>
                      <a:pt x="17" y="39"/>
                    </a:cubicBezTo>
                    <a:cubicBezTo>
                      <a:pt x="17" y="39"/>
                      <a:pt x="17" y="39"/>
                      <a:pt x="17" y="39"/>
                    </a:cubicBezTo>
                    <a:cubicBezTo>
                      <a:pt x="16" y="39"/>
                      <a:pt x="16" y="39"/>
                      <a:pt x="16" y="39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15" y="39"/>
                      <a:pt x="15" y="40"/>
                      <a:pt x="15" y="40"/>
                    </a:cubicBezTo>
                    <a:cubicBezTo>
                      <a:pt x="14" y="40"/>
                      <a:pt x="14" y="40"/>
                      <a:pt x="13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3" y="40"/>
                      <a:pt x="13" y="40"/>
                      <a:pt x="12" y="40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1" y="40"/>
                      <a:pt x="11" y="40"/>
                      <a:pt x="10" y="40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0" y="41"/>
                      <a:pt x="9" y="41"/>
                      <a:pt x="9" y="41"/>
                    </a:cubicBezTo>
                    <a:cubicBezTo>
                      <a:pt x="9" y="41"/>
                      <a:pt x="9" y="42"/>
                      <a:pt x="8" y="42"/>
                    </a:cubicBezTo>
                    <a:cubicBezTo>
                      <a:pt x="8" y="42"/>
                      <a:pt x="8" y="42"/>
                      <a:pt x="8" y="43"/>
                    </a:cubicBezTo>
                    <a:cubicBezTo>
                      <a:pt x="8" y="43"/>
                      <a:pt x="7" y="43"/>
                      <a:pt x="7" y="43"/>
                    </a:cubicBezTo>
                    <a:cubicBezTo>
                      <a:pt x="7" y="43"/>
                      <a:pt x="7" y="44"/>
                      <a:pt x="6" y="44"/>
                    </a:cubicBezTo>
                    <a:cubicBezTo>
                      <a:pt x="6" y="44"/>
                      <a:pt x="5" y="44"/>
                      <a:pt x="5" y="44"/>
                    </a:cubicBezTo>
                    <a:cubicBezTo>
                      <a:pt x="5" y="44"/>
                      <a:pt x="5" y="45"/>
                      <a:pt x="5" y="45"/>
                    </a:cubicBezTo>
                    <a:cubicBezTo>
                      <a:pt x="4" y="45"/>
                      <a:pt x="4" y="46"/>
                      <a:pt x="4" y="46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3" y="47"/>
                      <a:pt x="3" y="47"/>
                      <a:pt x="3" y="46"/>
                    </a:cubicBezTo>
                    <a:cubicBezTo>
                      <a:pt x="3" y="46"/>
                      <a:pt x="3" y="46"/>
                      <a:pt x="3" y="46"/>
                    </a:cubicBezTo>
                    <a:cubicBezTo>
                      <a:pt x="3" y="46"/>
                      <a:pt x="3" y="46"/>
                      <a:pt x="3" y="46"/>
                    </a:cubicBezTo>
                    <a:cubicBezTo>
                      <a:pt x="3" y="45"/>
                      <a:pt x="3" y="45"/>
                      <a:pt x="3" y="45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3" y="44"/>
                      <a:pt x="3" y="45"/>
                      <a:pt x="2" y="46"/>
                    </a:cubicBezTo>
                    <a:cubicBezTo>
                      <a:pt x="2" y="46"/>
                      <a:pt x="2" y="46"/>
                      <a:pt x="2" y="47"/>
                    </a:cubicBezTo>
                    <a:cubicBezTo>
                      <a:pt x="2" y="47"/>
                      <a:pt x="2" y="48"/>
                      <a:pt x="2" y="48"/>
                    </a:cubicBezTo>
                    <a:cubicBezTo>
                      <a:pt x="2" y="48"/>
                      <a:pt x="2" y="49"/>
                      <a:pt x="2" y="49"/>
                    </a:cubicBezTo>
                    <a:cubicBezTo>
                      <a:pt x="2" y="50"/>
                      <a:pt x="2" y="50"/>
                      <a:pt x="2" y="51"/>
                    </a:cubicBezTo>
                    <a:cubicBezTo>
                      <a:pt x="2" y="51"/>
                      <a:pt x="2" y="51"/>
                      <a:pt x="2" y="52"/>
                    </a:cubicBezTo>
                    <a:cubicBezTo>
                      <a:pt x="2" y="52"/>
                      <a:pt x="1" y="53"/>
                      <a:pt x="1" y="53"/>
                    </a:cubicBezTo>
                    <a:cubicBezTo>
                      <a:pt x="1" y="54"/>
                      <a:pt x="1" y="54"/>
                      <a:pt x="1" y="54"/>
                    </a:cubicBezTo>
                    <a:cubicBezTo>
                      <a:pt x="1" y="54"/>
                      <a:pt x="1" y="55"/>
                      <a:pt x="1" y="55"/>
                    </a:cubicBezTo>
                    <a:cubicBezTo>
                      <a:pt x="1" y="56"/>
                      <a:pt x="2" y="56"/>
                      <a:pt x="2" y="57"/>
                    </a:cubicBezTo>
                    <a:cubicBezTo>
                      <a:pt x="2" y="57"/>
                      <a:pt x="2" y="58"/>
                      <a:pt x="2" y="58"/>
                    </a:cubicBezTo>
                    <a:cubicBezTo>
                      <a:pt x="2" y="58"/>
                      <a:pt x="3" y="59"/>
                      <a:pt x="3" y="59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4" y="61"/>
                      <a:pt x="4" y="61"/>
                      <a:pt x="4" y="61"/>
                    </a:cubicBezTo>
                    <a:cubicBezTo>
                      <a:pt x="4" y="61"/>
                      <a:pt x="4" y="61"/>
                      <a:pt x="4" y="61"/>
                    </a:cubicBezTo>
                    <a:cubicBezTo>
                      <a:pt x="4" y="61"/>
                      <a:pt x="4" y="61"/>
                      <a:pt x="4" y="62"/>
                    </a:cubicBezTo>
                    <a:cubicBezTo>
                      <a:pt x="4" y="62"/>
                      <a:pt x="4" y="62"/>
                      <a:pt x="3" y="63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3" y="62"/>
                      <a:pt x="3" y="62"/>
                      <a:pt x="3" y="62"/>
                    </a:cubicBezTo>
                    <a:cubicBezTo>
                      <a:pt x="3" y="62"/>
                      <a:pt x="2" y="62"/>
                      <a:pt x="2" y="62"/>
                    </a:cubicBezTo>
                    <a:cubicBezTo>
                      <a:pt x="2" y="62"/>
                      <a:pt x="2" y="62"/>
                      <a:pt x="2" y="61"/>
                    </a:cubicBezTo>
                    <a:cubicBezTo>
                      <a:pt x="2" y="61"/>
                      <a:pt x="2" y="61"/>
                      <a:pt x="2" y="61"/>
                    </a:cubicBezTo>
                    <a:cubicBezTo>
                      <a:pt x="2" y="61"/>
                      <a:pt x="2" y="61"/>
                      <a:pt x="2" y="61"/>
                    </a:cubicBezTo>
                    <a:cubicBezTo>
                      <a:pt x="2" y="61"/>
                      <a:pt x="2" y="60"/>
                      <a:pt x="2" y="60"/>
                    </a:cubicBezTo>
                    <a:cubicBezTo>
                      <a:pt x="2" y="60"/>
                      <a:pt x="2" y="60"/>
                      <a:pt x="2" y="60"/>
                    </a:cubicBezTo>
                    <a:cubicBezTo>
                      <a:pt x="2" y="60"/>
                      <a:pt x="2" y="60"/>
                      <a:pt x="2" y="60"/>
                    </a:cubicBezTo>
                    <a:cubicBezTo>
                      <a:pt x="1" y="60"/>
                      <a:pt x="1" y="59"/>
                      <a:pt x="1" y="6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1" y="61"/>
                      <a:pt x="2" y="62"/>
                      <a:pt x="2" y="62"/>
                    </a:cubicBezTo>
                    <a:cubicBezTo>
                      <a:pt x="2" y="62"/>
                      <a:pt x="2" y="63"/>
                      <a:pt x="2" y="63"/>
                    </a:cubicBezTo>
                    <a:cubicBezTo>
                      <a:pt x="2" y="63"/>
                      <a:pt x="2" y="64"/>
                      <a:pt x="2" y="64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2" y="64"/>
                      <a:pt x="2" y="63"/>
                      <a:pt x="2" y="63"/>
                    </a:cubicBezTo>
                    <a:cubicBezTo>
                      <a:pt x="2" y="63"/>
                      <a:pt x="1" y="63"/>
                      <a:pt x="1" y="63"/>
                    </a:cubicBezTo>
                    <a:cubicBezTo>
                      <a:pt x="1" y="62"/>
                      <a:pt x="1" y="62"/>
                      <a:pt x="1" y="62"/>
                    </a:cubicBezTo>
                    <a:cubicBezTo>
                      <a:pt x="1" y="62"/>
                      <a:pt x="1" y="62"/>
                      <a:pt x="1" y="62"/>
                    </a:cubicBezTo>
                    <a:cubicBezTo>
                      <a:pt x="0" y="62"/>
                      <a:pt x="0" y="62"/>
                      <a:pt x="1" y="63"/>
                    </a:cubicBezTo>
                    <a:cubicBezTo>
                      <a:pt x="1" y="63"/>
                      <a:pt x="1" y="64"/>
                      <a:pt x="1" y="64"/>
                    </a:cubicBezTo>
                    <a:cubicBezTo>
                      <a:pt x="2" y="65"/>
                      <a:pt x="2" y="65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7"/>
                      <a:pt x="3" y="68"/>
                      <a:pt x="3" y="68"/>
                    </a:cubicBezTo>
                    <a:cubicBezTo>
                      <a:pt x="4" y="69"/>
                      <a:pt x="4" y="69"/>
                      <a:pt x="3" y="70"/>
                    </a:cubicBezTo>
                    <a:cubicBezTo>
                      <a:pt x="3" y="70"/>
                      <a:pt x="3" y="70"/>
                      <a:pt x="3" y="70"/>
                    </a:cubicBezTo>
                    <a:cubicBezTo>
                      <a:pt x="3" y="70"/>
                      <a:pt x="4" y="71"/>
                      <a:pt x="4" y="71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4" y="72"/>
                      <a:pt x="5" y="73"/>
                      <a:pt x="5" y="73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5" y="74"/>
                      <a:pt x="6" y="74"/>
                      <a:pt x="6" y="75"/>
                    </a:cubicBezTo>
                    <a:cubicBezTo>
                      <a:pt x="6" y="75"/>
                      <a:pt x="6" y="76"/>
                      <a:pt x="6" y="76"/>
                    </a:cubicBezTo>
                    <a:cubicBezTo>
                      <a:pt x="6" y="76"/>
                      <a:pt x="6" y="77"/>
                      <a:pt x="6" y="77"/>
                    </a:cubicBezTo>
                    <a:cubicBezTo>
                      <a:pt x="6" y="78"/>
                      <a:pt x="6" y="78"/>
                      <a:pt x="6" y="78"/>
                    </a:cubicBezTo>
                    <a:cubicBezTo>
                      <a:pt x="6" y="78"/>
                      <a:pt x="6" y="78"/>
                      <a:pt x="6" y="79"/>
                    </a:cubicBezTo>
                    <a:cubicBezTo>
                      <a:pt x="6" y="79"/>
                      <a:pt x="6" y="79"/>
                      <a:pt x="6" y="79"/>
                    </a:cubicBezTo>
                    <a:cubicBezTo>
                      <a:pt x="6" y="79"/>
                      <a:pt x="7" y="81"/>
                      <a:pt x="7" y="81"/>
                    </a:cubicBezTo>
                    <a:cubicBezTo>
                      <a:pt x="7" y="82"/>
                      <a:pt x="7" y="82"/>
                      <a:pt x="7" y="82"/>
                    </a:cubicBezTo>
                    <a:cubicBezTo>
                      <a:pt x="7" y="82"/>
                      <a:pt x="8" y="83"/>
                      <a:pt x="8" y="83"/>
                    </a:cubicBezTo>
                    <a:cubicBezTo>
                      <a:pt x="8" y="83"/>
                      <a:pt x="8" y="83"/>
                      <a:pt x="8" y="83"/>
                    </a:cubicBezTo>
                    <a:cubicBezTo>
                      <a:pt x="8" y="84"/>
                      <a:pt x="9" y="85"/>
                      <a:pt x="9" y="86"/>
                    </a:cubicBezTo>
                    <a:cubicBezTo>
                      <a:pt x="9" y="87"/>
                      <a:pt x="9" y="87"/>
                      <a:pt x="9" y="87"/>
                    </a:cubicBezTo>
                    <a:cubicBezTo>
                      <a:pt x="8" y="87"/>
                      <a:pt x="8" y="87"/>
                      <a:pt x="8" y="88"/>
                    </a:cubicBezTo>
                    <a:cubicBezTo>
                      <a:pt x="9" y="88"/>
                      <a:pt x="9" y="88"/>
                      <a:pt x="9" y="89"/>
                    </a:cubicBezTo>
                    <a:cubicBezTo>
                      <a:pt x="8" y="89"/>
                      <a:pt x="8" y="89"/>
                      <a:pt x="8" y="89"/>
                    </a:cubicBezTo>
                    <a:cubicBezTo>
                      <a:pt x="8" y="89"/>
                      <a:pt x="8" y="89"/>
                      <a:pt x="8" y="90"/>
                    </a:cubicBezTo>
                    <a:cubicBezTo>
                      <a:pt x="8" y="90"/>
                      <a:pt x="8" y="91"/>
                      <a:pt x="8" y="92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93"/>
                      <a:pt x="8" y="93"/>
                      <a:pt x="7" y="93"/>
                    </a:cubicBezTo>
                    <a:cubicBezTo>
                      <a:pt x="7" y="93"/>
                      <a:pt x="7" y="93"/>
                      <a:pt x="7" y="93"/>
                    </a:cubicBezTo>
                    <a:cubicBezTo>
                      <a:pt x="6" y="93"/>
                      <a:pt x="6" y="93"/>
                      <a:pt x="6" y="93"/>
                    </a:cubicBezTo>
                    <a:cubicBezTo>
                      <a:pt x="6" y="93"/>
                      <a:pt x="6" y="93"/>
                      <a:pt x="6" y="93"/>
                    </a:cubicBezTo>
                    <a:cubicBezTo>
                      <a:pt x="6" y="94"/>
                      <a:pt x="6" y="94"/>
                      <a:pt x="6" y="95"/>
                    </a:cubicBezTo>
                    <a:cubicBezTo>
                      <a:pt x="6" y="95"/>
                      <a:pt x="6" y="95"/>
                      <a:pt x="6" y="96"/>
                    </a:cubicBezTo>
                    <a:cubicBezTo>
                      <a:pt x="6" y="96"/>
                      <a:pt x="6" y="96"/>
                      <a:pt x="7" y="96"/>
                    </a:cubicBezTo>
                    <a:cubicBezTo>
                      <a:pt x="7" y="96"/>
                      <a:pt x="7" y="96"/>
                      <a:pt x="7" y="96"/>
                    </a:cubicBezTo>
                    <a:cubicBezTo>
                      <a:pt x="7" y="96"/>
                      <a:pt x="7" y="96"/>
                      <a:pt x="8" y="96"/>
                    </a:cubicBezTo>
                    <a:cubicBezTo>
                      <a:pt x="9" y="97"/>
                      <a:pt x="9" y="97"/>
                      <a:pt x="9" y="97"/>
                    </a:cubicBezTo>
                    <a:cubicBezTo>
                      <a:pt x="9" y="98"/>
                      <a:pt x="10" y="98"/>
                      <a:pt x="10" y="98"/>
                    </a:cubicBezTo>
                    <a:cubicBezTo>
                      <a:pt x="10" y="99"/>
                      <a:pt x="11" y="99"/>
                      <a:pt x="11" y="99"/>
                    </a:cubicBezTo>
                    <a:cubicBezTo>
                      <a:pt x="11" y="99"/>
                      <a:pt x="11" y="99"/>
                      <a:pt x="12" y="99"/>
                    </a:cubicBezTo>
                    <a:cubicBezTo>
                      <a:pt x="12" y="99"/>
                      <a:pt x="13" y="99"/>
                      <a:pt x="13" y="99"/>
                    </a:cubicBezTo>
                    <a:cubicBezTo>
                      <a:pt x="14" y="99"/>
                      <a:pt x="14" y="99"/>
                      <a:pt x="15" y="100"/>
                    </a:cubicBezTo>
                    <a:cubicBezTo>
                      <a:pt x="15" y="99"/>
                      <a:pt x="15" y="99"/>
                      <a:pt x="15" y="99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9"/>
                      <a:pt x="16" y="99"/>
                      <a:pt x="16" y="99"/>
                    </a:cubicBezTo>
                    <a:cubicBezTo>
                      <a:pt x="16" y="99"/>
                      <a:pt x="16" y="98"/>
                      <a:pt x="17" y="98"/>
                    </a:cubicBezTo>
                    <a:cubicBezTo>
                      <a:pt x="17" y="98"/>
                      <a:pt x="17" y="98"/>
                      <a:pt x="17" y="98"/>
                    </a:cubicBezTo>
                    <a:cubicBezTo>
                      <a:pt x="17" y="98"/>
                      <a:pt x="18" y="98"/>
                      <a:pt x="18" y="97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18" y="97"/>
                      <a:pt x="19" y="97"/>
                      <a:pt x="19" y="97"/>
                    </a:cubicBezTo>
                    <a:cubicBezTo>
                      <a:pt x="19" y="97"/>
                      <a:pt x="19" y="97"/>
                      <a:pt x="19" y="97"/>
                    </a:cubicBezTo>
                    <a:cubicBezTo>
                      <a:pt x="20" y="97"/>
                      <a:pt x="20" y="96"/>
                      <a:pt x="20" y="96"/>
                    </a:cubicBezTo>
                    <a:cubicBezTo>
                      <a:pt x="21" y="96"/>
                      <a:pt x="21" y="96"/>
                      <a:pt x="21" y="96"/>
                    </a:cubicBezTo>
                    <a:cubicBezTo>
                      <a:pt x="21" y="96"/>
                      <a:pt x="21" y="96"/>
                      <a:pt x="21" y="95"/>
                    </a:cubicBezTo>
                    <a:cubicBezTo>
                      <a:pt x="21" y="95"/>
                      <a:pt x="21" y="95"/>
                      <a:pt x="21" y="95"/>
                    </a:cubicBezTo>
                    <a:cubicBezTo>
                      <a:pt x="21" y="95"/>
                      <a:pt x="21" y="95"/>
                      <a:pt x="21" y="95"/>
                    </a:cubicBezTo>
                    <a:cubicBezTo>
                      <a:pt x="21" y="95"/>
                      <a:pt x="22" y="94"/>
                      <a:pt x="22" y="94"/>
                    </a:cubicBezTo>
                    <a:cubicBezTo>
                      <a:pt x="22" y="94"/>
                      <a:pt x="22" y="94"/>
                      <a:pt x="22" y="94"/>
                    </a:cubicBezTo>
                    <a:cubicBezTo>
                      <a:pt x="23" y="94"/>
                      <a:pt x="24" y="94"/>
                      <a:pt x="25" y="94"/>
                    </a:cubicBezTo>
                    <a:cubicBezTo>
                      <a:pt x="25" y="94"/>
                      <a:pt x="25" y="94"/>
                      <a:pt x="25" y="94"/>
                    </a:cubicBezTo>
                    <a:cubicBezTo>
                      <a:pt x="25" y="94"/>
                      <a:pt x="25" y="94"/>
                      <a:pt x="25" y="94"/>
                    </a:cubicBezTo>
                    <a:cubicBezTo>
                      <a:pt x="26" y="94"/>
                      <a:pt x="26" y="94"/>
                      <a:pt x="27" y="94"/>
                    </a:cubicBezTo>
                    <a:cubicBezTo>
                      <a:pt x="27" y="94"/>
                      <a:pt x="27" y="94"/>
                      <a:pt x="27" y="94"/>
                    </a:cubicBezTo>
                    <a:cubicBezTo>
                      <a:pt x="28" y="94"/>
                      <a:pt x="28" y="94"/>
                      <a:pt x="28" y="94"/>
                    </a:cubicBezTo>
                    <a:cubicBezTo>
                      <a:pt x="28" y="94"/>
                      <a:pt x="28" y="94"/>
                      <a:pt x="28" y="94"/>
                    </a:cubicBezTo>
                    <a:cubicBezTo>
                      <a:pt x="29" y="94"/>
                      <a:pt x="29" y="94"/>
                      <a:pt x="29" y="94"/>
                    </a:cubicBezTo>
                    <a:cubicBezTo>
                      <a:pt x="29" y="94"/>
                      <a:pt x="29" y="94"/>
                      <a:pt x="29" y="94"/>
                    </a:cubicBezTo>
                    <a:cubicBezTo>
                      <a:pt x="29" y="94"/>
                      <a:pt x="29" y="95"/>
                      <a:pt x="29" y="95"/>
                    </a:cubicBezTo>
                    <a:cubicBezTo>
                      <a:pt x="29" y="95"/>
                      <a:pt x="29" y="95"/>
                      <a:pt x="29" y="95"/>
                    </a:cubicBezTo>
                    <a:cubicBezTo>
                      <a:pt x="29" y="95"/>
                      <a:pt x="29" y="95"/>
                      <a:pt x="29" y="94"/>
                    </a:cubicBezTo>
                    <a:cubicBezTo>
                      <a:pt x="29" y="94"/>
                      <a:pt x="30" y="94"/>
                      <a:pt x="30" y="95"/>
                    </a:cubicBezTo>
                    <a:cubicBezTo>
                      <a:pt x="31" y="95"/>
                      <a:pt x="30" y="94"/>
                      <a:pt x="30" y="94"/>
                    </a:cubicBezTo>
                    <a:cubicBezTo>
                      <a:pt x="30" y="94"/>
                      <a:pt x="30" y="94"/>
                      <a:pt x="30" y="94"/>
                    </a:cubicBezTo>
                    <a:cubicBezTo>
                      <a:pt x="31" y="94"/>
                      <a:pt x="31" y="94"/>
                      <a:pt x="31" y="94"/>
                    </a:cubicBezTo>
                    <a:cubicBezTo>
                      <a:pt x="31" y="94"/>
                      <a:pt x="32" y="94"/>
                      <a:pt x="32" y="94"/>
                    </a:cubicBezTo>
                    <a:cubicBezTo>
                      <a:pt x="32" y="94"/>
                      <a:pt x="32" y="94"/>
                      <a:pt x="32" y="94"/>
                    </a:cubicBezTo>
                    <a:cubicBezTo>
                      <a:pt x="32" y="94"/>
                      <a:pt x="32" y="95"/>
                      <a:pt x="32" y="95"/>
                    </a:cubicBezTo>
                    <a:cubicBezTo>
                      <a:pt x="33" y="95"/>
                      <a:pt x="33" y="95"/>
                      <a:pt x="33" y="94"/>
                    </a:cubicBezTo>
                    <a:cubicBezTo>
                      <a:pt x="33" y="94"/>
                      <a:pt x="33" y="94"/>
                      <a:pt x="33" y="94"/>
                    </a:cubicBezTo>
                    <a:cubicBezTo>
                      <a:pt x="33" y="94"/>
                      <a:pt x="34" y="94"/>
                      <a:pt x="34" y="94"/>
                    </a:cubicBezTo>
                    <a:cubicBezTo>
                      <a:pt x="34" y="94"/>
                      <a:pt x="34" y="94"/>
                      <a:pt x="34" y="94"/>
                    </a:cubicBezTo>
                    <a:cubicBezTo>
                      <a:pt x="34" y="93"/>
                      <a:pt x="34" y="93"/>
                      <a:pt x="34" y="93"/>
                    </a:cubicBezTo>
                    <a:cubicBezTo>
                      <a:pt x="34" y="93"/>
                      <a:pt x="34" y="93"/>
                      <a:pt x="34" y="93"/>
                    </a:cubicBezTo>
                    <a:cubicBezTo>
                      <a:pt x="34" y="92"/>
                      <a:pt x="35" y="92"/>
                      <a:pt x="35" y="92"/>
                    </a:cubicBezTo>
                    <a:cubicBezTo>
                      <a:pt x="35" y="92"/>
                      <a:pt x="35" y="91"/>
                      <a:pt x="35" y="91"/>
                    </a:cubicBezTo>
                    <a:cubicBezTo>
                      <a:pt x="35" y="91"/>
                      <a:pt x="36" y="91"/>
                      <a:pt x="36" y="91"/>
                    </a:cubicBezTo>
                    <a:cubicBezTo>
                      <a:pt x="36" y="91"/>
                      <a:pt x="36" y="91"/>
                      <a:pt x="36" y="91"/>
                    </a:cubicBezTo>
                    <a:cubicBezTo>
                      <a:pt x="36" y="90"/>
                      <a:pt x="36" y="90"/>
                      <a:pt x="37" y="90"/>
                    </a:cubicBezTo>
                    <a:cubicBezTo>
                      <a:pt x="37" y="90"/>
                      <a:pt x="38" y="89"/>
                      <a:pt x="38" y="89"/>
                    </a:cubicBezTo>
                    <a:cubicBezTo>
                      <a:pt x="38" y="89"/>
                      <a:pt x="38" y="89"/>
                      <a:pt x="38" y="89"/>
                    </a:cubicBezTo>
                    <a:cubicBezTo>
                      <a:pt x="39" y="89"/>
                      <a:pt x="40" y="89"/>
                      <a:pt x="40" y="88"/>
                    </a:cubicBezTo>
                    <a:cubicBezTo>
                      <a:pt x="40" y="88"/>
                      <a:pt x="40" y="88"/>
                      <a:pt x="40" y="88"/>
                    </a:cubicBezTo>
                    <a:cubicBezTo>
                      <a:pt x="41" y="87"/>
                      <a:pt x="41" y="87"/>
                      <a:pt x="41" y="87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1" y="87"/>
                      <a:pt x="41" y="87"/>
                      <a:pt x="42" y="87"/>
                    </a:cubicBezTo>
                    <a:cubicBezTo>
                      <a:pt x="42" y="87"/>
                      <a:pt x="43" y="87"/>
                      <a:pt x="45" y="87"/>
                    </a:cubicBezTo>
                    <a:cubicBezTo>
                      <a:pt x="45" y="87"/>
                      <a:pt x="45" y="87"/>
                      <a:pt x="45" y="87"/>
                    </a:cubicBezTo>
                    <a:cubicBezTo>
                      <a:pt x="45" y="87"/>
                      <a:pt x="46" y="87"/>
                      <a:pt x="46" y="87"/>
                    </a:cubicBezTo>
                    <a:cubicBezTo>
                      <a:pt x="47" y="87"/>
                      <a:pt x="47" y="87"/>
                      <a:pt x="47" y="87"/>
                    </a:cubicBezTo>
                    <a:cubicBezTo>
                      <a:pt x="47" y="87"/>
                      <a:pt x="48" y="87"/>
                      <a:pt x="48" y="86"/>
                    </a:cubicBezTo>
                    <a:cubicBezTo>
                      <a:pt x="48" y="86"/>
                      <a:pt x="49" y="86"/>
                      <a:pt x="49" y="86"/>
                    </a:cubicBezTo>
                    <a:cubicBezTo>
                      <a:pt x="49" y="86"/>
                      <a:pt x="50" y="85"/>
                      <a:pt x="50" y="85"/>
                    </a:cubicBezTo>
                    <a:cubicBezTo>
                      <a:pt x="50" y="85"/>
                      <a:pt x="51" y="85"/>
                      <a:pt x="51" y="85"/>
                    </a:cubicBezTo>
                    <a:cubicBezTo>
                      <a:pt x="51" y="85"/>
                      <a:pt x="52" y="85"/>
                      <a:pt x="52" y="85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52" y="85"/>
                      <a:pt x="53" y="84"/>
                      <a:pt x="54" y="84"/>
                    </a:cubicBezTo>
                    <a:cubicBezTo>
                      <a:pt x="55" y="84"/>
                      <a:pt x="55" y="84"/>
                      <a:pt x="55" y="84"/>
                    </a:cubicBezTo>
                    <a:cubicBezTo>
                      <a:pt x="55" y="84"/>
                      <a:pt x="55" y="84"/>
                      <a:pt x="55" y="84"/>
                    </a:cubicBezTo>
                    <a:cubicBezTo>
                      <a:pt x="56" y="84"/>
                      <a:pt x="57" y="84"/>
                      <a:pt x="57" y="84"/>
                    </a:cubicBezTo>
                    <a:cubicBezTo>
                      <a:pt x="57" y="84"/>
                      <a:pt x="57" y="84"/>
                      <a:pt x="57" y="84"/>
                    </a:cubicBezTo>
                    <a:cubicBezTo>
                      <a:pt x="57" y="84"/>
                      <a:pt x="57" y="84"/>
                      <a:pt x="58" y="84"/>
                    </a:cubicBezTo>
                    <a:cubicBezTo>
                      <a:pt x="59" y="84"/>
                      <a:pt x="59" y="85"/>
                      <a:pt x="60" y="85"/>
                    </a:cubicBezTo>
                    <a:cubicBezTo>
                      <a:pt x="60" y="85"/>
                      <a:pt x="60" y="85"/>
                      <a:pt x="60" y="85"/>
                    </a:cubicBezTo>
                    <a:cubicBezTo>
                      <a:pt x="60" y="85"/>
                      <a:pt x="61" y="86"/>
                      <a:pt x="61" y="86"/>
                    </a:cubicBezTo>
                    <a:cubicBezTo>
                      <a:pt x="61" y="86"/>
                      <a:pt x="62" y="86"/>
                      <a:pt x="62" y="86"/>
                    </a:cubicBezTo>
                    <a:cubicBezTo>
                      <a:pt x="62" y="86"/>
                      <a:pt x="62" y="86"/>
                      <a:pt x="62" y="86"/>
                    </a:cubicBezTo>
                    <a:cubicBezTo>
                      <a:pt x="62" y="86"/>
                      <a:pt x="62" y="86"/>
                      <a:pt x="62" y="86"/>
                    </a:cubicBezTo>
                    <a:cubicBezTo>
                      <a:pt x="63" y="86"/>
                      <a:pt x="63" y="86"/>
                      <a:pt x="64" y="87"/>
                    </a:cubicBezTo>
                    <a:cubicBezTo>
                      <a:pt x="64" y="87"/>
                      <a:pt x="64" y="87"/>
                      <a:pt x="64" y="87"/>
                    </a:cubicBezTo>
                    <a:cubicBezTo>
                      <a:pt x="64" y="87"/>
                      <a:pt x="64" y="87"/>
                      <a:pt x="64" y="87"/>
                    </a:cubicBezTo>
                    <a:cubicBezTo>
                      <a:pt x="64" y="87"/>
                      <a:pt x="65" y="87"/>
                      <a:pt x="65" y="87"/>
                    </a:cubicBezTo>
                    <a:cubicBezTo>
                      <a:pt x="65" y="87"/>
                      <a:pt x="65" y="87"/>
                      <a:pt x="65" y="87"/>
                    </a:cubicBezTo>
                    <a:cubicBezTo>
                      <a:pt x="65" y="86"/>
                      <a:pt x="66" y="87"/>
                      <a:pt x="66" y="87"/>
                    </a:cubicBezTo>
                    <a:cubicBezTo>
                      <a:pt x="66" y="87"/>
                      <a:pt x="66" y="87"/>
                      <a:pt x="66" y="87"/>
                    </a:cubicBezTo>
                    <a:cubicBezTo>
                      <a:pt x="66" y="87"/>
                      <a:pt x="66" y="87"/>
                      <a:pt x="66" y="87"/>
                    </a:cubicBezTo>
                    <a:cubicBezTo>
                      <a:pt x="66" y="87"/>
                      <a:pt x="67" y="88"/>
                      <a:pt x="67" y="88"/>
                    </a:cubicBezTo>
                    <a:cubicBezTo>
                      <a:pt x="67" y="88"/>
                      <a:pt x="67" y="88"/>
                      <a:pt x="66" y="88"/>
                    </a:cubicBezTo>
                    <a:cubicBezTo>
                      <a:pt x="66" y="88"/>
                      <a:pt x="66" y="88"/>
                      <a:pt x="67" y="88"/>
                    </a:cubicBezTo>
                    <a:cubicBezTo>
                      <a:pt x="67" y="88"/>
                      <a:pt x="67" y="88"/>
                      <a:pt x="67" y="88"/>
                    </a:cubicBezTo>
                    <a:cubicBezTo>
                      <a:pt x="67" y="88"/>
                      <a:pt x="67" y="88"/>
                      <a:pt x="67" y="88"/>
                    </a:cubicBezTo>
                    <a:cubicBezTo>
                      <a:pt x="68" y="88"/>
                      <a:pt x="68" y="88"/>
                      <a:pt x="68" y="88"/>
                    </a:cubicBezTo>
                    <a:cubicBezTo>
                      <a:pt x="68" y="88"/>
                      <a:pt x="68" y="88"/>
                      <a:pt x="68" y="88"/>
                    </a:cubicBezTo>
                    <a:cubicBezTo>
                      <a:pt x="68" y="89"/>
                      <a:pt x="68" y="89"/>
                      <a:pt x="68" y="89"/>
                    </a:cubicBezTo>
                    <a:cubicBezTo>
                      <a:pt x="68" y="89"/>
                      <a:pt x="68" y="89"/>
                      <a:pt x="68" y="89"/>
                    </a:cubicBezTo>
                    <a:cubicBezTo>
                      <a:pt x="67" y="89"/>
                      <a:pt x="67" y="89"/>
                      <a:pt x="67" y="90"/>
                    </a:cubicBezTo>
                    <a:cubicBezTo>
                      <a:pt x="67" y="90"/>
                      <a:pt x="67" y="90"/>
                      <a:pt x="67" y="90"/>
                    </a:cubicBezTo>
                    <a:cubicBezTo>
                      <a:pt x="67" y="90"/>
                      <a:pt x="67" y="90"/>
                      <a:pt x="67" y="90"/>
                    </a:cubicBezTo>
                    <a:cubicBezTo>
                      <a:pt x="67" y="90"/>
                      <a:pt x="68" y="91"/>
                      <a:pt x="68" y="91"/>
                    </a:cubicBezTo>
                    <a:cubicBezTo>
                      <a:pt x="68" y="91"/>
                      <a:pt x="68" y="91"/>
                      <a:pt x="68" y="91"/>
                    </a:cubicBezTo>
                    <a:cubicBezTo>
                      <a:pt x="68" y="91"/>
                      <a:pt x="69" y="91"/>
                      <a:pt x="69" y="91"/>
                    </a:cubicBezTo>
                    <a:cubicBezTo>
                      <a:pt x="69" y="91"/>
                      <a:pt x="69" y="92"/>
                      <a:pt x="69" y="92"/>
                    </a:cubicBezTo>
                    <a:cubicBezTo>
                      <a:pt x="69" y="92"/>
                      <a:pt x="70" y="92"/>
                      <a:pt x="70" y="93"/>
                    </a:cubicBezTo>
                    <a:cubicBezTo>
                      <a:pt x="70" y="93"/>
                      <a:pt x="70" y="93"/>
                      <a:pt x="70" y="94"/>
                    </a:cubicBezTo>
                    <a:cubicBezTo>
                      <a:pt x="70" y="94"/>
                      <a:pt x="70" y="94"/>
                      <a:pt x="70" y="94"/>
                    </a:cubicBezTo>
                    <a:cubicBezTo>
                      <a:pt x="71" y="94"/>
                      <a:pt x="71" y="94"/>
                      <a:pt x="71" y="94"/>
                    </a:cubicBezTo>
                    <a:cubicBezTo>
                      <a:pt x="71" y="94"/>
                      <a:pt x="71" y="94"/>
                      <a:pt x="71" y="95"/>
                    </a:cubicBez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6"/>
                      <a:pt x="71" y="96"/>
                      <a:pt x="71" y="97"/>
                    </a:cubicBezTo>
                    <a:cubicBezTo>
                      <a:pt x="71" y="97"/>
                      <a:pt x="71" y="97"/>
                      <a:pt x="71" y="97"/>
                    </a:cubicBezTo>
                    <a:cubicBezTo>
                      <a:pt x="71" y="97"/>
                      <a:pt x="71" y="97"/>
                      <a:pt x="71" y="97"/>
                    </a:cubicBezTo>
                    <a:cubicBezTo>
                      <a:pt x="71" y="96"/>
                      <a:pt x="71" y="96"/>
                      <a:pt x="71" y="97"/>
                    </a:cubicBezTo>
                    <a:cubicBezTo>
                      <a:pt x="71" y="97"/>
                      <a:pt x="71" y="97"/>
                      <a:pt x="71" y="97"/>
                    </a:cubicBezTo>
                    <a:cubicBezTo>
                      <a:pt x="71" y="97"/>
                      <a:pt x="71" y="97"/>
                      <a:pt x="71" y="97"/>
                    </a:cubicBezTo>
                    <a:cubicBezTo>
                      <a:pt x="71" y="97"/>
                      <a:pt x="71" y="97"/>
                      <a:pt x="71" y="97"/>
                    </a:cubicBezTo>
                    <a:cubicBezTo>
                      <a:pt x="71" y="97"/>
                      <a:pt x="71" y="98"/>
                      <a:pt x="71" y="98"/>
                    </a:cubicBezTo>
                    <a:cubicBezTo>
                      <a:pt x="72" y="98"/>
                      <a:pt x="72" y="98"/>
                      <a:pt x="72" y="98"/>
                    </a:cubicBezTo>
                    <a:cubicBezTo>
                      <a:pt x="72" y="98"/>
                      <a:pt x="72" y="98"/>
                      <a:pt x="73" y="98"/>
                    </a:cubicBezTo>
                    <a:cubicBezTo>
                      <a:pt x="73" y="98"/>
                      <a:pt x="73" y="98"/>
                      <a:pt x="73" y="98"/>
                    </a:cubicBezTo>
                    <a:cubicBezTo>
                      <a:pt x="73" y="99"/>
                      <a:pt x="73" y="99"/>
                      <a:pt x="73" y="98"/>
                    </a:cubicBezTo>
                    <a:cubicBezTo>
                      <a:pt x="73" y="98"/>
                      <a:pt x="73" y="98"/>
                      <a:pt x="73" y="98"/>
                    </a:cubicBezTo>
                    <a:cubicBezTo>
                      <a:pt x="73" y="98"/>
                      <a:pt x="73" y="98"/>
                      <a:pt x="73" y="98"/>
                    </a:cubicBezTo>
                    <a:cubicBezTo>
                      <a:pt x="73" y="97"/>
                      <a:pt x="73" y="97"/>
                      <a:pt x="73" y="97"/>
                    </a:cubicBezTo>
                    <a:cubicBezTo>
                      <a:pt x="73" y="97"/>
                      <a:pt x="73" y="97"/>
                      <a:pt x="73" y="97"/>
                    </a:cubicBezTo>
                    <a:cubicBezTo>
                      <a:pt x="73" y="97"/>
                      <a:pt x="74" y="97"/>
                      <a:pt x="74" y="97"/>
                    </a:cubicBezTo>
                    <a:cubicBezTo>
                      <a:pt x="74" y="96"/>
                      <a:pt x="74" y="96"/>
                      <a:pt x="74" y="96"/>
                    </a:cubicBezTo>
                    <a:cubicBezTo>
                      <a:pt x="74" y="96"/>
                      <a:pt x="74" y="96"/>
                      <a:pt x="74" y="96"/>
                    </a:cubicBezTo>
                    <a:cubicBezTo>
                      <a:pt x="74" y="95"/>
                      <a:pt x="74" y="95"/>
                      <a:pt x="74" y="95"/>
                    </a:cubicBezTo>
                    <a:cubicBezTo>
                      <a:pt x="74" y="95"/>
                      <a:pt x="75" y="95"/>
                      <a:pt x="75" y="95"/>
                    </a:cubicBezTo>
                    <a:cubicBezTo>
                      <a:pt x="75" y="95"/>
                      <a:pt x="75" y="94"/>
                      <a:pt x="75" y="94"/>
                    </a:cubicBezTo>
                    <a:cubicBezTo>
                      <a:pt x="75" y="94"/>
                      <a:pt x="76" y="94"/>
                      <a:pt x="76" y="94"/>
                    </a:cubicBezTo>
                    <a:cubicBezTo>
                      <a:pt x="76" y="94"/>
                      <a:pt x="76" y="94"/>
                      <a:pt x="76" y="93"/>
                    </a:cubicBezTo>
                    <a:cubicBezTo>
                      <a:pt x="76" y="93"/>
                      <a:pt x="76" y="93"/>
                      <a:pt x="76" y="93"/>
                    </a:cubicBezTo>
                    <a:cubicBezTo>
                      <a:pt x="77" y="93"/>
                      <a:pt x="77" y="93"/>
                      <a:pt x="77" y="93"/>
                    </a:cubicBezTo>
                    <a:cubicBezTo>
                      <a:pt x="77" y="93"/>
                      <a:pt x="77" y="93"/>
                      <a:pt x="77" y="93"/>
                    </a:cubicBezTo>
                    <a:cubicBezTo>
                      <a:pt x="77" y="93"/>
                      <a:pt x="77" y="93"/>
                      <a:pt x="77" y="93"/>
                    </a:cubicBezTo>
                    <a:cubicBezTo>
                      <a:pt x="77" y="93"/>
                      <a:pt x="78" y="92"/>
                      <a:pt x="78" y="92"/>
                    </a:cubicBezTo>
                    <a:cubicBezTo>
                      <a:pt x="78" y="92"/>
                      <a:pt x="78" y="92"/>
                      <a:pt x="78" y="92"/>
                    </a:cubicBezTo>
                    <a:cubicBezTo>
                      <a:pt x="78" y="91"/>
                      <a:pt x="78" y="91"/>
                      <a:pt x="78" y="91"/>
                    </a:cubicBezTo>
                    <a:cubicBezTo>
                      <a:pt x="78" y="91"/>
                      <a:pt x="78" y="91"/>
                      <a:pt x="78" y="91"/>
                    </a:cubicBezTo>
                    <a:cubicBezTo>
                      <a:pt x="78" y="90"/>
                      <a:pt x="79" y="90"/>
                      <a:pt x="79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89"/>
                      <a:pt x="79" y="89"/>
                      <a:pt x="79" y="89"/>
                    </a:cubicBezTo>
                    <a:cubicBezTo>
                      <a:pt x="78" y="89"/>
                      <a:pt x="78" y="89"/>
                      <a:pt x="78" y="89"/>
                    </a:cubicBezTo>
                    <a:cubicBezTo>
                      <a:pt x="79" y="89"/>
                      <a:pt x="79" y="89"/>
                      <a:pt x="79" y="88"/>
                    </a:cubicBezTo>
                    <a:cubicBezTo>
                      <a:pt x="79" y="88"/>
                      <a:pt x="79" y="88"/>
                      <a:pt x="79" y="88"/>
                    </a:cubicBezTo>
                    <a:cubicBezTo>
                      <a:pt x="79" y="88"/>
                      <a:pt x="79" y="88"/>
                      <a:pt x="79" y="88"/>
                    </a:cubicBezTo>
                    <a:cubicBezTo>
                      <a:pt x="79" y="88"/>
                      <a:pt x="79" y="88"/>
                      <a:pt x="79" y="88"/>
                    </a:cubicBezTo>
                    <a:cubicBezTo>
                      <a:pt x="79" y="89"/>
                      <a:pt x="79" y="89"/>
                      <a:pt x="79" y="89"/>
                    </a:cubicBezTo>
                    <a:cubicBezTo>
                      <a:pt x="79" y="89"/>
                      <a:pt x="80" y="90"/>
                      <a:pt x="80" y="90"/>
                    </a:cubicBezTo>
                    <a:cubicBezTo>
                      <a:pt x="80" y="91"/>
                      <a:pt x="80" y="91"/>
                      <a:pt x="80" y="91"/>
                    </a:cubicBezTo>
                    <a:cubicBezTo>
                      <a:pt x="80" y="91"/>
                      <a:pt x="80" y="91"/>
                      <a:pt x="80" y="91"/>
                    </a:cubicBezTo>
                    <a:cubicBezTo>
                      <a:pt x="80" y="91"/>
                      <a:pt x="80" y="91"/>
                      <a:pt x="80" y="91"/>
                    </a:cubicBezTo>
                    <a:cubicBezTo>
                      <a:pt x="79" y="91"/>
                      <a:pt x="79" y="91"/>
                      <a:pt x="79" y="92"/>
                    </a:cubicBezTo>
                    <a:cubicBezTo>
                      <a:pt x="79" y="92"/>
                      <a:pt x="79" y="92"/>
                      <a:pt x="80" y="92"/>
                    </a:cubicBezTo>
                    <a:cubicBezTo>
                      <a:pt x="80" y="93"/>
                      <a:pt x="79" y="93"/>
                      <a:pt x="79" y="93"/>
                    </a:cubicBezTo>
                    <a:cubicBezTo>
                      <a:pt x="79" y="94"/>
                      <a:pt x="79" y="94"/>
                      <a:pt x="78" y="95"/>
                    </a:cubicBezTo>
                    <a:cubicBezTo>
                      <a:pt x="78" y="96"/>
                      <a:pt x="78" y="96"/>
                      <a:pt x="78" y="96"/>
                    </a:cubicBezTo>
                    <a:cubicBezTo>
                      <a:pt x="78" y="97"/>
                      <a:pt x="78" y="97"/>
                      <a:pt x="78" y="97"/>
                    </a:cubicBezTo>
                    <a:cubicBezTo>
                      <a:pt x="78" y="96"/>
                      <a:pt x="78" y="97"/>
                      <a:pt x="78" y="97"/>
                    </a:cubicBezTo>
                    <a:cubicBezTo>
                      <a:pt x="78" y="97"/>
                      <a:pt x="78" y="97"/>
                      <a:pt x="78" y="97"/>
                    </a:cubicBezTo>
                    <a:cubicBezTo>
                      <a:pt x="78" y="97"/>
                      <a:pt x="78" y="97"/>
                      <a:pt x="78" y="97"/>
                    </a:cubicBezTo>
                    <a:cubicBezTo>
                      <a:pt x="78" y="98"/>
                      <a:pt x="78" y="98"/>
                      <a:pt x="78" y="98"/>
                    </a:cubicBezTo>
                    <a:cubicBezTo>
                      <a:pt x="78" y="98"/>
                      <a:pt x="77" y="98"/>
                      <a:pt x="77" y="98"/>
                    </a:cubicBezTo>
                    <a:cubicBezTo>
                      <a:pt x="77" y="98"/>
                      <a:pt x="77" y="98"/>
                      <a:pt x="77" y="98"/>
                    </a:cubicBezTo>
                    <a:cubicBezTo>
                      <a:pt x="77" y="98"/>
                      <a:pt x="77" y="98"/>
                      <a:pt x="77" y="98"/>
                    </a:cubicBezTo>
                    <a:cubicBezTo>
                      <a:pt x="77" y="98"/>
                      <a:pt x="77" y="99"/>
                      <a:pt x="77" y="99"/>
                    </a:cubicBezTo>
                    <a:cubicBezTo>
                      <a:pt x="76" y="99"/>
                      <a:pt x="76" y="99"/>
                      <a:pt x="76" y="99"/>
                    </a:cubicBezTo>
                    <a:cubicBezTo>
                      <a:pt x="76" y="100"/>
                      <a:pt x="76" y="100"/>
                      <a:pt x="76" y="100"/>
                    </a:cubicBezTo>
                    <a:cubicBezTo>
                      <a:pt x="76" y="100"/>
                      <a:pt x="76" y="100"/>
                      <a:pt x="77" y="100"/>
                    </a:cubicBezTo>
                    <a:cubicBezTo>
                      <a:pt x="77" y="100"/>
                      <a:pt x="77" y="100"/>
                      <a:pt x="77" y="100"/>
                    </a:cubicBezTo>
                    <a:cubicBezTo>
                      <a:pt x="77" y="100"/>
                      <a:pt x="78" y="100"/>
                      <a:pt x="78" y="99"/>
                    </a:cubicBezTo>
                    <a:cubicBezTo>
                      <a:pt x="78" y="99"/>
                      <a:pt x="78" y="99"/>
                      <a:pt x="79" y="99"/>
                    </a:cubicBezTo>
                    <a:cubicBezTo>
                      <a:pt x="79" y="100"/>
                      <a:pt x="79" y="100"/>
                      <a:pt x="79" y="100"/>
                    </a:cubicBezTo>
                    <a:cubicBezTo>
                      <a:pt x="79" y="99"/>
                      <a:pt x="79" y="99"/>
                      <a:pt x="79" y="99"/>
                    </a:cubicBezTo>
                    <a:cubicBezTo>
                      <a:pt x="79" y="99"/>
                      <a:pt x="79" y="98"/>
                      <a:pt x="79" y="98"/>
                    </a:cubicBezTo>
                    <a:cubicBezTo>
                      <a:pt x="79" y="98"/>
                      <a:pt x="79" y="97"/>
                      <a:pt x="79" y="97"/>
                    </a:cubicBezTo>
                    <a:cubicBezTo>
                      <a:pt x="79" y="97"/>
                      <a:pt x="79" y="97"/>
                      <a:pt x="79" y="97"/>
                    </a:cubicBezTo>
                    <a:cubicBezTo>
                      <a:pt x="80" y="96"/>
                      <a:pt x="80" y="96"/>
                      <a:pt x="80" y="96"/>
                    </a:cubicBezTo>
                    <a:cubicBezTo>
                      <a:pt x="80" y="96"/>
                      <a:pt x="80" y="96"/>
                      <a:pt x="80" y="96"/>
                    </a:cubicBezTo>
                    <a:cubicBezTo>
                      <a:pt x="80" y="95"/>
                      <a:pt x="80" y="95"/>
                      <a:pt x="80" y="95"/>
                    </a:cubicBezTo>
                    <a:cubicBezTo>
                      <a:pt x="80" y="95"/>
                      <a:pt x="80" y="95"/>
                      <a:pt x="80" y="95"/>
                    </a:cubicBezTo>
                    <a:cubicBezTo>
                      <a:pt x="81" y="97"/>
                      <a:pt x="81" y="97"/>
                      <a:pt x="81" y="97"/>
                    </a:cubicBezTo>
                    <a:cubicBezTo>
                      <a:pt x="81" y="98"/>
                      <a:pt x="81" y="97"/>
                      <a:pt x="82" y="98"/>
                    </a:cubicBezTo>
                    <a:cubicBezTo>
                      <a:pt x="82" y="98"/>
                      <a:pt x="82" y="98"/>
                      <a:pt x="81" y="98"/>
                    </a:cubicBezTo>
                    <a:cubicBezTo>
                      <a:pt x="81" y="99"/>
                      <a:pt x="81" y="99"/>
                      <a:pt x="81" y="99"/>
                    </a:cubicBezTo>
                    <a:cubicBezTo>
                      <a:pt x="81" y="99"/>
                      <a:pt x="81" y="99"/>
                      <a:pt x="81" y="99"/>
                    </a:cubicBezTo>
                    <a:cubicBezTo>
                      <a:pt x="81" y="100"/>
                      <a:pt x="81" y="100"/>
                      <a:pt x="81" y="100"/>
                    </a:cubicBezTo>
                    <a:cubicBezTo>
                      <a:pt x="81" y="100"/>
                      <a:pt x="81" y="101"/>
                      <a:pt x="81" y="101"/>
                    </a:cubicBezTo>
                    <a:cubicBezTo>
                      <a:pt x="80" y="101"/>
                      <a:pt x="80" y="101"/>
                      <a:pt x="80" y="101"/>
                    </a:cubicBezTo>
                    <a:cubicBezTo>
                      <a:pt x="80" y="101"/>
                      <a:pt x="81" y="101"/>
                      <a:pt x="81" y="101"/>
                    </a:cubicBezTo>
                    <a:cubicBezTo>
                      <a:pt x="81" y="101"/>
                      <a:pt x="81" y="101"/>
                      <a:pt x="81" y="101"/>
                    </a:cubicBezTo>
                    <a:cubicBezTo>
                      <a:pt x="82" y="101"/>
                      <a:pt x="82" y="101"/>
                      <a:pt x="82" y="101"/>
                    </a:cubicBezTo>
                    <a:cubicBezTo>
                      <a:pt x="82" y="101"/>
                      <a:pt x="82" y="101"/>
                      <a:pt x="82" y="101"/>
                    </a:cubicBezTo>
                    <a:cubicBezTo>
                      <a:pt x="82" y="101"/>
                      <a:pt x="82" y="101"/>
                      <a:pt x="82" y="101"/>
                    </a:cubicBezTo>
                    <a:cubicBezTo>
                      <a:pt x="82" y="101"/>
                      <a:pt x="83" y="101"/>
                      <a:pt x="83" y="101"/>
                    </a:cubicBezTo>
                    <a:cubicBezTo>
                      <a:pt x="83" y="101"/>
                      <a:pt x="83" y="100"/>
                      <a:pt x="83" y="100"/>
                    </a:cubicBezTo>
                    <a:cubicBezTo>
                      <a:pt x="83" y="100"/>
                      <a:pt x="83" y="100"/>
                      <a:pt x="83" y="100"/>
                    </a:cubicBezTo>
                    <a:cubicBezTo>
                      <a:pt x="83" y="100"/>
                      <a:pt x="83" y="100"/>
                      <a:pt x="83" y="100"/>
                    </a:cubicBezTo>
                    <a:cubicBezTo>
                      <a:pt x="84" y="100"/>
                      <a:pt x="84" y="100"/>
                      <a:pt x="84" y="100"/>
                    </a:cubicBezTo>
                    <a:cubicBezTo>
                      <a:pt x="84" y="100"/>
                      <a:pt x="84" y="100"/>
                      <a:pt x="84" y="100"/>
                    </a:cubicBezTo>
                    <a:cubicBezTo>
                      <a:pt x="84" y="101"/>
                      <a:pt x="84" y="101"/>
                      <a:pt x="84" y="101"/>
                    </a:cubicBezTo>
                    <a:cubicBezTo>
                      <a:pt x="84" y="101"/>
                      <a:pt x="84" y="102"/>
                      <a:pt x="84" y="101"/>
                    </a:cubicBezTo>
                    <a:cubicBezTo>
                      <a:pt x="84" y="101"/>
                      <a:pt x="84" y="101"/>
                      <a:pt x="84" y="101"/>
                    </a:cubicBezTo>
                    <a:cubicBezTo>
                      <a:pt x="84" y="101"/>
                      <a:pt x="83" y="101"/>
                      <a:pt x="83" y="101"/>
                    </a:cubicBezTo>
                    <a:cubicBezTo>
                      <a:pt x="83" y="101"/>
                      <a:pt x="83" y="102"/>
                      <a:pt x="84" y="102"/>
                    </a:cubicBezTo>
                    <a:cubicBezTo>
                      <a:pt x="84" y="102"/>
                      <a:pt x="85" y="103"/>
                      <a:pt x="85" y="104"/>
                    </a:cubicBezTo>
                    <a:cubicBezTo>
                      <a:pt x="86" y="105"/>
                      <a:pt x="86" y="105"/>
                      <a:pt x="86" y="105"/>
                    </a:cubicBezTo>
                    <a:cubicBezTo>
                      <a:pt x="86" y="107"/>
                      <a:pt x="86" y="107"/>
                      <a:pt x="86" y="107"/>
                    </a:cubicBezTo>
                    <a:cubicBezTo>
                      <a:pt x="86" y="107"/>
                      <a:pt x="85" y="107"/>
                      <a:pt x="85" y="108"/>
                    </a:cubicBezTo>
                    <a:cubicBezTo>
                      <a:pt x="85" y="108"/>
                      <a:pt x="85" y="108"/>
                      <a:pt x="85" y="108"/>
                    </a:cubicBezTo>
                    <a:cubicBezTo>
                      <a:pt x="85" y="109"/>
                      <a:pt x="86" y="109"/>
                      <a:pt x="86" y="109"/>
                    </a:cubicBezTo>
                    <a:cubicBezTo>
                      <a:pt x="86" y="110"/>
                      <a:pt x="87" y="110"/>
                      <a:pt x="87" y="110"/>
                    </a:cubicBezTo>
                    <a:cubicBezTo>
                      <a:pt x="87" y="111"/>
                      <a:pt x="87" y="111"/>
                      <a:pt x="88" y="111"/>
                    </a:cubicBezTo>
                    <a:cubicBezTo>
                      <a:pt x="88" y="112"/>
                      <a:pt x="88" y="112"/>
                      <a:pt x="88" y="112"/>
                    </a:cubicBezTo>
                    <a:cubicBezTo>
                      <a:pt x="88" y="112"/>
                      <a:pt x="89" y="112"/>
                      <a:pt x="89" y="112"/>
                    </a:cubicBezTo>
                    <a:cubicBezTo>
                      <a:pt x="89" y="112"/>
                      <a:pt x="89" y="112"/>
                      <a:pt x="90" y="112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0" y="113"/>
                      <a:pt x="91" y="113"/>
                      <a:pt x="91" y="113"/>
                    </a:cubicBezTo>
                    <a:cubicBezTo>
                      <a:pt x="91" y="113"/>
                      <a:pt x="91" y="113"/>
                      <a:pt x="91" y="114"/>
                    </a:cubicBezTo>
                    <a:cubicBezTo>
                      <a:pt x="92" y="114"/>
                      <a:pt x="91" y="113"/>
                      <a:pt x="91" y="113"/>
                    </a:cubicBezTo>
                    <a:cubicBezTo>
                      <a:pt x="91" y="113"/>
                      <a:pt x="92" y="113"/>
                      <a:pt x="92" y="113"/>
                    </a:cubicBezTo>
                    <a:cubicBezTo>
                      <a:pt x="93" y="113"/>
                      <a:pt x="93" y="113"/>
                      <a:pt x="93" y="113"/>
                    </a:cubicBezTo>
                    <a:cubicBezTo>
                      <a:pt x="93" y="113"/>
                      <a:pt x="94" y="113"/>
                      <a:pt x="94" y="113"/>
                    </a:cubicBezTo>
                    <a:cubicBezTo>
                      <a:pt x="95" y="113"/>
                      <a:pt x="95" y="114"/>
                      <a:pt x="95" y="114"/>
                    </a:cubicBezTo>
                    <a:cubicBezTo>
                      <a:pt x="95" y="114"/>
                      <a:pt x="95" y="114"/>
                      <a:pt x="95" y="114"/>
                    </a:cubicBezTo>
                    <a:cubicBezTo>
                      <a:pt x="97" y="115"/>
                      <a:pt x="98" y="115"/>
                      <a:pt x="98" y="115"/>
                    </a:cubicBezTo>
                    <a:cubicBezTo>
                      <a:pt x="98" y="115"/>
                      <a:pt x="98" y="115"/>
                      <a:pt x="98" y="115"/>
                    </a:cubicBezTo>
                    <a:cubicBezTo>
                      <a:pt x="98" y="115"/>
                      <a:pt x="99" y="114"/>
                      <a:pt x="99" y="114"/>
                    </a:cubicBezTo>
                    <a:cubicBezTo>
                      <a:pt x="99" y="114"/>
                      <a:pt x="99" y="114"/>
                      <a:pt x="99" y="114"/>
                    </a:cubicBezTo>
                    <a:cubicBezTo>
                      <a:pt x="99" y="114"/>
                      <a:pt x="100" y="113"/>
                      <a:pt x="100" y="113"/>
                    </a:cubicBezTo>
                    <a:cubicBezTo>
                      <a:pt x="100" y="113"/>
                      <a:pt x="101" y="113"/>
                      <a:pt x="101" y="113"/>
                    </a:cubicBezTo>
                    <a:cubicBezTo>
                      <a:pt x="101" y="113"/>
                      <a:pt x="101" y="113"/>
                      <a:pt x="101" y="112"/>
                    </a:cubicBezTo>
                    <a:cubicBezTo>
                      <a:pt x="101" y="112"/>
                      <a:pt x="101" y="112"/>
                      <a:pt x="101" y="112"/>
                    </a:cubicBezTo>
                    <a:cubicBezTo>
                      <a:pt x="100" y="112"/>
                      <a:pt x="100" y="112"/>
                      <a:pt x="100" y="112"/>
                    </a:cubicBezTo>
                    <a:cubicBezTo>
                      <a:pt x="100" y="112"/>
                      <a:pt x="100" y="112"/>
                      <a:pt x="101" y="112"/>
                    </a:cubicBezTo>
                    <a:cubicBezTo>
                      <a:pt x="101" y="112"/>
                      <a:pt x="101" y="112"/>
                      <a:pt x="101" y="112"/>
                    </a:cubicBezTo>
                    <a:cubicBezTo>
                      <a:pt x="101" y="112"/>
                      <a:pt x="101" y="112"/>
                      <a:pt x="101" y="112"/>
                    </a:cubicBezTo>
                    <a:cubicBezTo>
                      <a:pt x="101" y="112"/>
                      <a:pt x="101" y="111"/>
                      <a:pt x="101" y="111"/>
                    </a:cubicBezTo>
                    <a:cubicBezTo>
                      <a:pt x="102" y="111"/>
                      <a:pt x="102" y="111"/>
                      <a:pt x="102" y="111"/>
                    </a:cubicBezTo>
                    <a:cubicBezTo>
                      <a:pt x="102" y="111"/>
                      <a:pt x="102" y="112"/>
                      <a:pt x="102" y="112"/>
                    </a:cubicBezTo>
                    <a:cubicBezTo>
                      <a:pt x="103" y="112"/>
                      <a:pt x="103" y="112"/>
                      <a:pt x="102" y="112"/>
                    </a:cubicBezTo>
                    <a:cubicBezTo>
                      <a:pt x="102" y="113"/>
                      <a:pt x="102" y="113"/>
                      <a:pt x="102" y="113"/>
                    </a:cubicBezTo>
                    <a:cubicBezTo>
                      <a:pt x="102" y="113"/>
                      <a:pt x="102" y="113"/>
                      <a:pt x="102" y="113"/>
                    </a:cubicBezTo>
                    <a:cubicBezTo>
                      <a:pt x="102" y="114"/>
                      <a:pt x="102" y="114"/>
                      <a:pt x="102" y="114"/>
                    </a:cubicBezTo>
                    <a:cubicBezTo>
                      <a:pt x="102" y="113"/>
                      <a:pt x="103" y="113"/>
                      <a:pt x="103" y="113"/>
                    </a:cubicBezTo>
                    <a:cubicBezTo>
                      <a:pt x="103" y="113"/>
                      <a:pt x="103" y="113"/>
                      <a:pt x="104" y="113"/>
                    </a:cubicBezTo>
                    <a:cubicBezTo>
                      <a:pt x="104" y="113"/>
                      <a:pt x="104" y="113"/>
                      <a:pt x="104" y="113"/>
                    </a:cubicBezTo>
                    <a:cubicBezTo>
                      <a:pt x="104" y="114"/>
                      <a:pt x="104" y="114"/>
                      <a:pt x="104" y="114"/>
                    </a:cubicBezTo>
                    <a:cubicBezTo>
                      <a:pt x="104" y="114"/>
                      <a:pt x="104" y="114"/>
                      <a:pt x="104" y="114"/>
                    </a:cubicBezTo>
                    <a:cubicBezTo>
                      <a:pt x="104" y="114"/>
                      <a:pt x="104" y="115"/>
                      <a:pt x="104" y="114"/>
                    </a:cubicBezTo>
                    <a:cubicBezTo>
                      <a:pt x="104" y="114"/>
                      <a:pt x="105" y="115"/>
                      <a:pt x="105" y="115"/>
                    </a:cubicBezTo>
                    <a:cubicBezTo>
                      <a:pt x="105" y="115"/>
                      <a:pt x="105" y="115"/>
                      <a:pt x="105" y="115"/>
                    </a:cubicBezTo>
                    <a:cubicBezTo>
                      <a:pt x="105" y="115"/>
                      <a:pt x="106" y="116"/>
                      <a:pt x="106" y="116"/>
                    </a:cubicBezTo>
                    <a:cubicBezTo>
                      <a:pt x="106" y="116"/>
                      <a:pt x="107" y="116"/>
                      <a:pt x="107" y="116"/>
                    </a:cubicBezTo>
                    <a:cubicBezTo>
                      <a:pt x="107" y="116"/>
                      <a:pt x="107" y="116"/>
                      <a:pt x="107" y="116"/>
                    </a:cubicBezTo>
                    <a:cubicBezTo>
                      <a:pt x="107" y="116"/>
                      <a:pt x="107" y="116"/>
                      <a:pt x="107" y="116"/>
                    </a:cubicBezTo>
                    <a:cubicBezTo>
                      <a:pt x="107" y="116"/>
                      <a:pt x="107" y="116"/>
                      <a:pt x="107" y="116"/>
                    </a:cubicBezTo>
                    <a:cubicBezTo>
                      <a:pt x="107" y="115"/>
                      <a:pt x="107" y="115"/>
                      <a:pt x="107" y="115"/>
                    </a:cubicBezTo>
                    <a:cubicBezTo>
                      <a:pt x="107" y="115"/>
                      <a:pt x="106" y="115"/>
                      <a:pt x="106" y="115"/>
                    </a:cubicBezTo>
                    <a:cubicBezTo>
                      <a:pt x="106" y="115"/>
                      <a:pt x="106" y="115"/>
                      <a:pt x="106" y="115"/>
                    </a:cubicBezTo>
                    <a:cubicBezTo>
                      <a:pt x="106" y="115"/>
                      <a:pt x="106" y="115"/>
                      <a:pt x="107" y="115"/>
                    </a:cubicBezTo>
                    <a:cubicBezTo>
                      <a:pt x="107" y="115"/>
                      <a:pt x="107" y="115"/>
                      <a:pt x="107" y="115"/>
                    </a:cubicBezTo>
                    <a:cubicBezTo>
                      <a:pt x="107" y="115"/>
                      <a:pt x="108" y="115"/>
                      <a:pt x="108" y="115"/>
                    </a:cubicBezTo>
                    <a:cubicBezTo>
                      <a:pt x="109" y="115"/>
                      <a:pt x="109" y="114"/>
                      <a:pt x="109" y="113"/>
                    </a:cubicBezTo>
                    <a:cubicBezTo>
                      <a:pt x="110" y="113"/>
                      <a:pt x="110" y="112"/>
                      <a:pt x="111" y="112"/>
                    </a:cubicBezTo>
                    <a:cubicBezTo>
                      <a:pt x="111" y="112"/>
                      <a:pt x="113" y="111"/>
                      <a:pt x="113" y="111"/>
                    </a:cubicBezTo>
                    <a:cubicBezTo>
                      <a:pt x="114" y="111"/>
                      <a:pt x="114" y="111"/>
                      <a:pt x="114" y="111"/>
                    </a:cubicBezTo>
                    <a:cubicBezTo>
                      <a:pt x="114" y="111"/>
                      <a:pt x="115" y="111"/>
                      <a:pt x="116" y="111"/>
                    </a:cubicBezTo>
                    <a:cubicBezTo>
                      <a:pt x="116" y="111"/>
                      <a:pt x="117" y="111"/>
                      <a:pt x="117" y="111"/>
                    </a:cubicBezTo>
                    <a:cubicBezTo>
                      <a:pt x="117" y="110"/>
                      <a:pt x="117" y="110"/>
                      <a:pt x="117" y="110"/>
                    </a:cubicBezTo>
                    <a:cubicBezTo>
                      <a:pt x="118" y="110"/>
                      <a:pt x="118" y="110"/>
                      <a:pt x="118" y="109"/>
                    </a:cubicBezTo>
                    <a:cubicBezTo>
                      <a:pt x="118" y="109"/>
                      <a:pt x="118" y="109"/>
                      <a:pt x="118" y="109"/>
                    </a:cubicBezTo>
                    <a:cubicBezTo>
                      <a:pt x="118" y="109"/>
                      <a:pt x="118" y="109"/>
                      <a:pt x="118" y="108"/>
                    </a:cubicBezTo>
                    <a:cubicBezTo>
                      <a:pt x="118" y="108"/>
                      <a:pt x="118" y="108"/>
                      <a:pt x="118" y="108"/>
                    </a:cubicBezTo>
                    <a:cubicBezTo>
                      <a:pt x="118" y="108"/>
                      <a:pt x="118" y="108"/>
                      <a:pt x="118" y="108"/>
                    </a:cubicBezTo>
                    <a:cubicBezTo>
                      <a:pt x="118" y="108"/>
                      <a:pt x="118" y="107"/>
                      <a:pt x="118" y="107"/>
                    </a:cubicBezTo>
                    <a:cubicBezTo>
                      <a:pt x="118" y="107"/>
                      <a:pt x="118" y="107"/>
                      <a:pt x="118" y="107"/>
                    </a:cubicBezTo>
                    <a:cubicBezTo>
                      <a:pt x="118" y="106"/>
                      <a:pt x="118" y="106"/>
                      <a:pt x="119" y="105"/>
                    </a:cubicBezTo>
                    <a:cubicBezTo>
                      <a:pt x="119" y="105"/>
                      <a:pt x="119" y="105"/>
                      <a:pt x="119" y="105"/>
                    </a:cubicBezTo>
                    <a:cubicBezTo>
                      <a:pt x="119" y="105"/>
                      <a:pt x="118" y="105"/>
                      <a:pt x="118" y="105"/>
                    </a:cubicBezTo>
                    <a:cubicBezTo>
                      <a:pt x="118" y="104"/>
                      <a:pt x="119" y="104"/>
                      <a:pt x="119" y="104"/>
                    </a:cubicBezTo>
                    <a:cubicBezTo>
                      <a:pt x="119" y="104"/>
                      <a:pt x="119" y="104"/>
                      <a:pt x="119" y="104"/>
                    </a:cubicBezTo>
                    <a:cubicBezTo>
                      <a:pt x="119" y="104"/>
                      <a:pt x="119" y="103"/>
                      <a:pt x="119" y="102"/>
                    </a:cubicBezTo>
                    <a:cubicBezTo>
                      <a:pt x="119" y="102"/>
                      <a:pt x="119" y="102"/>
                      <a:pt x="119" y="102"/>
                    </a:cubicBezTo>
                    <a:cubicBezTo>
                      <a:pt x="119" y="101"/>
                      <a:pt x="120" y="100"/>
                      <a:pt x="120" y="100"/>
                    </a:cubicBezTo>
                    <a:cubicBezTo>
                      <a:pt x="120" y="100"/>
                      <a:pt x="121" y="99"/>
                      <a:pt x="121" y="99"/>
                    </a:cubicBezTo>
                    <a:cubicBezTo>
                      <a:pt x="121" y="99"/>
                      <a:pt x="121" y="98"/>
                      <a:pt x="121" y="98"/>
                    </a:cubicBezTo>
                    <a:cubicBezTo>
                      <a:pt x="121" y="98"/>
                      <a:pt x="121" y="97"/>
                      <a:pt x="121" y="97"/>
                    </a:cubicBezTo>
                    <a:cubicBezTo>
                      <a:pt x="121" y="97"/>
                      <a:pt x="121" y="96"/>
                      <a:pt x="121" y="96"/>
                    </a:cubicBezTo>
                    <a:cubicBezTo>
                      <a:pt x="122" y="95"/>
                      <a:pt x="122" y="95"/>
                      <a:pt x="122" y="95"/>
                    </a:cubicBezTo>
                    <a:cubicBezTo>
                      <a:pt x="122" y="95"/>
                      <a:pt x="122" y="94"/>
                      <a:pt x="122" y="94"/>
                    </a:cubicBezTo>
                    <a:cubicBezTo>
                      <a:pt x="122" y="94"/>
                      <a:pt x="122" y="93"/>
                      <a:pt x="122" y="93"/>
                    </a:cubicBezTo>
                    <a:cubicBezTo>
                      <a:pt x="122" y="92"/>
                      <a:pt x="122" y="93"/>
                      <a:pt x="123" y="92"/>
                    </a:cubicBezTo>
                    <a:cubicBezTo>
                      <a:pt x="123" y="92"/>
                      <a:pt x="123" y="92"/>
                      <a:pt x="123" y="92"/>
                    </a:cubicBezTo>
                    <a:cubicBezTo>
                      <a:pt x="123" y="92"/>
                      <a:pt x="123" y="92"/>
                      <a:pt x="123" y="92"/>
                    </a:cubicBezTo>
                    <a:cubicBezTo>
                      <a:pt x="123" y="91"/>
                      <a:pt x="124" y="90"/>
                      <a:pt x="124" y="90"/>
                    </a:cubicBezTo>
                    <a:cubicBezTo>
                      <a:pt x="124" y="89"/>
                      <a:pt x="124" y="89"/>
                      <a:pt x="124" y="89"/>
                    </a:cubicBezTo>
                    <a:cubicBezTo>
                      <a:pt x="125" y="89"/>
                      <a:pt x="125" y="89"/>
                      <a:pt x="125" y="89"/>
                    </a:cubicBezTo>
                    <a:cubicBezTo>
                      <a:pt x="125" y="89"/>
                      <a:pt x="125" y="89"/>
                      <a:pt x="125" y="89"/>
                    </a:cubicBezTo>
                    <a:cubicBezTo>
                      <a:pt x="125" y="88"/>
                      <a:pt x="125" y="88"/>
                      <a:pt x="125" y="88"/>
                    </a:cubicBezTo>
                    <a:cubicBezTo>
                      <a:pt x="126" y="88"/>
                      <a:pt x="126" y="88"/>
                      <a:pt x="126" y="88"/>
                    </a:cubicBezTo>
                    <a:cubicBezTo>
                      <a:pt x="126" y="87"/>
                      <a:pt x="126" y="87"/>
                      <a:pt x="126" y="87"/>
                    </a:cubicBezTo>
                    <a:cubicBezTo>
                      <a:pt x="126" y="87"/>
                      <a:pt x="126" y="87"/>
                      <a:pt x="126" y="86"/>
                    </a:cubicBezTo>
                    <a:cubicBezTo>
                      <a:pt x="126" y="86"/>
                      <a:pt x="126" y="86"/>
                      <a:pt x="126" y="86"/>
                    </a:cubicBezTo>
                    <a:cubicBezTo>
                      <a:pt x="127" y="86"/>
                      <a:pt x="127" y="85"/>
                      <a:pt x="127" y="85"/>
                    </a:cubicBezTo>
                    <a:cubicBezTo>
                      <a:pt x="127" y="85"/>
                      <a:pt x="128" y="83"/>
                      <a:pt x="128" y="82"/>
                    </a:cubicBezTo>
                    <a:cubicBezTo>
                      <a:pt x="128" y="81"/>
                      <a:pt x="128" y="81"/>
                      <a:pt x="128" y="81"/>
                    </a:cubicBezTo>
                    <a:cubicBezTo>
                      <a:pt x="128" y="81"/>
                      <a:pt x="128" y="81"/>
                      <a:pt x="128" y="80"/>
                    </a:cubicBezTo>
                    <a:cubicBezTo>
                      <a:pt x="128" y="80"/>
                      <a:pt x="128" y="79"/>
                      <a:pt x="129" y="78"/>
                    </a:cubicBezTo>
                    <a:cubicBezTo>
                      <a:pt x="129" y="78"/>
                      <a:pt x="129" y="78"/>
                      <a:pt x="129" y="78"/>
                    </a:cubicBezTo>
                    <a:cubicBezTo>
                      <a:pt x="129" y="78"/>
                      <a:pt x="129" y="77"/>
                      <a:pt x="129" y="76"/>
                    </a:cubicBezTo>
                    <a:cubicBezTo>
                      <a:pt x="129" y="74"/>
                      <a:pt x="129" y="74"/>
                      <a:pt x="129" y="74"/>
                    </a:cubicBezTo>
                    <a:cubicBezTo>
                      <a:pt x="129" y="73"/>
                      <a:pt x="130" y="73"/>
                      <a:pt x="130" y="73"/>
                    </a:cubicBezTo>
                    <a:cubicBezTo>
                      <a:pt x="130" y="73"/>
                      <a:pt x="130" y="72"/>
                      <a:pt x="130" y="72"/>
                    </a:cubicBezTo>
                    <a:cubicBezTo>
                      <a:pt x="130" y="72"/>
                      <a:pt x="130" y="72"/>
                      <a:pt x="130" y="72"/>
                    </a:cubicBezTo>
                    <a:cubicBezTo>
                      <a:pt x="130" y="71"/>
                      <a:pt x="130" y="71"/>
                      <a:pt x="130" y="70"/>
                    </a:cubicBezTo>
                    <a:cubicBezTo>
                      <a:pt x="129" y="70"/>
                      <a:pt x="129" y="70"/>
                      <a:pt x="129" y="6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58" name="Freeform 193">
                <a:extLst>
                  <a:ext uri="{FF2B5EF4-FFF2-40B4-BE49-F238E27FC236}">
                    <a16:creationId xmlns:a16="http://schemas.microsoft.com/office/drawing/2014/main" id="{97F45F9C-9024-4739-8A74-8A1CBBF5A4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5" y="2961"/>
                <a:ext cx="28" cy="31"/>
              </a:xfrm>
              <a:custGeom>
                <a:avLst/>
                <a:gdLst>
                  <a:gd name="T0" fmla="*/ 11 w 12"/>
                  <a:gd name="T1" fmla="*/ 4 h 13"/>
                  <a:gd name="T2" fmla="*/ 12 w 12"/>
                  <a:gd name="T3" fmla="*/ 2 h 13"/>
                  <a:gd name="T4" fmla="*/ 11 w 12"/>
                  <a:gd name="T5" fmla="*/ 1 h 13"/>
                  <a:gd name="T6" fmla="*/ 11 w 12"/>
                  <a:gd name="T7" fmla="*/ 1 h 13"/>
                  <a:gd name="T8" fmla="*/ 10 w 12"/>
                  <a:gd name="T9" fmla="*/ 1 h 13"/>
                  <a:gd name="T10" fmla="*/ 9 w 12"/>
                  <a:gd name="T11" fmla="*/ 1 h 13"/>
                  <a:gd name="T12" fmla="*/ 9 w 12"/>
                  <a:gd name="T13" fmla="*/ 2 h 13"/>
                  <a:gd name="T14" fmla="*/ 8 w 12"/>
                  <a:gd name="T15" fmla="*/ 2 h 13"/>
                  <a:gd name="T16" fmla="*/ 7 w 12"/>
                  <a:gd name="T17" fmla="*/ 2 h 13"/>
                  <a:gd name="T18" fmla="*/ 7 w 12"/>
                  <a:gd name="T19" fmla="*/ 2 h 13"/>
                  <a:gd name="T20" fmla="*/ 6 w 12"/>
                  <a:gd name="T21" fmla="*/ 2 h 13"/>
                  <a:gd name="T22" fmla="*/ 5 w 12"/>
                  <a:gd name="T23" fmla="*/ 2 h 13"/>
                  <a:gd name="T24" fmla="*/ 5 w 12"/>
                  <a:gd name="T25" fmla="*/ 2 h 13"/>
                  <a:gd name="T26" fmla="*/ 4 w 12"/>
                  <a:gd name="T27" fmla="*/ 2 h 13"/>
                  <a:gd name="T28" fmla="*/ 3 w 12"/>
                  <a:gd name="T29" fmla="*/ 1 h 13"/>
                  <a:gd name="T30" fmla="*/ 2 w 12"/>
                  <a:gd name="T31" fmla="*/ 1 h 13"/>
                  <a:gd name="T32" fmla="*/ 2 w 12"/>
                  <a:gd name="T33" fmla="*/ 0 h 13"/>
                  <a:gd name="T34" fmla="*/ 1 w 12"/>
                  <a:gd name="T35" fmla="*/ 1 h 13"/>
                  <a:gd name="T36" fmla="*/ 1 w 12"/>
                  <a:gd name="T37" fmla="*/ 0 h 13"/>
                  <a:gd name="T38" fmla="*/ 0 w 12"/>
                  <a:gd name="T39" fmla="*/ 1 h 13"/>
                  <a:gd name="T40" fmla="*/ 0 w 12"/>
                  <a:gd name="T41" fmla="*/ 1 h 13"/>
                  <a:gd name="T42" fmla="*/ 0 w 12"/>
                  <a:gd name="T43" fmla="*/ 1 h 13"/>
                  <a:gd name="T44" fmla="*/ 0 w 12"/>
                  <a:gd name="T45" fmla="*/ 2 h 13"/>
                  <a:gd name="T46" fmla="*/ 1 w 12"/>
                  <a:gd name="T47" fmla="*/ 4 h 13"/>
                  <a:gd name="T48" fmla="*/ 1 w 12"/>
                  <a:gd name="T49" fmla="*/ 6 h 13"/>
                  <a:gd name="T50" fmla="*/ 2 w 12"/>
                  <a:gd name="T51" fmla="*/ 7 h 13"/>
                  <a:gd name="T52" fmla="*/ 3 w 12"/>
                  <a:gd name="T53" fmla="*/ 7 h 13"/>
                  <a:gd name="T54" fmla="*/ 2 w 12"/>
                  <a:gd name="T55" fmla="*/ 8 h 13"/>
                  <a:gd name="T56" fmla="*/ 2 w 12"/>
                  <a:gd name="T57" fmla="*/ 8 h 13"/>
                  <a:gd name="T58" fmla="*/ 3 w 12"/>
                  <a:gd name="T59" fmla="*/ 10 h 13"/>
                  <a:gd name="T60" fmla="*/ 3 w 12"/>
                  <a:gd name="T61" fmla="*/ 11 h 13"/>
                  <a:gd name="T62" fmla="*/ 4 w 12"/>
                  <a:gd name="T63" fmla="*/ 11 h 13"/>
                  <a:gd name="T64" fmla="*/ 5 w 12"/>
                  <a:gd name="T65" fmla="*/ 12 h 13"/>
                  <a:gd name="T66" fmla="*/ 5 w 12"/>
                  <a:gd name="T67" fmla="*/ 12 h 13"/>
                  <a:gd name="T68" fmla="*/ 5 w 12"/>
                  <a:gd name="T69" fmla="*/ 13 h 13"/>
                  <a:gd name="T70" fmla="*/ 5 w 12"/>
                  <a:gd name="T71" fmla="*/ 13 h 13"/>
                  <a:gd name="T72" fmla="*/ 6 w 12"/>
                  <a:gd name="T73" fmla="*/ 13 h 13"/>
                  <a:gd name="T74" fmla="*/ 7 w 12"/>
                  <a:gd name="T75" fmla="*/ 13 h 13"/>
                  <a:gd name="T76" fmla="*/ 7 w 12"/>
                  <a:gd name="T77" fmla="*/ 13 h 13"/>
                  <a:gd name="T78" fmla="*/ 8 w 12"/>
                  <a:gd name="T79" fmla="*/ 12 h 13"/>
                  <a:gd name="T80" fmla="*/ 8 w 12"/>
                  <a:gd name="T81" fmla="*/ 11 h 13"/>
                  <a:gd name="T82" fmla="*/ 8 w 12"/>
                  <a:gd name="T83" fmla="*/ 11 h 13"/>
                  <a:gd name="T84" fmla="*/ 8 w 12"/>
                  <a:gd name="T85" fmla="*/ 11 h 13"/>
                  <a:gd name="T86" fmla="*/ 9 w 12"/>
                  <a:gd name="T87" fmla="*/ 10 h 13"/>
                  <a:gd name="T88" fmla="*/ 10 w 12"/>
                  <a:gd name="T89" fmla="*/ 10 h 13"/>
                  <a:gd name="T90" fmla="*/ 10 w 12"/>
                  <a:gd name="T91" fmla="*/ 10 h 13"/>
                  <a:gd name="T92" fmla="*/ 10 w 12"/>
                  <a:gd name="T93" fmla="*/ 11 h 13"/>
                  <a:gd name="T94" fmla="*/ 11 w 12"/>
                  <a:gd name="T95" fmla="*/ 11 h 13"/>
                  <a:gd name="T96" fmla="*/ 11 w 12"/>
                  <a:gd name="T97" fmla="*/ 11 h 13"/>
                  <a:gd name="T98" fmla="*/ 11 w 12"/>
                  <a:gd name="T99" fmla="*/ 10 h 13"/>
                  <a:gd name="T100" fmla="*/ 11 w 12"/>
                  <a:gd name="T101" fmla="*/ 10 h 13"/>
                  <a:gd name="T102" fmla="*/ 11 w 12"/>
                  <a:gd name="T103" fmla="*/ 9 h 13"/>
                  <a:gd name="T104" fmla="*/ 11 w 12"/>
                  <a:gd name="T105" fmla="*/ 8 h 13"/>
                  <a:gd name="T106" fmla="*/ 11 w 12"/>
                  <a:gd name="T107" fmla="*/ 8 h 13"/>
                  <a:gd name="T108" fmla="*/ 11 w 12"/>
                  <a:gd name="T109" fmla="*/ 7 h 13"/>
                  <a:gd name="T110" fmla="*/ 12 w 12"/>
                  <a:gd name="T111" fmla="*/ 6 h 13"/>
                  <a:gd name="T112" fmla="*/ 12 w 12"/>
                  <a:gd name="T113" fmla="*/ 6 h 13"/>
                  <a:gd name="T114" fmla="*/ 11 w 12"/>
                  <a:gd name="T115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" h="13">
                    <a:moveTo>
                      <a:pt x="11" y="4"/>
                    </a:moveTo>
                    <a:cubicBezTo>
                      <a:pt x="12" y="4"/>
                      <a:pt x="12" y="3"/>
                      <a:pt x="12" y="2"/>
                    </a:cubicBezTo>
                    <a:cubicBezTo>
                      <a:pt x="12" y="2"/>
                      <a:pt x="11" y="1"/>
                      <a:pt x="11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2"/>
                      <a:pt x="8" y="2"/>
                      <a:pt x="8" y="2"/>
                    </a:cubicBezTo>
                    <a:cubicBezTo>
                      <a:pt x="8" y="2"/>
                      <a:pt x="7" y="2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7" y="2"/>
                      <a:pt x="6" y="2"/>
                    </a:cubicBezTo>
                    <a:cubicBezTo>
                      <a:pt x="6" y="2"/>
                      <a:pt x="6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3" y="1"/>
                      <a:pt x="3" y="1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3"/>
                      <a:pt x="1" y="4"/>
                      <a:pt x="1" y="4"/>
                    </a:cubicBezTo>
                    <a:cubicBezTo>
                      <a:pt x="1" y="5"/>
                      <a:pt x="1" y="5"/>
                      <a:pt x="1" y="6"/>
                    </a:cubicBezTo>
                    <a:cubicBezTo>
                      <a:pt x="2" y="6"/>
                      <a:pt x="2" y="6"/>
                      <a:pt x="2" y="7"/>
                    </a:cubicBezTo>
                    <a:cubicBezTo>
                      <a:pt x="2" y="7"/>
                      <a:pt x="3" y="7"/>
                      <a:pt x="3" y="7"/>
                    </a:cubicBezTo>
                    <a:cubicBezTo>
                      <a:pt x="3" y="8"/>
                      <a:pt x="3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9"/>
                      <a:pt x="3" y="10"/>
                    </a:cubicBezTo>
                    <a:cubicBezTo>
                      <a:pt x="3" y="10"/>
                      <a:pt x="3" y="11"/>
                      <a:pt x="3" y="11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5" y="12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3"/>
                      <a:pt x="7" y="1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13"/>
                      <a:pt x="8" y="13"/>
                      <a:pt x="8" y="12"/>
                    </a:cubicBezTo>
                    <a:cubicBezTo>
                      <a:pt x="8" y="12"/>
                      <a:pt x="8" y="12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9" y="11"/>
                      <a:pt x="9" y="10"/>
                      <a:pt x="9" y="10"/>
                    </a:cubicBezTo>
                    <a:cubicBezTo>
                      <a:pt x="9" y="10"/>
                      <a:pt x="10" y="10"/>
                      <a:pt x="10" y="10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1"/>
                      <a:pt x="10" y="11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1"/>
                      <a:pt x="11" y="11"/>
                      <a:pt x="11" y="10"/>
                    </a:cubicBezTo>
                    <a:cubicBezTo>
                      <a:pt x="11" y="10"/>
                      <a:pt x="10" y="10"/>
                      <a:pt x="11" y="10"/>
                    </a:cubicBezTo>
                    <a:cubicBezTo>
                      <a:pt x="11" y="10"/>
                      <a:pt x="11" y="9"/>
                      <a:pt x="11" y="9"/>
                    </a:cubicBezTo>
                    <a:cubicBezTo>
                      <a:pt x="11" y="9"/>
                      <a:pt x="11" y="8"/>
                      <a:pt x="11" y="8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8"/>
                      <a:pt x="11" y="7"/>
                      <a:pt x="11" y="7"/>
                    </a:cubicBezTo>
                    <a:cubicBezTo>
                      <a:pt x="11" y="7"/>
                      <a:pt x="11" y="7"/>
                      <a:pt x="12" y="6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5"/>
                      <a:pt x="11" y="5"/>
                      <a:pt x="11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59" name="Freeform 194">
                <a:extLst>
                  <a:ext uri="{FF2B5EF4-FFF2-40B4-BE49-F238E27FC236}">
                    <a16:creationId xmlns:a16="http://schemas.microsoft.com/office/drawing/2014/main" id="{3D750F74-3886-41C5-BEA4-D0C7CC5C24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4" y="1882"/>
                <a:ext cx="82" cy="42"/>
              </a:xfrm>
              <a:custGeom>
                <a:avLst/>
                <a:gdLst>
                  <a:gd name="T0" fmla="*/ 27 w 35"/>
                  <a:gd name="T1" fmla="*/ 14 h 18"/>
                  <a:gd name="T2" fmla="*/ 30 w 35"/>
                  <a:gd name="T3" fmla="*/ 13 h 18"/>
                  <a:gd name="T4" fmla="*/ 32 w 35"/>
                  <a:gd name="T5" fmla="*/ 11 h 18"/>
                  <a:gd name="T6" fmla="*/ 34 w 35"/>
                  <a:gd name="T7" fmla="*/ 10 h 18"/>
                  <a:gd name="T8" fmla="*/ 35 w 35"/>
                  <a:gd name="T9" fmla="*/ 8 h 18"/>
                  <a:gd name="T10" fmla="*/ 35 w 35"/>
                  <a:gd name="T11" fmla="*/ 7 h 18"/>
                  <a:gd name="T12" fmla="*/ 32 w 35"/>
                  <a:gd name="T13" fmla="*/ 5 h 18"/>
                  <a:gd name="T14" fmla="*/ 31 w 35"/>
                  <a:gd name="T15" fmla="*/ 5 h 18"/>
                  <a:gd name="T16" fmla="*/ 31 w 35"/>
                  <a:gd name="T17" fmla="*/ 4 h 18"/>
                  <a:gd name="T18" fmla="*/ 30 w 35"/>
                  <a:gd name="T19" fmla="*/ 3 h 18"/>
                  <a:gd name="T20" fmla="*/ 31 w 35"/>
                  <a:gd name="T21" fmla="*/ 2 h 18"/>
                  <a:gd name="T22" fmla="*/ 29 w 35"/>
                  <a:gd name="T23" fmla="*/ 2 h 18"/>
                  <a:gd name="T24" fmla="*/ 28 w 35"/>
                  <a:gd name="T25" fmla="*/ 2 h 18"/>
                  <a:gd name="T26" fmla="*/ 26 w 35"/>
                  <a:gd name="T27" fmla="*/ 1 h 18"/>
                  <a:gd name="T28" fmla="*/ 26 w 35"/>
                  <a:gd name="T29" fmla="*/ 2 h 18"/>
                  <a:gd name="T30" fmla="*/ 24 w 35"/>
                  <a:gd name="T31" fmla="*/ 3 h 18"/>
                  <a:gd name="T32" fmla="*/ 22 w 35"/>
                  <a:gd name="T33" fmla="*/ 4 h 18"/>
                  <a:gd name="T34" fmla="*/ 20 w 35"/>
                  <a:gd name="T35" fmla="*/ 3 h 18"/>
                  <a:gd name="T36" fmla="*/ 20 w 35"/>
                  <a:gd name="T37" fmla="*/ 5 h 18"/>
                  <a:gd name="T38" fmla="*/ 19 w 35"/>
                  <a:gd name="T39" fmla="*/ 3 h 18"/>
                  <a:gd name="T40" fmla="*/ 17 w 35"/>
                  <a:gd name="T41" fmla="*/ 3 h 18"/>
                  <a:gd name="T42" fmla="*/ 16 w 35"/>
                  <a:gd name="T43" fmla="*/ 4 h 18"/>
                  <a:gd name="T44" fmla="*/ 15 w 35"/>
                  <a:gd name="T45" fmla="*/ 5 h 18"/>
                  <a:gd name="T46" fmla="*/ 14 w 35"/>
                  <a:gd name="T47" fmla="*/ 3 h 18"/>
                  <a:gd name="T48" fmla="*/ 13 w 35"/>
                  <a:gd name="T49" fmla="*/ 3 h 18"/>
                  <a:gd name="T50" fmla="*/ 13 w 35"/>
                  <a:gd name="T51" fmla="*/ 6 h 18"/>
                  <a:gd name="T52" fmla="*/ 12 w 35"/>
                  <a:gd name="T53" fmla="*/ 5 h 18"/>
                  <a:gd name="T54" fmla="*/ 11 w 35"/>
                  <a:gd name="T55" fmla="*/ 7 h 18"/>
                  <a:gd name="T56" fmla="*/ 10 w 35"/>
                  <a:gd name="T57" fmla="*/ 6 h 18"/>
                  <a:gd name="T58" fmla="*/ 10 w 35"/>
                  <a:gd name="T59" fmla="*/ 4 h 18"/>
                  <a:gd name="T60" fmla="*/ 7 w 35"/>
                  <a:gd name="T61" fmla="*/ 2 h 18"/>
                  <a:gd name="T62" fmla="*/ 4 w 35"/>
                  <a:gd name="T63" fmla="*/ 1 h 18"/>
                  <a:gd name="T64" fmla="*/ 5 w 35"/>
                  <a:gd name="T65" fmla="*/ 3 h 18"/>
                  <a:gd name="T66" fmla="*/ 4 w 35"/>
                  <a:gd name="T67" fmla="*/ 3 h 18"/>
                  <a:gd name="T68" fmla="*/ 2 w 35"/>
                  <a:gd name="T69" fmla="*/ 3 h 18"/>
                  <a:gd name="T70" fmla="*/ 1 w 35"/>
                  <a:gd name="T71" fmla="*/ 5 h 18"/>
                  <a:gd name="T72" fmla="*/ 0 w 35"/>
                  <a:gd name="T73" fmla="*/ 6 h 18"/>
                  <a:gd name="T74" fmla="*/ 2 w 35"/>
                  <a:gd name="T75" fmla="*/ 7 h 18"/>
                  <a:gd name="T76" fmla="*/ 6 w 35"/>
                  <a:gd name="T77" fmla="*/ 6 h 18"/>
                  <a:gd name="T78" fmla="*/ 6 w 35"/>
                  <a:gd name="T79" fmla="*/ 8 h 18"/>
                  <a:gd name="T80" fmla="*/ 7 w 35"/>
                  <a:gd name="T81" fmla="*/ 9 h 18"/>
                  <a:gd name="T82" fmla="*/ 4 w 35"/>
                  <a:gd name="T83" fmla="*/ 9 h 18"/>
                  <a:gd name="T84" fmla="*/ 1 w 35"/>
                  <a:gd name="T85" fmla="*/ 9 h 18"/>
                  <a:gd name="T86" fmla="*/ 2 w 35"/>
                  <a:gd name="T87" fmla="*/ 10 h 18"/>
                  <a:gd name="T88" fmla="*/ 7 w 35"/>
                  <a:gd name="T89" fmla="*/ 10 h 18"/>
                  <a:gd name="T90" fmla="*/ 9 w 35"/>
                  <a:gd name="T91" fmla="*/ 12 h 18"/>
                  <a:gd name="T92" fmla="*/ 8 w 35"/>
                  <a:gd name="T93" fmla="*/ 14 h 18"/>
                  <a:gd name="T94" fmla="*/ 5 w 35"/>
                  <a:gd name="T95" fmla="*/ 15 h 18"/>
                  <a:gd name="T96" fmla="*/ 9 w 35"/>
                  <a:gd name="T97" fmla="*/ 16 h 18"/>
                  <a:gd name="T98" fmla="*/ 20 w 35"/>
                  <a:gd name="T99" fmla="*/ 17 h 18"/>
                  <a:gd name="T100" fmla="*/ 25 w 35"/>
                  <a:gd name="T101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" h="18">
                    <a:moveTo>
                      <a:pt x="25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6" y="15"/>
                      <a:pt x="27" y="14"/>
                      <a:pt x="27" y="14"/>
                    </a:cubicBezTo>
                    <a:cubicBezTo>
                      <a:pt x="27" y="14"/>
                      <a:pt x="28" y="13"/>
                      <a:pt x="28" y="13"/>
                    </a:cubicBezTo>
                    <a:cubicBezTo>
                      <a:pt x="29" y="12"/>
                      <a:pt x="30" y="13"/>
                      <a:pt x="30" y="14"/>
                    </a:cubicBezTo>
                    <a:cubicBezTo>
                      <a:pt x="30" y="14"/>
                      <a:pt x="30" y="14"/>
                      <a:pt x="30" y="13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2"/>
                      <a:pt x="32" y="12"/>
                      <a:pt x="32" y="11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2" y="11"/>
                      <a:pt x="33" y="11"/>
                      <a:pt x="33" y="11"/>
                    </a:cubicBezTo>
                    <a:cubicBezTo>
                      <a:pt x="33" y="10"/>
                      <a:pt x="34" y="10"/>
                      <a:pt x="34" y="10"/>
                    </a:cubicBezTo>
                    <a:cubicBezTo>
                      <a:pt x="34" y="10"/>
                      <a:pt x="34" y="10"/>
                      <a:pt x="34" y="9"/>
                    </a:cubicBezTo>
                    <a:cubicBezTo>
                      <a:pt x="34" y="9"/>
                      <a:pt x="35" y="9"/>
                      <a:pt x="35" y="9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5" y="8"/>
                      <a:pt x="35" y="8"/>
                      <a:pt x="34" y="8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7"/>
                      <a:pt x="35" y="7"/>
                      <a:pt x="35" y="7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5" y="6"/>
                      <a:pt x="34" y="6"/>
                      <a:pt x="33" y="6"/>
                    </a:cubicBezTo>
                    <a:cubicBezTo>
                      <a:pt x="33" y="6"/>
                      <a:pt x="32" y="6"/>
                      <a:pt x="32" y="5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1" y="5"/>
                      <a:pt x="31" y="5"/>
                      <a:pt x="31" y="4"/>
                    </a:cubicBezTo>
                    <a:cubicBezTo>
                      <a:pt x="31" y="4"/>
                      <a:pt x="31" y="4"/>
                      <a:pt x="31" y="4"/>
                    </a:cubicBezTo>
                    <a:cubicBezTo>
                      <a:pt x="32" y="4"/>
                      <a:pt x="32" y="4"/>
                      <a:pt x="32" y="4"/>
                    </a:cubicBezTo>
                    <a:cubicBezTo>
                      <a:pt x="32" y="4"/>
                      <a:pt x="31" y="4"/>
                      <a:pt x="31" y="4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1" y="3"/>
                      <a:pt x="31" y="3"/>
                      <a:pt x="31" y="2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1" y="2"/>
                      <a:pt x="30" y="2"/>
                      <a:pt x="30" y="2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9" y="3"/>
                      <a:pt x="28" y="2"/>
                      <a:pt x="28" y="2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8" y="2"/>
                      <a:pt x="28" y="1"/>
                      <a:pt x="27" y="1"/>
                    </a:cubicBezTo>
                    <a:cubicBezTo>
                      <a:pt x="27" y="0"/>
                      <a:pt x="27" y="1"/>
                      <a:pt x="27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6" y="2"/>
                      <a:pt x="26" y="2"/>
                      <a:pt x="26" y="3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4" y="2"/>
                      <a:pt x="23" y="3"/>
                      <a:pt x="23" y="3"/>
                    </a:cubicBezTo>
                    <a:cubicBezTo>
                      <a:pt x="23" y="3"/>
                      <a:pt x="23" y="3"/>
                      <a:pt x="23" y="4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22" y="4"/>
                      <a:pt x="22" y="4"/>
                      <a:pt x="21" y="3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1" y="3"/>
                      <a:pt x="20" y="3"/>
                      <a:pt x="20" y="3"/>
                    </a:cubicBezTo>
                    <a:cubicBezTo>
                      <a:pt x="20" y="3"/>
                      <a:pt x="20" y="4"/>
                      <a:pt x="20" y="4"/>
                    </a:cubicBezTo>
                    <a:cubicBezTo>
                      <a:pt x="21" y="5"/>
                      <a:pt x="21" y="5"/>
                      <a:pt x="20" y="6"/>
                    </a:cubicBezTo>
                    <a:cubicBezTo>
                      <a:pt x="20" y="6"/>
                      <a:pt x="20" y="5"/>
                      <a:pt x="20" y="5"/>
                    </a:cubicBezTo>
                    <a:cubicBezTo>
                      <a:pt x="20" y="5"/>
                      <a:pt x="19" y="4"/>
                      <a:pt x="19" y="4"/>
                    </a:cubicBezTo>
                    <a:cubicBezTo>
                      <a:pt x="19" y="4"/>
                      <a:pt x="19" y="4"/>
                      <a:pt x="19" y="3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8" y="3"/>
                      <a:pt x="17" y="3"/>
                      <a:pt x="17" y="3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7" y="3"/>
                      <a:pt x="17" y="3"/>
                      <a:pt x="16" y="3"/>
                    </a:cubicBezTo>
                    <a:cubicBezTo>
                      <a:pt x="16" y="3"/>
                      <a:pt x="16" y="3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5"/>
                      <a:pt x="15" y="5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5"/>
                      <a:pt x="15" y="4"/>
                      <a:pt x="15" y="4"/>
                    </a:cubicBezTo>
                    <a:cubicBezTo>
                      <a:pt x="15" y="4"/>
                      <a:pt x="14" y="4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3"/>
                      <a:pt x="13" y="3"/>
                      <a:pt x="13" y="3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3" y="5"/>
                      <a:pt x="13" y="5"/>
                      <a:pt x="13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7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1" y="5"/>
                      <a:pt x="11" y="6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7"/>
                      <a:pt x="11" y="7"/>
                      <a:pt x="10" y="7"/>
                    </a:cubicBezTo>
                    <a:cubicBezTo>
                      <a:pt x="10" y="7"/>
                      <a:pt x="10" y="7"/>
                      <a:pt x="10" y="6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9" y="6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7" y="2"/>
                      <a:pt x="7" y="2"/>
                    </a:cubicBezTo>
                    <a:cubicBezTo>
                      <a:pt x="7" y="2"/>
                      <a:pt x="7" y="1"/>
                      <a:pt x="6" y="1"/>
                    </a:cubicBezTo>
                    <a:cubicBezTo>
                      <a:pt x="6" y="1"/>
                      <a:pt x="6" y="1"/>
                      <a:pt x="5" y="1"/>
                    </a:cubicBezTo>
                    <a:cubicBezTo>
                      <a:pt x="4" y="1"/>
                      <a:pt x="5" y="1"/>
                      <a:pt x="4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5" y="3"/>
                      <a:pt x="6" y="3"/>
                      <a:pt x="6" y="4"/>
                    </a:cubicBezTo>
                    <a:cubicBezTo>
                      <a:pt x="6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3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3" y="3"/>
                      <a:pt x="3" y="2"/>
                      <a:pt x="3" y="3"/>
                    </a:cubicBezTo>
                    <a:cubicBezTo>
                      <a:pt x="3" y="3"/>
                      <a:pt x="3" y="3"/>
                      <a:pt x="2" y="3"/>
                    </a:cubicBezTo>
                    <a:cubicBezTo>
                      <a:pt x="2" y="3"/>
                      <a:pt x="2" y="4"/>
                      <a:pt x="2" y="4"/>
                    </a:cubicBezTo>
                    <a:cubicBezTo>
                      <a:pt x="1" y="4"/>
                      <a:pt x="1" y="4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6"/>
                      <a:pt x="1" y="5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7"/>
                      <a:pt x="0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7"/>
                      <a:pt x="2" y="7"/>
                    </a:cubicBezTo>
                    <a:cubicBezTo>
                      <a:pt x="3" y="7"/>
                      <a:pt x="3" y="7"/>
                      <a:pt x="3" y="6"/>
                    </a:cubicBezTo>
                    <a:cubicBezTo>
                      <a:pt x="3" y="6"/>
                      <a:pt x="4" y="6"/>
                      <a:pt x="5" y="6"/>
                    </a:cubicBezTo>
                    <a:cubicBezTo>
                      <a:pt x="5" y="6"/>
                      <a:pt x="5" y="6"/>
                      <a:pt x="6" y="6"/>
                    </a:cubicBezTo>
                    <a:cubicBezTo>
                      <a:pt x="7" y="6"/>
                      <a:pt x="7" y="6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7" y="7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4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3" y="9"/>
                      <a:pt x="3" y="10"/>
                      <a:pt x="2" y="9"/>
                    </a:cubicBezTo>
                    <a:cubicBezTo>
                      <a:pt x="2" y="9"/>
                      <a:pt x="1" y="9"/>
                      <a:pt x="1" y="9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1"/>
                      <a:pt x="1" y="10"/>
                      <a:pt x="2" y="11"/>
                    </a:cubicBezTo>
                    <a:cubicBezTo>
                      <a:pt x="2" y="11"/>
                      <a:pt x="2" y="11"/>
                      <a:pt x="2" y="10"/>
                    </a:cubicBezTo>
                    <a:cubicBezTo>
                      <a:pt x="3" y="10"/>
                      <a:pt x="4" y="10"/>
                      <a:pt x="4" y="10"/>
                    </a:cubicBezTo>
                    <a:cubicBezTo>
                      <a:pt x="5" y="10"/>
                      <a:pt x="5" y="11"/>
                      <a:pt x="6" y="11"/>
                    </a:cubicBezTo>
                    <a:cubicBezTo>
                      <a:pt x="6" y="10"/>
                      <a:pt x="6" y="10"/>
                      <a:pt x="7" y="10"/>
                    </a:cubicBezTo>
                    <a:cubicBezTo>
                      <a:pt x="8" y="11"/>
                      <a:pt x="7" y="11"/>
                      <a:pt x="7" y="11"/>
                    </a:cubicBezTo>
                    <a:cubicBezTo>
                      <a:pt x="7" y="11"/>
                      <a:pt x="7" y="12"/>
                      <a:pt x="7" y="12"/>
                    </a:cubicBezTo>
                    <a:cubicBezTo>
                      <a:pt x="8" y="12"/>
                      <a:pt x="8" y="12"/>
                      <a:pt x="9" y="12"/>
                    </a:cubicBezTo>
                    <a:cubicBezTo>
                      <a:pt x="9" y="12"/>
                      <a:pt x="9" y="13"/>
                      <a:pt x="9" y="13"/>
                    </a:cubicBezTo>
                    <a:cubicBezTo>
                      <a:pt x="8" y="13"/>
                      <a:pt x="8" y="13"/>
                      <a:pt x="8" y="14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8" y="14"/>
                      <a:pt x="7" y="14"/>
                      <a:pt x="7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5" y="14"/>
                      <a:pt x="6" y="14"/>
                      <a:pt x="5" y="15"/>
                    </a:cubicBezTo>
                    <a:cubicBezTo>
                      <a:pt x="5" y="16"/>
                      <a:pt x="6" y="15"/>
                      <a:pt x="6" y="16"/>
                    </a:cubicBezTo>
                    <a:cubicBezTo>
                      <a:pt x="7" y="16"/>
                      <a:pt x="7" y="16"/>
                      <a:pt x="7" y="15"/>
                    </a:cubicBezTo>
                    <a:cubicBezTo>
                      <a:pt x="8" y="15"/>
                      <a:pt x="9" y="15"/>
                      <a:pt x="9" y="16"/>
                    </a:cubicBezTo>
                    <a:cubicBezTo>
                      <a:pt x="10" y="16"/>
                      <a:pt x="11" y="16"/>
                      <a:pt x="13" y="17"/>
                    </a:cubicBezTo>
                    <a:cubicBezTo>
                      <a:pt x="14" y="18"/>
                      <a:pt x="16" y="18"/>
                      <a:pt x="17" y="18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7"/>
                      <a:pt x="22" y="16"/>
                      <a:pt x="22" y="16"/>
                    </a:cubicBezTo>
                    <a:cubicBezTo>
                      <a:pt x="22" y="16"/>
                      <a:pt x="23" y="16"/>
                      <a:pt x="24" y="16"/>
                    </a:cubicBezTo>
                    <a:cubicBezTo>
                      <a:pt x="24" y="15"/>
                      <a:pt x="25" y="15"/>
                      <a:pt x="25" y="1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60" name="Freeform 195">
                <a:extLst>
                  <a:ext uri="{FF2B5EF4-FFF2-40B4-BE49-F238E27FC236}">
                    <a16:creationId xmlns:a16="http://schemas.microsoft.com/office/drawing/2014/main" id="{547B95AD-FB58-4B05-9EFD-E56EC61AA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3" y="1682"/>
                <a:ext cx="71" cy="22"/>
              </a:xfrm>
              <a:custGeom>
                <a:avLst/>
                <a:gdLst>
                  <a:gd name="T0" fmla="*/ 3 w 30"/>
                  <a:gd name="T1" fmla="*/ 3 h 9"/>
                  <a:gd name="T2" fmla="*/ 2 w 30"/>
                  <a:gd name="T3" fmla="*/ 4 h 9"/>
                  <a:gd name="T4" fmla="*/ 2 w 30"/>
                  <a:gd name="T5" fmla="*/ 5 h 9"/>
                  <a:gd name="T6" fmla="*/ 3 w 30"/>
                  <a:gd name="T7" fmla="*/ 5 h 9"/>
                  <a:gd name="T8" fmla="*/ 5 w 30"/>
                  <a:gd name="T9" fmla="*/ 6 h 9"/>
                  <a:gd name="T10" fmla="*/ 9 w 30"/>
                  <a:gd name="T11" fmla="*/ 5 h 9"/>
                  <a:gd name="T12" fmla="*/ 11 w 30"/>
                  <a:gd name="T13" fmla="*/ 5 h 9"/>
                  <a:gd name="T14" fmla="*/ 14 w 30"/>
                  <a:gd name="T15" fmla="*/ 5 h 9"/>
                  <a:gd name="T16" fmla="*/ 11 w 30"/>
                  <a:gd name="T17" fmla="*/ 6 h 9"/>
                  <a:gd name="T18" fmla="*/ 10 w 30"/>
                  <a:gd name="T19" fmla="*/ 6 h 9"/>
                  <a:gd name="T20" fmla="*/ 8 w 30"/>
                  <a:gd name="T21" fmla="*/ 6 h 9"/>
                  <a:gd name="T22" fmla="*/ 6 w 30"/>
                  <a:gd name="T23" fmla="*/ 7 h 9"/>
                  <a:gd name="T24" fmla="*/ 9 w 30"/>
                  <a:gd name="T25" fmla="*/ 7 h 9"/>
                  <a:gd name="T26" fmla="*/ 11 w 30"/>
                  <a:gd name="T27" fmla="*/ 8 h 9"/>
                  <a:gd name="T28" fmla="*/ 16 w 30"/>
                  <a:gd name="T29" fmla="*/ 7 h 9"/>
                  <a:gd name="T30" fmla="*/ 16 w 30"/>
                  <a:gd name="T31" fmla="*/ 8 h 9"/>
                  <a:gd name="T32" fmla="*/ 20 w 30"/>
                  <a:gd name="T33" fmla="*/ 9 h 9"/>
                  <a:gd name="T34" fmla="*/ 20 w 30"/>
                  <a:gd name="T35" fmla="*/ 8 h 9"/>
                  <a:gd name="T36" fmla="*/ 22 w 30"/>
                  <a:gd name="T37" fmla="*/ 8 h 9"/>
                  <a:gd name="T38" fmla="*/ 26 w 30"/>
                  <a:gd name="T39" fmla="*/ 7 h 9"/>
                  <a:gd name="T40" fmla="*/ 26 w 30"/>
                  <a:gd name="T41" fmla="*/ 6 h 9"/>
                  <a:gd name="T42" fmla="*/ 27 w 30"/>
                  <a:gd name="T43" fmla="*/ 6 h 9"/>
                  <a:gd name="T44" fmla="*/ 29 w 30"/>
                  <a:gd name="T45" fmla="*/ 5 h 9"/>
                  <a:gd name="T46" fmla="*/ 30 w 30"/>
                  <a:gd name="T47" fmla="*/ 5 h 9"/>
                  <a:gd name="T48" fmla="*/ 30 w 30"/>
                  <a:gd name="T49" fmla="*/ 3 h 9"/>
                  <a:gd name="T50" fmla="*/ 28 w 30"/>
                  <a:gd name="T51" fmla="*/ 3 h 9"/>
                  <a:gd name="T52" fmla="*/ 26 w 30"/>
                  <a:gd name="T53" fmla="*/ 3 h 9"/>
                  <a:gd name="T54" fmla="*/ 24 w 30"/>
                  <a:gd name="T55" fmla="*/ 2 h 9"/>
                  <a:gd name="T56" fmla="*/ 22 w 30"/>
                  <a:gd name="T57" fmla="*/ 2 h 9"/>
                  <a:gd name="T58" fmla="*/ 21 w 30"/>
                  <a:gd name="T59" fmla="*/ 1 h 9"/>
                  <a:gd name="T60" fmla="*/ 20 w 30"/>
                  <a:gd name="T61" fmla="*/ 2 h 9"/>
                  <a:gd name="T62" fmla="*/ 19 w 30"/>
                  <a:gd name="T63" fmla="*/ 2 h 9"/>
                  <a:gd name="T64" fmla="*/ 18 w 30"/>
                  <a:gd name="T65" fmla="*/ 3 h 9"/>
                  <a:gd name="T66" fmla="*/ 17 w 30"/>
                  <a:gd name="T67" fmla="*/ 3 h 9"/>
                  <a:gd name="T68" fmla="*/ 17 w 30"/>
                  <a:gd name="T69" fmla="*/ 2 h 9"/>
                  <a:gd name="T70" fmla="*/ 18 w 30"/>
                  <a:gd name="T71" fmla="*/ 2 h 9"/>
                  <a:gd name="T72" fmla="*/ 17 w 30"/>
                  <a:gd name="T73" fmla="*/ 1 h 9"/>
                  <a:gd name="T74" fmla="*/ 17 w 30"/>
                  <a:gd name="T75" fmla="*/ 1 h 9"/>
                  <a:gd name="T76" fmla="*/ 16 w 30"/>
                  <a:gd name="T77" fmla="*/ 1 h 9"/>
                  <a:gd name="T78" fmla="*/ 15 w 30"/>
                  <a:gd name="T79" fmla="*/ 1 h 9"/>
                  <a:gd name="T80" fmla="*/ 15 w 30"/>
                  <a:gd name="T81" fmla="*/ 2 h 9"/>
                  <a:gd name="T82" fmla="*/ 15 w 30"/>
                  <a:gd name="T83" fmla="*/ 2 h 9"/>
                  <a:gd name="T84" fmla="*/ 15 w 30"/>
                  <a:gd name="T85" fmla="*/ 4 h 9"/>
                  <a:gd name="T86" fmla="*/ 15 w 30"/>
                  <a:gd name="T87" fmla="*/ 4 h 9"/>
                  <a:gd name="T88" fmla="*/ 13 w 30"/>
                  <a:gd name="T89" fmla="*/ 3 h 9"/>
                  <a:gd name="T90" fmla="*/ 13 w 30"/>
                  <a:gd name="T91" fmla="*/ 3 h 9"/>
                  <a:gd name="T92" fmla="*/ 13 w 30"/>
                  <a:gd name="T93" fmla="*/ 2 h 9"/>
                  <a:gd name="T94" fmla="*/ 11 w 30"/>
                  <a:gd name="T95" fmla="*/ 2 h 9"/>
                  <a:gd name="T96" fmla="*/ 10 w 30"/>
                  <a:gd name="T97" fmla="*/ 2 h 9"/>
                  <a:gd name="T98" fmla="*/ 9 w 30"/>
                  <a:gd name="T99" fmla="*/ 2 h 9"/>
                  <a:gd name="T100" fmla="*/ 8 w 30"/>
                  <a:gd name="T101" fmla="*/ 1 h 9"/>
                  <a:gd name="T102" fmla="*/ 8 w 30"/>
                  <a:gd name="T103" fmla="*/ 1 h 9"/>
                  <a:gd name="T104" fmla="*/ 6 w 30"/>
                  <a:gd name="T105" fmla="*/ 0 h 9"/>
                  <a:gd name="T106" fmla="*/ 5 w 30"/>
                  <a:gd name="T107" fmla="*/ 1 h 9"/>
                  <a:gd name="T108" fmla="*/ 6 w 30"/>
                  <a:gd name="T109" fmla="*/ 2 h 9"/>
                  <a:gd name="T110" fmla="*/ 5 w 30"/>
                  <a:gd name="T111" fmla="*/ 2 h 9"/>
                  <a:gd name="T112" fmla="*/ 4 w 30"/>
                  <a:gd name="T113" fmla="*/ 1 h 9"/>
                  <a:gd name="T114" fmla="*/ 4 w 30"/>
                  <a:gd name="T115" fmla="*/ 2 h 9"/>
                  <a:gd name="T116" fmla="*/ 5 w 30"/>
                  <a:gd name="T117" fmla="*/ 3 h 9"/>
                  <a:gd name="T118" fmla="*/ 5 w 30"/>
                  <a:gd name="T119" fmla="*/ 3 h 9"/>
                  <a:gd name="T120" fmla="*/ 3 w 30"/>
                  <a:gd name="T121" fmla="*/ 3 h 9"/>
                  <a:gd name="T122" fmla="*/ 2 w 30"/>
                  <a:gd name="T123" fmla="*/ 3 h 9"/>
                  <a:gd name="T124" fmla="*/ 1 w 30"/>
                  <a:gd name="T12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" h="9">
                    <a:moveTo>
                      <a:pt x="3" y="3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4" y="6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5"/>
                      <a:pt x="8" y="5"/>
                      <a:pt x="9" y="5"/>
                    </a:cubicBezTo>
                    <a:cubicBezTo>
                      <a:pt x="10" y="5"/>
                      <a:pt x="11" y="5"/>
                      <a:pt x="11" y="5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2" y="5"/>
                      <a:pt x="12" y="5"/>
                      <a:pt x="13" y="5"/>
                    </a:cubicBezTo>
                    <a:cubicBezTo>
                      <a:pt x="13" y="5"/>
                      <a:pt x="14" y="5"/>
                      <a:pt x="14" y="5"/>
                    </a:cubicBezTo>
                    <a:cubicBezTo>
                      <a:pt x="14" y="5"/>
                      <a:pt x="13" y="6"/>
                      <a:pt x="13" y="5"/>
                    </a:cubicBezTo>
                    <a:cubicBezTo>
                      <a:pt x="12" y="5"/>
                      <a:pt x="11" y="6"/>
                      <a:pt x="11" y="6"/>
                    </a:cubicBezTo>
                    <a:cubicBezTo>
                      <a:pt x="11" y="6"/>
                      <a:pt x="11" y="6"/>
                      <a:pt x="10" y="6"/>
                    </a:cubicBezTo>
                    <a:cubicBezTo>
                      <a:pt x="9" y="6"/>
                      <a:pt x="10" y="6"/>
                      <a:pt x="10" y="6"/>
                    </a:cubicBezTo>
                    <a:cubicBezTo>
                      <a:pt x="10" y="6"/>
                      <a:pt x="11" y="7"/>
                      <a:pt x="10" y="7"/>
                    </a:cubicBezTo>
                    <a:cubicBezTo>
                      <a:pt x="9" y="6"/>
                      <a:pt x="9" y="7"/>
                      <a:pt x="8" y="6"/>
                    </a:cubicBezTo>
                    <a:cubicBezTo>
                      <a:pt x="6" y="6"/>
                      <a:pt x="7" y="6"/>
                      <a:pt x="6" y="6"/>
                    </a:cubicBezTo>
                    <a:cubicBezTo>
                      <a:pt x="5" y="6"/>
                      <a:pt x="6" y="6"/>
                      <a:pt x="6" y="7"/>
                    </a:cubicBezTo>
                    <a:cubicBezTo>
                      <a:pt x="6" y="7"/>
                      <a:pt x="6" y="7"/>
                      <a:pt x="8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7"/>
                      <a:pt x="9" y="7"/>
                      <a:pt x="10" y="8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2" y="8"/>
                      <a:pt x="14" y="7"/>
                      <a:pt x="16" y="7"/>
                    </a:cubicBezTo>
                    <a:cubicBezTo>
                      <a:pt x="18" y="8"/>
                      <a:pt x="16" y="8"/>
                      <a:pt x="16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9"/>
                      <a:pt x="17" y="9"/>
                      <a:pt x="17" y="9"/>
                    </a:cubicBezTo>
                    <a:cubicBezTo>
                      <a:pt x="18" y="9"/>
                      <a:pt x="19" y="9"/>
                      <a:pt x="20" y="9"/>
                    </a:cubicBezTo>
                    <a:cubicBezTo>
                      <a:pt x="21" y="9"/>
                      <a:pt x="20" y="9"/>
                      <a:pt x="20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1" y="8"/>
                      <a:pt x="22" y="8"/>
                      <a:pt x="22" y="8"/>
                    </a:cubicBezTo>
                    <a:cubicBezTo>
                      <a:pt x="22" y="8"/>
                      <a:pt x="22" y="8"/>
                      <a:pt x="22" y="8"/>
                    </a:cubicBezTo>
                    <a:cubicBezTo>
                      <a:pt x="23" y="8"/>
                      <a:pt x="23" y="8"/>
                      <a:pt x="24" y="8"/>
                    </a:cubicBezTo>
                    <a:cubicBezTo>
                      <a:pt x="24" y="8"/>
                      <a:pt x="25" y="8"/>
                      <a:pt x="26" y="7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26" y="7"/>
                      <a:pt x="26" y="6"/>
                      <a:pt x="26" y="6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8" y="5"/>
                      <a:pt x="28" y="5"/>
                      <a:pt x="29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0" y="5"/>
                      <a:pt x="30" y="4"/>
                      <a:pt x="30" y="4"/>
                    </a:cubicBezTo>
                    <a:cubicBezTo>
                      <a:pt x="30" y="4"/>
                      <a:pt x="30" y="3"/>
                      <a:pt x="30" y="3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9" y="3"/>
                      <a:pt x="29" y="3"/>
                      <a:pt x="28" y="3"/>
                    </a:cubicBezTo>
                    <a:cubicBezTo>
                      <a:pt x="27" y="3"/>
                      <a:pt x="26" y="3"/>
                      <a:pt x="26" y="3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5" y="2"/>
                      <a:pt x="24" y="2"/>
                      <a:pt x="24" y="2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2"/>
                      <a:pt x="23" y="2"/>
                      <a:pt x="22" y="2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1"/>
                      <a:pt x="21" y="1"/>
                      <a:pt x="21" y="1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21" y="1"/>
                      <a:pt x="20" y="2"/>
                      <a:pt x="20" y="2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9" y="3"/>
                      <a:pt x="18" y="3"/>
                      <a:pt x="18" y="3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3"/>
                      <a:pt x="18" y="3"/>
                      <a:pt x="17" y="3"/>
                    </a:cubicBezTo>
                    <a:cubicBezTo>
                      <a:pt x="17" y="3"/>
                      <a:pt x="17" y="3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7" y="2"/>
                      <a:pt x="18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2"/>
                      <a:pt x="18" y="1"/>
                      <a:pt x="18" y="1"/>
                    </a:cubicBezTo>
                    <a:cubicBezTo>
                      <a:pt x="18" y="1"/>
                      <a:pt x="18" y="1"/>
                      <a:pt x="17" y="1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7" y="0"/>
                      <a:pt x="16" y="0"/>
                      <a:pt x="16" y="1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6" y="1"/>
                      <a:pt x="16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3"/>
                      <a:pt x="15" y="4"/>
                      <a:pt x="15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5" y="4"/>
                      <a:pt x="14" y="4"/>
                      <a:pt x="14" y="3"/>
                    </a:cubicBezTo>
                    <a:cubicBezTo>
                      <a:pt x="14" y="3"/>
                      <a:pt x="14" y="3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2"/>
                      <a:pt x="13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2"/>
                      <a:pt x="9" y="1"/>
                      <a:pt x="9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7" y="1"/>
                      <a:pt x="7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1"/>
                      <a:pt x="5" y="1"/>
                    </a:cubicBezTo>
                    <a:cubicBezTo>
                      <a:pt x="5" y="1"/>
                      <a:pt x="6" y="1"/>
                      <a:pt x="6" y="1"/>
                    </a:cubicBezTo>
                    <a:cubicBezTo>
                      <a:pt x="6" y="1"/>
                      <a:pt x="7" y="2"/>
                      <a:pt x="6" y="2"/>
                    </a:cubicBezTo>
                    <a:cubicBezTo>
                      <a:pt x="6" y="2"/>
                      <a:pt x="6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1"/>
                      <a:pt x="4" y="1"/>
                      <a:pt x="4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5" y="2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0" y="3"/>
                      <a:pt x="0" y="3"/>
                      <a:pt x="1" y="3"/>
                    </a:cubicBezTo>
                    <a:cubicBezTo>
                      <a:pt x="1" y="3"/>
                      <a:pt x="2" y="3"/>
                      <a:pt x="3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61" name="Freeform 196">
                <a:extLst>
                  <a:ext uri="{FF2B5EF4-FFF2-40B4-BE49-F238E27FC236}">
                    <a16:creationId xmlns:a16="http://schemas.microsoft.com/office/drawing/2014/main" id="{7906895F-A3D5-479C-8E49-764DA8420E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1713"/>
                <a:ext cx="17" cy="5"/>
              </a:xfrm>
              <a:custGeom>
                <a:avLst/>
                <a:gdLst>
                  <a:gd name="T0" fmla="*/ 2 w 7"/>
                  <a:gd name="T1" fmla="*/ 2 h 2"/>
                  <a:gd name="T2" fmla="*/ 3 w 7"/>
                  <a:gd name="T3" fmla="*/ 2 h 2"/>
                  <a:gd name="T4" fmla="*/ 5 w 7"/>
                  <a:gd name="T5" fmla="*/ 2 h 2"/>
                  <a:gd name="T6" fmla="*/ 6 w 7"/>
                  <a:gd name="T7" fmla="*/ 2 h 2"/>
                  <a:gd name="T8" fmla="*/ 6 w 7"/>
                  <a:gd name="T9" fmla="*/ 1 h 2"/>
                  <a:gd name="T10" fmla="*/ 6 w 7"/>
                  <a:gd name="T11" fmla="*/ 1 h 2"/>
                  <a:gd name="T12" fmla="*/ 5 w 7"/>
                  <a:gd name="T13" fmla="*/ 0 h 2"/>
                  <a:gd name="T14" fmla="*/ 5 w 7"/>
                  <a:gd name="T15" fmla="*/ 0 h 2"/>
                  <a:gd name="T16" fmla="*/ 4 w 7"/>
                  <a:gd name="T17" fmla="*/ 0 h 2"/>
                  <a:gd name="T18" fmla="*/ 3 w 7"/>
                  <a:gd name="T19" fmla="*/ 0 h 2"/>
                  <a:gd name="T20" fmla="*/ 2 w 7"/>
                  <a:gd name="T21" fmla="*/ 0 h 2"/>
                  <a:gd name="T22" fmla="*/ 1 w 7"/>
                  <a:gd name="T23" fmla="*/ 0 h 2"/>
                  <a:gd name="T24" fmla="*/ 0 w 7"/>
                  <a:gd name="T25" fmla="*/ 1 h 2"/>
                  <a:gd name="T26" fmla="*/ 1 w 7"/>
                  <a:gd name="T27" fmla="*/ 1 h 2"/>
                  <a:gd name="T28" fmla="*/ 1 w 7"/>
                  <a:gd name="T29" fmla="*/ 2 h 2"/>
                  <a:gd name="T30" fmla="*/ 2 w 7"/>
                  <a:gd name="T3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" h="2">
                    <a:moveTo>
                      <a:pt x="2" y="2"/>
                    </a:moveTo>
                    <a:cubicBezTo>
                      <a:pt x="2" y="2"/>
                      <a:pt x="3" y="2"/>
                      <a:pt x="3" y="2"/>
                    </a:cubicBezTo>
                    <a:cubicBezTo>
                      <a:pt x="4" y="2"/>
                      <a:pt x="5" y="2"/>
                      <a:pt x="5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2" y="1"/>
                      <a:pt x="2" y="2"/>
                      <a:pt x="1" y="2"/>
                    </a:cubicBezTo>
                    <a:cubicBezTo>
                      <a:pt x="1" y="2"/>
                      <a:pt x="1" y="2"/>
                      <a:pt x="2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62" name="Freeform 197">
                <a:extLst>
                  <a:ext uri="{FF2B5EF4-FFF2-40B4-BE49-F238E27FC236}">
                    <a16:creationId xmlns:a16="http://schemas.microsoft.com/office/drawing/2014/main" id="{12E1E9C6-A3C2-49EE-9C19-52E052F9DF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5" y="1718"/>
                <a:ext cx="33" cy="17"/>
              </a:xfrm>
              <a:custGeom>
                <a:avLst/>
                <a:gdLst>
                  <a:gd name="T0" fmla="*/ 10 w 14"/>
                  <a:gd name="T1" fmla="*/ 5 h 7"/>
                  <a:gd name="T2" fmla="*/ 11 w 14"/>
                  <a:gd name="T3" fmla="*/ 4 h 7"/>
                  <a:gd name="T4" fmla="*/ 12 w 14"/>
                  <a:gd name="T5" fmla="*/ 4 h 7"/>
                  <a:gd name="T6" fmla="*/ 13 w 14"/>
                  <a:gd name="T7" fmla="*/ 3 h 7"/>
                  <a:gd name="T8" fmla="*/ 13 w 14"/>
                  <a:gd name="T9" fmla="*/ 3 h 7"/>
                  <a:gd name="T10" fmla="*/ 12 w 14"/>
                  <a:gd name="T11" fmla="*/ 3 h 7"/>
                  <a:gd name="T12" fmla="*/ 11 w 14"/>
                  <a:gd name="T13" fmla="*/ 3 h 7"/>
                  <a:gd name="T14" fmla="*/ 10 w 14"/>
                  <a:gd name="T15" fmla="*/ 3 h 7"/>
                  <a:gd name="T16" fmla="*/ 9 w 14"/>
                  <a:gd name="T17" fmla="*/ 2 h 7"/>
                  <a:gd name="T18" fmla="*/ 8 w 14"/>
                  <a:gd name="T19" fmla="*/ 2 h 7"/>
                  <a:gd name="T20" fmla="*/ 8 w 14"/>
                  <a:gd name="T21" fmla="*/ 1 h 7"/>
                  <a:gd name="T22" fmla="*/ 9 w 14"/>
                  <a:gd name="T23" fmla="*/ 1 h 7"/>
                  <a:gd name="T24" fmla="*/ 9 w 14"/>
                  <a:gd name="T25" fmla="*/ 1 h 7"/>
                  <a:gd name="T26" fmla="*/ 9 w 14"/>
                  <a:gd name="T27" fmla="*/ 1 h 7"/>
                  <a:gd name="T28" fmla="*/ 9 w 14"/>
                  <a:gd name="T29" fmla="*/ 0 h 7"/>
                  <a:gd name="T30" fmla="*/ 8 w 14"/>
                  <a:gd name="T31" fmla="*/ 0 h 7"/>
                  <a:gd name="T32" fmla="*/ 7 w 14"/>
                  <a:gd name="T33" fmla="*/ 0 h 7"/>
                  <a:gd name="T34" fmla="*/ 5 w 14"/>
                  <a:gd name="T35" fmla="*/ 1 h 7"/>
                  <a:gd name="T36" fmla="*/ 3 w 14"/>
                  <a:gd name="T37" fmla="*/ 1 h 7"/>
                  <a:gd name="T38" fmla="*/ 2 w 14"/>
                  <a:gd name="T39" fmla="*/ 1 h 7"/>
                  <a:gd name="T40" fmla="*/ 1 w 14"/>
                  <a:gd name="T41" fmla="*/ 1 h 7"/>
                  <a:gd name="T42" fmla="*/ 2 w 14"/>
                  <a:gd name="T43" fmla="*/ 2 h 7"/>
                  <a:gd name="T44" fmla="*/ 3 w 14"/>
                  <a:gd name="T45" fmla="*/ 2 h 7"/>
                  <a:gd name="T46" fmla="*/ 3 w 14"/>
                  <a:gd name="T47" fmla="*/ 3 h 7"/>
                  <a:gd name="T48" fmla="*/ 2 w 14"/>
                  <a:gd name="T49" fmla="*/ 4 h 7"/>
                  <a:gd name="T50" fmla="*/ 2 w 14"/>
                  <a:gd name="T51" fmla="*/ 4 h 7"/>
                  <a:gd name="T52" fmla="*/ 1 w 14"/>
                  <a:gd name="T53" fmla="*/ 5 h 7"/>
                  <a:gd name="T54" fmla="*/ 1 w 14"/>
                  <a:gd name="T55" fmla="*/ 5 h 7"/>
                  <a:gd name="T56" fmla="*/ 3 w 14"/>
                  <a:gd name="T57" fmla="*/ 5 h 7"/>
                  <a:gd name="T58" fmla="*/ 4 w 14"/>
                  <a:gd name="T59" fmla="*/ 5 h 7"/>
                  <a:gd name="T60" fmla="*/ 5 w 14"/>
                  <a:gd name="T61" fmla="*/ 5 h 7"/>
                  <a:gd name="T62" fmla="*/ 7 w 14"/>
                  <a:gd name="T63" fmla="*/ 4 h 7"/>
                  <a:gd name="T64" fmla="*/ 7 w 14"/>
                  <a:gd name="T65" fmla="*/ 4 h 7"/>
                  <a:gd name="T66" fmla="*/ 6 w 14"/>
                  <a:gd name="T67" fmla="*/ 5 h 7"/>
                  <a:gd name="T68" fmla="*/ 6 w 14"/>
                  <a:gd name="T69" fmla="*/ 6 h 7"/>
                  <a:gd name="T70" fmla="*/ 6 w 14"/>
                  <a:gd name="T71" fmla="*/ 6 h 7"/>
                  <a:gd name="T72" fmla="*/ 6 w 14"/>
                  <a:gd name="T73" fmla="*/ 7 h 7"/>
                  <a:gd name="T74" fmla="*/ 7 w 14"/>
                  <a:gd name="T75" fmla="*/ 7 h 7"/>
                  <a:gd name="T76" fmla="*/ 8 w 14"/>
                  <a:gd name="T77" fmla="*/ 6 h 7"/>
                  <a:gd name="T78" fmla="*/ 8 w 14"/>
                  <a:gd name="T79" fmla="*/ 6 h 7"/>
                  <a:gd name="T80" fmla="*/ 9 w 14"/>
                  <a:gd name="T81" fmla="*/ 6 h 7"/>
                  <a:gd name="T82" fmla="*/ 9 w 14"/>
                  <a:gd name="T83" fmla="*/ 6 h 7"/>
                  <a:gd name="T84" fmla="*/ 10 w 14"/>
                  <a:gd name="T85" fmla="*/ 5 h 7"/>
                  <a:gd name="T86" fmla="*/ 10 w 14"/>
                  <a:gd name="T87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" h="7">
                    <a:moveTo>
                      <a:pt x="10" y="5"/>
                    </a:moveTo>
                    <a:cubicBezTo>
                      <a:pt x="10" y="5"/>
                      <a:pt x="11" y="4"/>
                      <a:pt x="11" y="4"/>
                    </a:cubicBezTo>
                    <a:cubicBezTo>
                      <a:pt x="11" y="4"/>
                      <a:pt x="12" y="4"/>
                      <a:pt x="12" y="4"/>
                    </a:cubicBezTo>
                    <a:cubicBezTo>
                      <a:pt x="12" y="4"/>
                      <a:pt x="13" y="4"/>
                      <a:pt x="13" y="3"/>
                    </a:cubicBezTo>
                    <a:cubicBezTo>
                      <a:pt x="14" y="3"/>
                      <a:pt x="13" y="3"/>
                      <a:pt x="13" y="3"/>
                    </a:cubicBezTo>
                    <a:cubicBezTo>
                      <a:pt x="13" y="3"/>
                      <a:pt x="13" y="3"/>
                      <a:pt x="12" y="3"/>
                    </a:cubicBezTo>
                    <a:cubicBezTo>
                      <a:pt x="12" y="2"/>
                      <a:pt x="12" y="3"/>
                      <a:pt x="11" y="3"/>
                    </a:cubicBezTo>
                    <a:cubicBezTo>
                      <a:pt x="11" y="3"/>
                      <a:pt x="11" y="3"/>
                      <a:pt x="10" y="3"/>
                    </a:cubicBezTo>
                    <a:cubicBezTo>
                      <a:pt x="9" y="2"/>
                      <a:pt x="10" y="2"/>
                      <a:pt x="9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0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6" y="1"/>
                      <a:pt x="5" y="1"/>
                      <a:pt x="5" y="1"/>
                    </a:cubicBezTo>
                    <a:cubicBezTo>
                      <a:pt x="5" y="1"/>
                      <a:pt x="4" y="1"/>
                      <a:pt x="3" y="1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1"/>
                      <a:pt x="1" y="1"/>
                      <a:pt x="2" y="2"/>
                    </a:cubicBezTo>
                    <a:cubicBezTo>
                      <a:pt x="2" y="2"/>
                      <a:pt x="2" y="2"/>
                      <a:pt x="3" y="2"/>
                    </a:cubicBezTo>
                    <a:cubicBezTo>
                      <a:pt x="4" y="3"/>
                      <a:pt x="3" y="2"/>
                      <a:pt x="3" y="3"/>
                    </a:cubicBezTo>
                    <a:cubicBezTo>
                      <a:pt x="2" y="4"/>
                      <a:pt x="3" y="3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1" y="4"/>
                      <a:pt x="1" y="5"/>
                    </a:cubicBezTo>
                    <a:cubicBezTo>
                      <a:pt x="0" y="5"/>
                      <a:pt x="1" y="5"/>
                      <a:pt x="1" y="5"/>
                    </a:cubicBezTo>
                    <a:cubicBezTo>
                      <a:pt x="1" y="6"/>
                      <a:pt x="2" y="5"/>
                      <a:pt x="3" y="5"/>
                    </a:cubicBezTo>
                    <a:cubicBezTo>
                      <a:pt x="3" y="5"/>
                      <a:pt x="4" y="5"/>
                      <a:pt x="4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5"/>
                      <a:pt x="6" y="5"/>
                      <a:pt x="6" y="5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5" y="6"/>
                      <a:pt x="6" y="6"/>
                      <a:pt x="6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6"/>
                      <a:pt x="7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9" y="6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63" name="Freeform 198">
                <a:extLst>
                  <a:ext uri="{FF2B5EF4-FFF2-40B4-BE49-F238E27FC236}">
                    <a16:creationId xmlns:a16="http://schemas.microsoft.com/office/drawing/2014/main" id="{1AADA2BC-5BAE-4B9B-BFC3-18F6882A47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9" y="1689"/>
                <a:ext cx="83" cy="57"/>
              </a:xfrm>
              <a:custGeom>
                <a:avLst/>
                <a:gdLst>
                  <a:gd name="T0" fmla="*/ 3 w 35"/>
                  <a:gd name="T1" fmla="*/ 5 h 24"/>
                  <a:gd name="T2" fmla="*/ 5 w 35"/>
                  <a:gd name="T3" fmla="*/ 7 h 24"/>
                  <a:gd name="T4" fmla="*/ 3 w 35"/>
                  <a:gd name="T5" fmla="*/ 7 h 24"/>
                  <a:gd name="T6" fmla="*/ 6 w 35"/>
                  <a:gd name="T7" fmla="*/ 10 h 24"/>
                  <a:gd name="T8" fmla="*/ 7 w 35"/>
                  <a:gd name="T9" fmla="*/ 11 h 24"/>
                  <a:gd name="T10" fmla="*/ 10 w 35"/>
                  <a:gd name="T11" fmla="*/ 12 h 24"/>
                  <a:gd name="T12" fmla="*/ 12 w 35"/>
                  <a:gd name="T13" fmla="*/ 12 h 24"/>
                  <a:gd name="T14" fmla="*/ 13 w 35"/>
                  <a:gd name="T15" fmla="*/ 11 h 24"/>
                  <a:gd name="T16" fmla="*/ 13 w 35"/>
                  <a:gd name="T17" fmla="*/ 9 h 24"/>
                  <a:gd name="T18" fmla="*/ 14 w 35"/>
                  <a:gd name="T19" fmla="*/ 8 h 24"/>
                  <a:gd name="T20" fmla="*/ 15 w 35"/>
                  <a:gd name="T21" fmla="*/ 10 h 24"/>
                  <a:gd name="T22" fmla="*/ 19 w 35"/>
                  <a:gd name="T23" fmla="*/ 10 h 24"/>
                  <a:gd name="T24" fmla="*/ 17 w 35"/>
                  <a:gd name="T25" fmla="*/ 12 h 24"/>
                  <a:gd name="T26" fmla="*/ 14 w 35"/>
                  <a:gd name="T27" fmla="*/ 13 h 24"/>
                  <a:gd name="T28" fmla="*/ 11 w 35"/>
                  <a:gd name="T29" fmla="*/ 14 h 24"/>
                  <a:gd name="T30" fmla="*/ 10 w 35"/>
                  <a:gd name="T31" fmla="*/ 15 h 24"/>
                  <a:gd name="T32" fmla="*/ 15 w 35"/>
                  <a:gd name="T33" fmla="*/ 15 h 24"/>
                  <a:gd name="T34" fmla="*/ 20 w 35"/>
                  <a:gd name="T35" fmla="*/ 15 h 24"/>
                  <a:gd name="T36" fmla="*/ 14 w 35"/>
                  <a:gd name="T37" fmla="*/ 17 h 24"/>
                  <a:gd name="T38" fmla="*/ 12 w 35"/>
                  <a:gd name="T39" fmla="*/ 19 h 24"/>
                  <a:gd name="T40" fmla="*/ 19 w 35"/>
                  <a:gd name="T41" fmla="*/ 23 h 24"/>
                  <a:gd name="T42" fmla="*/ 21 w 35"/>
                  <a:gd name="T43" fmla="*/ 21 h 24"/>
                  <a:gd name="T44" fmla="*/ 23 w 35"/>
                  <a:gd name="T45" fmla="*/ 18 h 24"/>
                  <a:gd name="T46" fmla="*/ 25 w 35"/>
                  <a:gd name="T47" fmla="*/ 15 h 24"/>
                  <a:gd name="T48" fmla="*/ 25 w 35"/>
                  <a:gd name="T49" fmla="*/ 13 h 24"/>
                  <a:gd name="T50" fmla="*/ 27 w 35"/>
                  <a:gd name="T51" fmla="*/ 12 h 24"/>
                  <a:gd name="T52" fmla="*/ 28 w 35"/>
                  <a:gd name="T53" fmla="*/ 11 h 24"/>
                  <a:gd name="T54" fmla="*/ 30 w 35"/>
                  <a:gd name="T55" fmla="*/ 10 h 24"/>
                  <a:gd name="T56" fmla="*/ 33 w 35"/>
                  <a:gd name="T57" fmla="*/ 9 h 24"/>
                  <a:gd name="T58" fmla="*/ 35 w 35"/>
                  <a:gd name="T59" fmla="*/ 8 h 24"/>
                  <a:gd name="T60" fmla="*/ 30 w 35"/>
                  <a:gd name="T61" fmla="*/ 7 h 24"/>
                  <a:gd name="T62" fmla="*/ 29 w 35"/>
                  <a:gd name="T63" fmla="*/ 6 h 24"/>
                  <a:gd name="T64" fmla="*/ 26 w 35"/>
                  <a:gd name="T65" fmla="*/ 6 h 24"/>
                  <a:gd name="T66" fmla="*/ 27 w 35"/>
                  <a:gd name="T67" fmla="*/ 4 h 24"/>
                  <a:gd name="T68" fmla="*/ 24 w 35"/>
                  <a:gd name="T69" fmla="*/ 4 h 24"/>
                  <a:gd name="T70" fmla="*/ 23 w 35"/>
                  <a:gd name="T71" fmla="*/ 4 h 24"/>
                  <a:gd name="T72" fmla="*/ 22 w 35"/>
                  <a:gd name="T73" fmla="*/ 2 h 24"/>
                  <a:gd name="T74" fmla="*/ 19 w 35"/>
                  <a:gd name="T75" fmla="*/ 0 h 24"/>
                  <a:gd name="T76" fmla="*/ 18 w 35"/>
                  <a:gd name="T77" fmla="*/ 1 h 24"/>
                  <a:gd name="T78" fmla="*/ 17 w 35"/>
                  <a:gd name="T79" fmla="*/ 5 h 24"/>
                  <a:gd name="T80" fmla="*/ 18 w 35"/>
                  <a:gd name="T81" fmla="*/ 8 h 24"/>
                  <a:gd name="T82" fmla="*/ 15 w 35"/>
                  <a:gd name="T83" fmla="*/ 4 h 24"/>
                  <a:gd name="T84" fmla="*/ 12 w 35"/>
                  <a:gd name="T85" fmla="*/ 3 h 24"/>
                  <a:gd name="T86" fmla="*/ 11 w 35"/>
                  <a:gd name="T87" fmla="*/ 5 h 24"/>
                  <a:gd name="T88" fmla="*/ 8 w 35"/>
                  <a:gd name="T89" fmla="*/ 3 h 24"/>
                  <a:gd name="T90" fmla="*/ 10 w 35"/>
                  <a:gd name="T91" fmla="*/ 2 h 24"/>
                  <a:gd name="T92" fmla="*/ 6 w 35"/>
                  <a:gd name="T93" fmla="*/ 3 h 24"/>
                  <a:gd name="T94" fmla="*/ 3 w 35"/>
                  <a:gd name="T95" fmla="*/ 2 h 24"/>
                  <a:gd name="T96" fmla="*/ 1 w 35"/>
                  <a:gd name="T97" fmla="*/ 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" h="24">
                    <a:moveTo>
                      <a:pt x="2" y="6"/>
                    </a:moveTo>
                    <a:cubicBezTo>
                      <a:pt x="3" y="7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5" y="6"/>
                    </a:cubicBezTo>
                    <a:cubicBezTo>
                      <a:pt x="5" y="6"/>
                      <a:pt x="5" y="6"/>
                      <a:pt x="5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5" y="7"/>
                      <a:pt x="6" y="7"/>
                      <a:pt x="6" y="7"/>
                    </a:cubicBezTo>
                    <a:cubicBezTo>
                      <a:pt x="7" y="7"/>
                      <a:pt x="6" y="8"/>
                      <a:pt x="6" y="8"/>
                    </a:cubicBezTo>
                    <a:cubicBezTo>
                      <a:pt x="6" y="8"/>
                      <a:pt x="5" y="8"/>
                      <a:pt x="5" y="8"/>
                    </a:cubicBezTo>
                    <a:cubicBezTo>
                      <a:pt x="4" y="8"/>
                      <a:pt x="4" y="7"/>
                      <a:pt x="3" y="7"/>
                    </a:cubicBezTo>
                    <a:cubicBezTo>
                      <a:pt x="3" y="7"/>
                      <a:pt x="3" y="8"/>
                      <a:pt x="4" y="8"/>
                    </a:cubicBezTo>
                    <a:cubicBezTo>
                      <a:pt x="4" y="8"/>
                      <a:pt x="4" y="9"/>
                      <a:pt x="4" y="9"/>
                    </a:cubicBezTo>
                    <a:cubicBezTo>
                      <a:pt x="4" y="9"/>
                      <a:pt x="5" y="10"/>
                      <a:pt x="5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10"/>
                      <a:pt x="7" y="10"/>
                      <a:pt x="8" y="10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6" y="11"/>
                      <a:pt x="6" y="11"/>
                      <a:pt x="7" y="11"/>
                    </a:cubicBezTo>
                    <a:cubicBezTo>
                      <a:pt x="7" y="12"/>
                      <a:pt x="8" y="12"/>
                      <a:pt x="8" y="12"/>
                    </a:cubicBezTo>
                    <a:cubicBezTo>
                      <a:pt x="8" y="12"/>
                      <a:pt x="9" y="12"/>
                      <a:pt x="9" y="12"/>
                    </a:cubicBezTo>
                    <a:cubicBezTo>
                      <a:pt x="9" y="12"/>
                      <a:pt x="10" y="12"/>
                      <a:pt x="10" y="12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3" y="11"/>
                      <a:pt x="13" y="11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5" y="10"/>
                      <a:pt x="14" y="10"/>
                      <a:pt x="14" y="9"/>
                    </a:cubicBezTo>
                    <a:cubicBezTo>
                      <a:pt x="14" y="9"/>
                      <a:pt x="14" y="9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6" y="8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6" y="9"/>
                      <a:pt x="15" y="9"/>
                      <a:pt x="15" y="10"/>
                    </a:cubicBezTo>
                    <a:cubicBezTo>
                      <a:pt x="15" y="10"/>
                      <a:pt x="15" y="10"/>
                      <a:pt x="15" y="11"/>
                    </a:cubicBezTo>
                    <a:cubicBezTo>
                      <a:pt x="15" y="11"/>
                      <a:pt x="16" y="11"/>
                      <a:pt x="16" y="11"/>
                    </a:cubicBezTo>
                    <a:cubicBezTo>
                      <a:pt x="17" y="11"/>
                      <a:pt x="17" y="11"/>
                      <a:pt x="18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10"/>
                      <a:pt x="19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12"/>
                      <a:pt x="18" y="12"/>
                      <a:pt x="18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6" y="12"/>
                      <a:pt x="15" y="12"/>
                      <a:pt x="15" y="12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3" y="13"/>
                      <a:pt x="14" y="13"/>
                      <a:pt x="13" y="13"/>
                    </a:cubicBezTo>
                    <a:cubicBezTo>
                      <a:pt x="13" y="13"/>
                      <a:pt x="12" y="13"/>
                      <a:pt x="12" y="13"/>
                    </a:cubicBezTo>
                    <a:cubicBezTo>
                      <a:pt x="12" y="13"/>
                      <a:pt x="12" y="14"/>
                      <a:pt x="12" y="14"/>
                    </a:cubicBezTo>
                    <a:cubicBezTo>
                      <a:pt x="12" y="14"/>
                      <a:pt x="12" y="14"/>
                      <a:pt x="11" y="14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3"/>
                      <a:pt x="10" y="14"/>
                      <a:pt x="10" y="14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5"/>
                      <a:pt x="10" y="15"/>
                      <a:pt x="11" y="15"/>
                    </a:cubicBezTo>
                    <a:cubicBezTo>
                      <a:pt x="11" y="15"/>
                      <a:pt x="12" y="15"/>
                      <a:pt x="12" y="15"/>
                    </a:cubicBezTo>
                    <a:cubicBezTo>
                      <a:pt x="12" y="15"/>
                      <a:pt x="13" y="15"/>
                      <a:pt x="13" y="15"/>
                    </a:cubicBezTo>
                    <a:cubicBezTo>
                      <a:pt x="14" y="15"/>
                      <a:pt x="14" y="15"/>
                      <a:pt x="15" y="15"/>
                    </a:cubicBezTo>
                    <a:cubicBezTo>
                      <a:pt x="15" y="15"/>
                      <a:pt x="16" y="15"/>
                      <a:pt x="16" y="14"/>
                    </a:cubicBezTo>
                    <a:cubicBezTo>
                      <a:pt x="17" y="14"/>
                      <a:pt x="17" y="15"/>
                      <a:pt x="18" y="15"/>
                    </a:cubicBezTo>
                    <a:cubicBezTo>
                      <a:pt x="19" y="15"/>
                      <a:pt x="20" y="14"/>
                      <a:pt x="20" y="14"/>
                    </a:cubicBezTo>
                    <a:cubicBezTo>
                      <a:pt x="21" y="14"/>
                      <a:pt x="21" y="15"/>
                      <a:pt x="20" y="15"/>
                    </a:cubicBezTo>
                    <a:cubicBezTo>
                      <a:pt x="20" y="15"/>
                      <a:pt x="19" y="15"/>
                      <a:pt x="19" y="15"/>
                    </a:cubicBezTo>
                    <a:cubicBezTo>
                      <a:pt x="19" y="15"/>
                      <a:pt x="17" y="16"/>
                      <a:pt x="16" y="16"/>
                    </a:cubicBezTo>
                    <a:cubicBezTo>
                      <a:pt x="15" y="16"/>
                      <a:pt x="15" y="16"/>
                      <a:pt x="14" y="16"/>
                    </a:cubicBezTo>
                    <a:cubicBezTo>
                      <a:pt x="14" y="16"/>
                      <a:pt x="14" y="16"/>
                      <a:pt x="14" y="17"/>
                    </a:cubicBezTo>
                    <a:cubicBezTo>
                      <a:pt x="14" y="17"/>
                      <a:pt x="14" y="17"/>
                      <a:pt x="12" y="16"/>
                    </a:cubicBezTo>
                    <a:cubicBezTo>
                      <a:pt x="10" y="15"/>
                      <a:pt x="12" y="16"/>
                      <a:pt x="11" y="17"/>
                    </a:cubicBezTo>
                    <a:cubicBezTo>
                      <a:pt x="10" y="17"/>
                      <a:pt x="11" y="17"/>
                      <a:pt x="12" y="18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3" y="19"/>
                      <a:pt x="13" y="19"/>
                      <a:pt x="14" y="19"/>
                    </a:cubicBezTo>
                    <a:cubicBezTo>
                      <a:pt x="15" y="19"/>
                      <a:pt x="15" y="20"/>
                      <a:pt x="16" y="20"/>
                    </a:cubicBezTo>
                    <a:cubicBezTo>
                      <a:pt x="17" y="21"/>
                      <a:pt x="17" y="21"/>
                      <a:pt x="18" y="22"/>
                    </a:cubicBezTo>
                    <a:cubicBezTo>
                      <a:pt x="19" y="22"/>
                      <a:pt x="18" y="22"/>
                      <a:pt x="19" y="23"/>
                    </a:cubicBezTo>
                    <a:cubicBezTo>
                      <a:pt x="20" y="24"/>
                      <a:pt x="20" y="23"/>
                      <a:pt x="21" y="22"/>
                    </a:cubicBezTo>
                    <a:cubicBezTo>
                      <a:pt x="22" y="22"/>
                      <a:pt x="21" y="22"/>
                      <a:pt x="21" y="22"/>
                    </a:cubicBezTo>
                    <a:cubicBezTo>
                      <a:pt x="21" y="22"/>
                      <a:pt x="20" y="21"/>
                      <a:pt x="21" y="21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1" y="21"/>
                      <a:pt x="21" y="21"/>
                      <a:pt x="21" y="20"/>
                    </a:cubicBezTo>
                    <a:cubicBezTo>
                      <a:pt x="21" y="19"/>
                      <a:pt x="21" y="20"/>
                      <a:pt x="22" y="20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2" y="18"/>
                      <a:pt x="22" y="18"/>
                      <a:pt x="23" y="18"/>
                    </a:cubicBezTo>
                    <a:cubicBezTo>
                      <a:pt x="23" y="17"/>
                      <a:pt x="23" y="18"/>
                      <a:pt x="23" y="17"/>
                    </a:cubicBezTo>
                    <a:cubicBezTo>
                      <a:pt x="24" y="17"/>
                      <a:pt x="24" y="17"/>
                      <a:pt x="24" y="17"/>
                    </a:cubicBezTo>
                    <a:cubicBezTo>
                      <a:pt x="25" y="17"/>
                      <a:pt x="25" y="17"/>
                      <a:pt x="25" y="16"/>
                    </a:cubicBezTo>
                    <a:cubicBezTo>
                      <a:pt x="25" y="16"/>
                      <a:pt x="25" y="15"/>
                      <a:pt x="25" y="15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25" y="15"/>
                      <a:pt x="25" y="14"/>
                      <a:pt x="25" y="14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5" y="13"/>
                      <a:pt x="26" y="13"/>
                      <a:pt x="26" y="13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7" y="11"/>
                      <a:pt x="27" y="11"/>
                      <a:pt x="27" y="11"/>
                    </a:cubicBezTo>
                    <a:cubicBezTo>
                      <a:pt x="27" y="11"/>
                      <a:pt x="27" y="11"/>
                      <a:pt x="27" y="11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28" y="11"/>
                      <a:pt x="29" y="10"/>
                      <a:pt x="29" y="1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0" y="10"/>
                      <a:pt x="30" y="10"/>
                      <a:pt x="31" y="10"/>
                    </a:cubicBezTo>
                    <a:cubicBezTo>
                      <a:pt x="31" y="10"/>
                      <a:pt x="31" y="9"/>
                      <a:pt x="32" y="9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3" y="9"/>
                      <a:pt x="33" y="9"/>
                      <a:pt x="33" y="9"/>
                    </a:cubicBezTo>
                    <a:cubicBezTo>
                      <a:pt x="34" y="9"/>
                      <a:pt x="34" y="9"/>
                      <a:pt x="34" y="9"/>
                    </a:cubicBezTo>
                    <a:cubicBezTo>
                      <a:pt x="34" y="9"/>
                      <a:pt x="34" y="9"/>
                      <a:pt x="34" y="9"/>
                    </a:cubicBezTo>
                    <a:cubicBezTo>
                      <a:pt x="34" y="9"/>
                      <a:pt x="35" y="9"/>
                      <a:pt x="35" y="9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5" y="8"/>
                      <a:pt x="35" y="8"/>
                      <a:pt x="34" y="8"/>
                    </a:cubicBezTo>
                    <a:cubicBezTo>
                      <a:pt x="33" y="8"/>
                      <a:pt x="33" y="8"/>
                      <a:pt x="32" y="8"/>
                    </a:cubicBezTo>
                    <a:cubicBezTo>
                      <a:pt x="32" y="8"/>
                      <a:pt x="31" y="8"/>
                      <a:pt x="30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9" y="7"/>
                      <a:pt x="29" y="7"/>
                      <a:pt x="29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8" y="6"/>
                      <a:pt x="29" y="6"/>
                      <a:pt x="28" y="6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6" y="6"/>
                      <a:pt x="27" y="6"/>
                      <a:pt x="26" y="6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6" y="6"/>
                      <a:pt x="26" y="5"/>
                      <a:pt x="27" y="5"/>
                    </a:cubicBezTo>
                    <a:cubicBezTo>
                      <a:pt x="27" y="5"/>
                      <a:pt x="27" y="5"/>
                      <a:pt x="27" y="5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5" y="3"/>
                      <a:pt x="25" y="3"/>
                      <a:pt x="24" y="3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4" y="5"/>
                      <a:pt x="24" y="5"/>
                      <a:pt x="23" y="5"/>
                    </a:cubicBezTo>
                    <a:cubicBezTo>
                      <a:pt x="23" y="6"/>
                      <a:pt x="23" y="5"/>
                      <a:pt x="23" y="5"/>
                    </a:cubicBezTo>
                    <a:cubicBezTo>
                      <a:pt x="23" y="5"/>
                      <a:pt x="23" y="4"/>
                      <a:pt x="23" y="4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3" y="4"/>
                      <a:pt x="23" y="3"/>
                      <a:pt x="23" y="3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23" y="3"/>
                      <a:pt x="23" y="2"/>
                      <a:pt x="23" y="2"/>
                    </a:cubicBezTo>
                    <a:cubicBezTo>
                      <a:pt x="23" y="2"/>
                      <a:pt x="22" y="2"/>
                      <a:pt x="22" y="2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1" y="1"/>
                      <a:pt x="20" y="1"/>
                      <a:pt x="20" y="1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19" y="1"/>
                      <a:pt x="19" y="1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8" y="0"/>
                      <a:pt x="18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7" y="1"/>
                      <a:pt x="17" y="1"/>
                      <a:pt x="18" y="1"/>
                    </a:cubicBezTo>
                    <a:cubicBezTo>
                      <a:pt x="19" y="2"/>
                      <a:pt x="18" y="2"/>
                      <a:pt x="17" y="2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6" y="3"/>
                      <a:pt x="16" y="2"/>
                      <a:pt x="17" y="3"/>
                    </a:cubicBezTo>
                    <a:cubicBezTo>
                      <a:pt x="17" y="3"/>
                      <a:pt x="17" y="4"/>
                      <a:pt x="17" y="5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7"/>
                      <a:pt x="19" y="7"/>
                      <a:pt x="19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7"/>
                      <a:pt x="17" y="7"/>
                      <a:pt x="17" y="6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5" y="3"/>
                      <a:pt x="15" y="4"/>
                      <a:pt x="15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2"/>
                      <a:pt x="13" y="2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1" y="3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1" y="4"/>
                      <a:pt x="11" y="5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0" y="4"/>
                      <a:pt x="11" y="5"/>
                      <a:pt x="10" y="5"/>
                    </a:cubicBezTo>
                    <a:cubicBezTo>
                      <a:pt x="9" y="4"/>
                      <a:pt x="9" y="4"/>
                      <a:pt x="8" y="4"/>
                    </a:cubicBezTo>
                    <a:cubicBezTo>
                      <a:pt x="8" y="4"/>
                      <a:pt x="8" y="3"/>
                      <a:pt x="8" y="3"/>
                    </a:cubicBezTo>
                    <a:cubicBezTo>
                      <a:pt x="9" y="3"/>
                      <a:pt x="9" y="3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8" y="2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2"/>
                      <a:pt x="4" y="2"/>
                    </a:cubicBezTo>
                    <a:cubicBezTo>
                      <a:pt x="3" y="3"/>
                      <a:pt x="3" y="2"/>
                      <a:pt x="3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3"/>
                    </a:cubicBezTo>
                    <a:cubicBezTo>
                      <a:pt x="2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4"/>
                      <a:pt x="1" y="4"/>
                    </a:cubicBezTo>
                    <a:cubicBezTo>
                      <a:pt x="1" y="4"/>
                      <a:pt x="1" y="5"/>
                      <a:pt x="2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64" name="Freeform 199">
                <a:extLst>
                  <a:ext uri="{FF2B5EF4-FFF2-40B4-BE49-F238E27FC236}">
                    <a16:creationId xmlns:a16="http://schemas.microsoft.com/office/drawing/2014/main" id="{27072E68-4331-4A9A-A013-76D0B75812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6" y="1706"/>
                <a:ext cx="17" cy="14"/>
              </a:xfrm>
              <a:custGeom>
                <a:avLst/>
                <a:gdLst>
                  <a:gd name="T0" fmla="*/ 2 w 7"/>
                  <a:gd name="T1" fmla="*/ 2 h 6"/>
                  <a:gd name="T2" fmla="*/ 2 w 7"/>
                  <a:gd name="T3" fmla="*/ 3 h 6"/>
                  <a:gd name="T4" fmla="*/ 2 w 7"/>
                  <a:gd name="T5" fmla="*/ 3 h 6"/>
                  <a:gd name="T6" fmla="*/ 3 w 7"/>
                  <a:gd name="T7" fmla="*/ 4 h 6"/>
                  <a:gd name="T8" fmla="*/ 3 w 7"/>
                  <a:gd name="T9" fmla="*/ 4 h 6"/>
                  <a:gd name="T10" fmla="*/ 4 w 7"/>
                  <a:gd name="T11" fmla="*/ 4 h 6"/>
                  <a:gd name="T12" fmla="*/ 5 w 7"/>
                  <a:gd name="T13" fmla="*/ 5 h 6"/>
                  <a:gd name="T14" fmla="*/ 5 w 7"/>
                  <a:gd name="T15" fmla="*/ 5 h 6"/>
                  <a:gd name="T16" fmla="*/ 6 w 7"/>
                  <a:gd name="T17" fmla="*/ 5 h 6"/>
                  <a:gd name="T18" fmla="*/ 6 w 7"/>
                  <a:gd name="T19" fmla="*/ 5 h 6"/>
                  <a:gd name="T20" fmla="*/ 6 w 7"/>
                  <a:gd name="T21" fmla="*/ 5 h 6"/>
                  <a:gd name="T22" fmla="*/ 5 w 7"/>
                  <a:gd name="T23" fmla="*/ 4 h 6"/>
                  <a:gd name="T24" fmla="*/ 4 w 7"/>
                  <a:gd name="T25" fmla="*/ 3 h 6"/>
                  <a:gd name="T26" fmla="*/ 4 w 7"/>
                  <a:gd name="T27" fmla="*/ 3 h 6"/>
                  <a:gd name="T28" fmla="*/ 3 w 7"/>
                  <a:gd name="T29" fmla="*/ 2 h 6"/>
                  <a:gd name="T30" fmla="*/ 3 w 7"/>
                  <a:gd name="T31" fmla="*/ 2 h 6"/>
                  <a:gd name="T32" fmla="*/ 2 w 7"/>
                  <a:gd name="T33" fmla="*/ 1 h 6"/>
                  <a:gd name="T34" fmla="*/ 1 w 7"/>
                  <a:gd name="T35" fmla="*/ 1 h 6"/>
                  <a:gd name="T36" fmla="*/ 0 w 7"/>
                  <a:gd name="T37" fmla="*/ 0 h 6"/>
                  <a:gd name="T38" fmla="*/ 0 w 7"/>
                  <a:gd name="T39" fmla="*/ 2 h 6"/>
                  <a:gd name="T40" fmla="*/ 2 w 7"/>
                  <a:gd name="T41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" h="6">
                    <a:moveTo>
                      <a:pt x="2" y="2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6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5"/>
                      <a:pt x="6" y="5"/>
                      <a:pt x="6" y="5"/>
                    </a:cubicBezTo>
                    <a:cubicBezTo>
                      <a:pt x="6" y="5"/>
                      <a:pt x="5" y="4"/>
                      <a:pt x="5" y="4"/>
                    </a:cubicBezTo>
                    <a:cubicBezTo>
                      <a:pt x="5" y="4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1"/>
                      <a:pt x="2" y="1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2"/>
                    </a:cubicBezTo>
                    <a:cubicBezTo>
                      <a:pt x="1" y="3"/>
                      <a:pt x="1" y="2"/>
                      <a:pt x="2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65" name="Freeform 200">
                <a:extLst>
                  <a:ext uri="{FF2B5EF4-FFF2-40B4-BE49-F238E27FC236}">
                    <a16:creationId xmlns:a16="http://schemas.microsoft.com/office/drawing/2014/main" id="{7F57E4C0-FD9C-446F-98C8-6F4B964492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2401"/>
                <a:ext cx="16" cy="7"/>
              </a:xfrm>
              <a:custGeom>
                <a:avLst/>
                <a:gdLst>
                  <a:gd name="T0" fmla="*/ 5 w 7"/>
                  <a:gd name="T1" fmla="*/ 1 h 3"/>
                  <a:gd name="T2" fmla="*/ 4 w 7"/>
                  <a:gd name="T3" fmla="*/ 0 h 3"/>
                  <a:gd name="T4" fmla="*/ 3 w 7"/>
                  <a:gd name="T5" fmla="*/ 0 h 3"/>
                  <a:gd name="T6" fmla="*/ 3 w 7"/>
                  <a:gd name="T7" fmla="*/ 0 h 3"/>
                  <a:gd name="T8" fmla="*/ 2 w 7"/>
                  <a:gd name="T9" fmla="*/ 0 h 3"/>
                  <a:gd name="T10" fmla="*/ 2 w 7"/>
                  <a:gd name="T11" fmla="*/ 0 h 3"/>
                  <a:gd name="T12" fmla="*/ 1 w 7"/>
                  <a:gd name="T13" fmla="*/ 0 h 3"/>
                  <a:gd name="T14" fmla="*/ 1 w 7"/>
                  <a:gd name="T15" fmla="*/ 0 h 3"/>
                  <a:gd name="T16" fmla="*/ 1 w 7"/>
                  <a:gd name="T17" fmla="*/ 1 h 3"/>
                  <a:gd name="T18" fmla="*/ 0 w 7"/>
                  <a:gd name="T19" fmla="*/ 1 h 3"/>
                  <a:gd name="T20" fmla="*/ 1 w 7"/>
                  <a:gd name="T21" fmla="*/ 1 h 3"/>
                  <a:gd name="T22" fmla="*/ 1 w 7"/>
                  <a:gd name="T23" fmla="*/ 2 h 3"/>
                  <a:gd name="T24" fmla="*/ 2 w 7"/>
                  <a:gd name="T25" fmla="*/ 2 h 3"/>
                  <a:gd name="T26" fmla="*/ 2 w 7"/>
                  <a:gd name="T27" fmla="*/ 3 h 3"/>
                  <a:gd name="T28" fmla="*/ 2 w 7"/>
                  <a:gd name="T29" fmla="*/ 3 h 3"/>
                  <a:gd name="T30" fmla="*/ 4 w 7"/>
                  <a:gd name="T31" fmla="*/ 3 h 3"/>
                  <a:gd name="T32" fmla="*/ 4 w 7"/>
                  <a:gd name="T33" fmla="*/ 3 h 3"/>
                  <a:gd name="T34" fmla="*/ 4 w 7"/>
                  <a:gd name="T35" fmla="*/ 3 h 3"/>
                  <a:gd name="T36" fmla="*/ 4 w 7"/>
                  <a:gd name="T37" fmla="*/ 3 h 3"/>
                  <a:gd name="T38" fmla="*/ 5 w 7"/>
                  <a:gd name="T39" fmla="*/ 3 h 3"/>
                  <a:gd name="T40" fmla="*/ 5 w 7"/>
                  <a:gd name="T41" fmla="*/ 3 h 3"/>
                  <a:gd name="T42" fmla="*/ 5 w 7"/>
                  <a:gd name="T43" fmla="*/ 2 h 3"/>
                  <a:gd name="T44" fmla="*/ 6 w 7"/>
                  <a:gd name="T45" fmla="*/ 2 h 3"/>
                  <a:gd name="T46" fmla="*/ 6 w 7"/>
                  <a:gd name="T47" fmla="*/ 3 h 3"/>
                  <a:gd name="T48" fmla="*/ 7 w 7"/>
                  <a:gd name="T49" fmla="*/ 2 h 3"/>
                  <a:gd name="T50" fmla="*/ 6 w 7"/>
                  <a:gd name="T51" fmla="*/ 1 h 3"/>
                  <a:gd name="T52" fmla="*/ 5 w 7"/>
                  <a:gd name="T53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" h="3">
                    <a:moveTo>
                      <a:pt x="5" y="1"/>
                    </a:moveTo>
                    <a:cubicBezTo>
                      <a:pt x="4" y="0"/>
                      <a:pt x="5" y="0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3"/>
                      <a:pt x="3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6" y="2"/>
                    </a:cubicBezTo>
                    <a:cubicBezTo>
                      <a:pt x="6" y="2"/>
                      <a:pt x="6" y="2"/>
                      <a:pt x="6" y="3"/>
                    </a:cubicBezTo>
                    <a:cubicBezTo>
                      <a:pt x="7" y="3"/>
                      <a:pt x="7" y="2"/>
                      <a:pt x="7" y="2"/>
                    </a:cubicBezTo>
                    <a:cubicBezTo>
                      <a:pt x="7" y="2"/>
                      <a:pt x="6" y="1"/>
                      <a:pt x="6" y="1"/>
                    </a:cubicBezTo>
                    <a:cubicBezTo>
                      <a:pt x="5" y="1"/>
                      <a:pt x="5" y="1"/>
                      <a:pt x="5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66" name="Freeform 201">
                <a:extLst>
                  <a:ext uri="{FF2B5EF4-FFF2-40B4-BE49-F238E27FC236}">
                    <a16:creationId xmlns:a16="http://schemas.microsoft.com/office/drawing/2014/main" id="{1906C83D-27FC-43D0-91FF-82174DA67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4" y="2356"/>
                <a:ext cx="83" cy="33"/>
              </a:xfrm>
              <a:custGeom>
                <a:avLst/>
                <a:gdLst>
                  <a:gd name="T0" fmla="*/ 30 w 35"/>
                  <a:gd name="T1" fmla="*/ 13 h 14"/>
                  <a:gd name="T2" fmla="*/ 32 w 35"/>
                  <a:gd name="T3" fmla="*/ 14 h 14"/>
                  <a:gd name="T4" fmla="*/ 34 w 35"/>
                  <a:gd name="T5" fmla="*/ 13 h 14"/>
                  <a:gd name="T6" fmla="*/ 35 w 35"/>
                  <a:gd name="T7" fmla="*/ 12 h 14"/>
                  <a:gd name="T8" fmla="*/ 34 w 35"/>
                  <a:gd name="T9" fmla="*/ 12 h 14"/>
                  <a:gd name="T10" fmla="*/ 31 w 35"/>
                  <a:gd name="T11" fmla="*/ 10 h 14"/>
                  <a:gd name="T12" fmla="*/ 30 w 35"/>
                  <a:gd name="T13" fmla="*/ 10 h 14"/>
                  <a:gd name="T14" fmla="*/ 29 w 35"/>
                  <a:gd name="T15" fmla="*/ 8 h 14"/>
                  <a:gd name="T16" fmla="*/ 26 w 35"/>
                  <a:gd name="T17" fmla="*/ 7 h 14"/>
                  <a:gd name="T18" fmla="*/ 22 w 35"/>
                  <a:gd name="T19" fmla="*/ 5 h 14"/>
                  <a:gd name="T20" fmla="*/ 19 w 35"/>
                  <a:gd name="T21" fmla="*/ 3 h 14"/>
                  <a:gd name="T22" fmla="*/ 16 w 35"/>
                  <a:gd name="T23" fmla="*/ 2 h 14"/>
                  <a:gd name="T24" fmla="*/ 13 w 35"/>
                  <a:gd name="T25" fmla="*/ 1 h 14"/>
                  <a:gd name="T26" fmla="*/ 12 w 35"/>
                  <a:gd name="T27" fmla="*/ 1 h 14"/>
                  <a:gd name="T28" fmla="*/ 8 w 35"/>
                  <a:gd name="T29" fmla="*/ 1 h 14"/>
                  <a:gd name="T30" fmla="*/ 7 w 35"/>
                  <a:gd name="T31" fmla="*/ 1 h 14"/>
                  <a:gd name="T32" fmla="*/ 5 w 35"/>
                  <a:gd name="T33" fmla="*/ 1 h 14"/>
                  <a:gd name="T34" fmla="*/ 3 w 35"/>
                  <a:gd name="T35" fmla="*/ 3 h 14"/>
                  <a:gd name="T36" fmla="*/ 2 w 35"/>
                  <a:gd name="T37" fmla="*/ 5 h 14"/>
                  <a:gd name="T38" fmla="*/ 1 w 35"/>
                  <a:gd name="T39" fmla="*/ 5 h 14"/>
                  <a:gd name="T40" fmla="*/ 0 w 35"/>
                  <a:gd name="T41" fmla="*/ 6 h 14"/>
                  <a:gd name="T42" fmla="*/ 1 w 35"/>
                  <a:gd name="T43" fmla="*/ 6 h 14"/>
                  <a:gd name="T44" fmla="*/ 2 w 35"/>
                  <a:gd name="T45" fmla="*/ 6 h 14"/>
                  <a:gd name="T46" fmla="*/ 3 w 35"/>
                  <a:gd name="T47" fmla="*/ 5 h 14"/>
                  <a:gd name="T48" fmla="*/ 5 w 35"/>
                  <a:gd name="T49" fmla="*/ 4 h 14"/>
                  <a:gd name="T50" fmla="*/ 6 w 35"/>
                  <a:gd name="T51" fmla="*/ 4 h 14"/>
                  <a:gd name="T52" fmla="*/ 7 w 35"/>
                  <a:gd name="T53" fmla="*/ 3 h 14"/>
                  <a:gd name="T54" fmla="*/ 8 w 35"/>
                  <a:gd name="T55" fmla="*/ 2 h 14"/>
                  <a:gd name="T56" fmla="*/ 11 w 35"/>
                  <a:gd name="T57" fmla="*/ 3 h 14"/>
                  <a:gd name="T58" fmla="*/ 10 w 35"/>
                  <a:gd name="T59" fmla="*/ 3 h 14"/>
                  <a:gd name="T60" fmla="*/ 10 w 35"/>
                  <a:gd name="T61" fmla="*/ 4 h 14"/>
                  <a:gd name="T62" fmla="*/ 11 w 35"/>
                  <a:gd name="T63" fmla="*/ 4 h 14"/>
                  <a:gd name="T64" fmla="*/ 12 w 35"/>
                  <a:gd name="T65" fmla="*/ 5 h 14"/>
                  <a:gd name="T66" fmla="*/ 14 w 35"/>
                  <a:gd name="T67" fmla="*/ 5 h 14"/>
                  <a:gd name="T68" fmla="*/ 16 w 35"/>
                  <a:gd name="T69" fmla="*/ 6 h 14"/>
                  <a:gd name="T70" fmla="*/ 17 w 35"/>
                  <a:gd name="T71" fmla="*/ 6 h 14"/>
                  <a:gd name="T72" fmla="*/ 19 w 35"/>
                  <a:gd name="T73" fmla="*/ 7 h 14"/>
                  <a:gd name="T74" fmla="*/ 21 w 35"/>
                  <a:gd name="T75" fmla="*/ 7 h 14"/>
                  <a:gd name="T76" fmla="*/ 21 w 35"/>
                  <a:gd name="T77" fmla="*/ 9 h 14"/>
                  <a:gd name="T78" fmla="*/ 24 w 35"/>
                  <a:gd name="T79" fmla="*/ 10 h 14"/>
                  <a:gd name="T80" fmla="*/ 25 w 35"/>
                  <a:gd name="T81" fmla="*/ 12 h 14"/>
                  <a:gd name="T82" fmla="*/ 24 w 35"/>
                  <a:gd name="T83" fmla="*/ 13 h 14"/>
                  <a:gd name="T84" fmla="*/ 24 w 35"/>
                  <a:gd name="T85" fmla="*/ 14 h 14"/>
                  <a:gd name="T86" fmla="*/ 25 w 35"/>
                  <a:gd name="T87" fmla="*/ 13 h 14"/>
                  <a:gd name="T88" fmla="*/ 27 w 35"/>
                  <a:gd name="T89" fmla="*/ 13 h 14"/>
                  <a:gd name="T90" fmla="*/ 28 w 35"/>
                  <a:gd name="T91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5" h="14">
                    <a:moveTo>
                      <a:pt x="29" y="13"/>
                    </a:move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3"/>
                      <a:pt x="30" y="13"/>
                      <a:pt x="30" y="13"/>
                    </a:cubicBezTo>
                    <a:cubicBezTo>
                      <a:pt x="30" y="13"/>
                      <a:pt x="30" y="14"/>
                      <a:pt x="30" y="14"/>
                    </a:cubicBezTo>
                    <a:cubicBezTo>
                      <a:pt x="31" y="14"/>
                      <a:pt x="31" y="14"/>
                      <a:pt x="31" y="14"/>
                    </a:cubicBezTo>
                    <a:cubicBezTo>
                      <a:pt x="32" y="14"/>
                      <a:pt x="32" y="14"/>
                      <a:pt x="32" y="14"/>
                    </a:cubicBezTo>
                    <a:cubicBezTo>
                      <a:pt x="32" y="14"/>
                      <a:pt x="32" y="13"/>
                      <a:pt x="32" y="13"/>
                    </a:cubicBezTo>
                    <a:cubicBezTo>
                      <a:pt x="32" y="13"/>
                      <a:pt x="33" y="13"/>
                      <a:pt x="33" y="13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5" y="13"/>
                      <a:pt x="35" y="13"/>
                      <a:pt x="35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2"/>
                      <a:pt x="35" y="12"/>
                      <a:pt x="34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4" y="12"/>
                      <a:pt x="33" y="11"/>
                      <a:pt x="33" y="11"/>
                    </a:cubicBezTo>
                    <a:cubicBezTo>
                      <a:pt x="33" y="11"/>
                      <a:pt x="33" y="11"/>
                      <a:pt x="32" y="11"/>
                    </a:cubicBezTo>
                    <a:cubicBezTo>
                      <a:pt x="32" y="10"/>
                      <a:pt x="32" y="10"/>
                      <a:pt x="31" y="10"/>
                    </a:cubicBezTo>
                    <a:cubicBezTo>
                      <a:pt x="31" y="10"/>
                      <a:pt x="31" y="10"/>
                      <a:pt x="31" y="10"/>
                    </a:cubicBezTo>
                    <a:cubicBezTo>
                      <a:pt x="31" y="10"/>
                      <a:pt x="31" y="10"/>
                      <a:pt x="31" y="10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0" y="10"/>
                      <a:pt x="30" y="9"/>
                      <a:pt x="30" y="9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9" y="9"/>
                      <a:pt x="29" y="9"/>
                      <a:pt x="29" y="8"/>
                    </a:cubicBezTo>
                    <a:cubicBezTo>
                      <a:pt x="28" y="8"/>
                      <a:pt x="28" y="8"/>
                      <a:pt x="27" y="8"/>
                    </a:cubicBezTo>
                    <a:cubicBezTo>
                      <a:pt x="27" y="8"/>
                      <a:pt x="26" y="7"/>
                      <a:pt x="26" y="7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5" y="7"/>
                      <a:pt x="24" y="6"/>
                      <a:pt x="24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3" y="5"/>
                      <a:pt x="23" y="5"/>
                      <a:pt x="22" y="5"/>
                    </a:cubicBezTo>
                    <a:cubicBezTo>
                      <a:pt x="22" y="5"/>
                      <a:pt x="22" y="4"/>
                      <a:pt x="21" y="4"/>
                    </a:cubicBezTo>
                    <a:cubicBezTo>
                      <a:pt x="21" y="4"/>
                      <a:pt x="20" y="4"/>
                      <a:pt x="20" y="4"/>
                    </a:cubicBezTo>
                    <a:cubicBezTo>
                      <a:pt x="20" y="3"/>
                      <a:pt x="19" y="3"/>
                      <a:pt x="19" y="3"/>
                    </a:cubicBezTo>
                    <a:cubicBezTo>
                      <a:pt x="19" y="3"/>
                      <a:pt x="18" y="3"/>
                      <a:pt x="18" y="3"/>
                    </a:cubicBezTo>
                    <a:cubicBezTo>
                      <a:pt x="18" y="3"/>
                      <a:pt x="17" y="3"/>
                      <a:pt x="17" y="2"/>
                    </a:cubicBezTo>
                    <a:cubicBezTo>
                      <a:pt x="17" y="2"/>
                      <a:pt x="16" y="2"/>
                      <a:pt x="16" y="2"/>
                    </a:cubicBezTo>
                    <a:cubicBezTo>
                      <a:pt x="16" y="1"/>
                      <a:pt x="16" y="1"/>
                      <a:pt x="15" y="1"/>
                    </a:cubicBezTo>
                    <a:cubicBezTo>
                      <a:pt x="15" y="1"/>
                      <a:pt x="15" y="1"/>
                      <a:pt x="14" y="1"/>
                    </a:cubicBezTo>
                    <a:cubicBezTo>
                      <a:pt x="14" y="1"/>
                      <a:pt x="14" y="1"/>
                      <a:pt x="13" y="1"/>
                    </a:cubicBezTo>
                    <a:cubicBezTo>
                      <a:pt x="13" y="1"/>
                      <a:pt x="12" y="1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1" y="0"/>
                      <a:pt x="11" y="0"/>
                      <a:pt x="10" y="0"/>
                    </a:cubicBezTo>
                    <a:cubicBezTo>
                      <a:pt x="10" y="0"/>
                      <a:pt x="9" y="0"/>
                      <a:pt x="9" y="0"/>
                    </a:cubicBezTo>
                    <a:cubicBezTo>
                      <a:pt x="9" y="0"/>
                      <a:pt x="8" y="1"/>
                      <a:pt x="8" y="1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3" y="2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0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1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3" y="6"/>
                      <a:pt x="3" y="6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4" y="5"/>
                    </a:cubicBezTo>
                    <a:cubicBezTo>
                      <a:pt x="4" y="5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4"/>
                      <a:pt x="5" y="4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6" y="4"/>
                      <a:pt x="6" y="3"/>
                      <a:pt x="6" y="3"/>
                    </a:cubicBezTo>
                    <a:cubicBezTo>
                      <a:pt x="6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2"/>
                      <a:pt x="7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2"/>
                      <a:pt x="9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10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1" y="4"/>
                      <a:pt x="11" y="4"/>
                    </a:cubicBezTo>
                    <a:cubicBezTo>
                      <a:pt x="11" y="4"/>
                      <a:pt x="12" y="4"/>
                      <a:pt x="12" y="4"/>
                    </a:cubicBezTo>
                    <a:cubicBezTo>
                      <a:pt x="12" y="4"/>
                      <a:pt x="12" y="5"/>
                      <a:pt x="12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5"/>
                      <a:pt x="13" y="5"/>
                      <a:pt x="13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6" y="6"/>
                      <a:pt x="16" y="6"/>
                      <a:pt x="17" y="6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8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0" y="7"/>
                      <a:pt x="21" y="7"/>
                      <a:pt x="21" y="7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9"/>
                      <a:pt x="22" y="10"/>
                      <a:pt x="22" y="10"/>
                    </a:cubicBezTo>
                    <a:cubicBezTo>
                      <a:pt x="22" y="10"/>
                      <a:pt x="23" y="10"/>
                      <a:pt x="23" y="10"/>
                    </a:cubicBezTo>
                    <a:cubicBezTo>
                      <a:pt x="23" y="10"/>
                      <a:pt x="24" y="10"/>
                      <a:pt x="24" y="10"/>
                    </a:cubicBezTo>
                    <a:cubicBezTo>
                      <a:pt x="24" y="11"/>
                      <a:pt x="24" y="10"/>
                      <a:pt x="25" y="10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5" y="11"/>
                      <a:pt x="26" y="11"/>
                      <a:pt x="25" y="12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25" y="12"/>
                      <a:pt x="24" y="12"/>
                      <a:pt x="24" y="12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4" y="14"/>
                      <a:pt x="25" y="14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14"/>
                      <a:pt x="26" y="13"/>
                      <a:pt x="26" y="13"/>
                    </a:cubicBezTo>
                    <a:cubicBezTo>
                      <a:pt x="26" y="13"/>
                      <a:pt x="26" y="13"/>
                      <a:pt x="27" y="13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7" y="13"/>
                      <a:pt x="27" y="13"/>
                      <a:pt x="28" y="13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13"/>
                      <a:pt x="28" y="13"/>
                      <a:pt x="29" y="1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67" name="Freeform 202">
                <a:extLst>
                  <a:ext uri="{FF2B5EF4-FFF2-40B4-BE49-F238E27FC236}">
                    <a16:creationId xmlns:a16="http://schemas.microsoft.com/office/drawing/2014/main" id="{A51FEB21-6DA8-4D97-85DC-1C5D37B619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5" y="2387"/>
                <a:ext cx="47" cy="21"/>
              </a:xfrm>
              <a:custGeom>
                <a:avLst/>
                <a:gdLst>
                  <a:gd name="T0" fmla="*/ 14 w 20"/>
                  <a:gd name="T1" fmla="*/ 7 h 9"/>
                  <a:gd name="T2" fmla="*/ 15 w 20"/>
                  <a:gd name="T3" fmla="*/ 6 h 9"/>
                  <a:gd name="T4" fmla="*/ 16 w 20"/>
                  <a:gd name="T5" fmla="*/ 7 h 9"/>
                  <a:gd name="T6" fmla="*/ 17 w 20"/>
                  <a:gd name="T7" fmla="*/ 6 h 9"/>
                  <a:gd name="T8" fmla="*/ 18 w 20"/>
                  <a:gd name="T9" fmla="*/ 7 h 9"/>
                  <a:gd name="T10" fmla="*/ 19 w 20"/>
                  <a:gd name="T11" fmla="*/ 7 h 9"/>
                  <a:gd name="T12" fmla="*/ 19 w 20"/>
                  <a:gd name="T13" fmla="*/ 6 h 9"/>
                  <a:gd name="T14" fmla="*/ 19 w 20"/>
                  <a:gd name="T15" fmla="*/ 5 h 9"/>
                  <a:gd name="T16" fmla="*/ 17 w 20"/>
                  <a:gd name="T17" fmla="*/ 4 h 9"/>
                  <a:gd name="T18" fmla="*/ 17 w 20"/>
                  <a:gd name="T19" fmla="*/ 4 h 9"/>
                  <a:gd name="T20" fmla="*/ 16 w 20"/>
                  <a:gd name="T21" fmla="*/ 3 h 9"/>
                  <a:gd name="T22" fmla="*/ 17 w 20"/>
                  <a:gd name="T23" fmla="*/ 3 h 9"/>
                  <a:gd name="T24" fmla="*/ 15 w 20"/>
                  <a:gd name="T25" fmla="*/ 3 h 9"/>
                  <a:gd name="T26" fmla="*/ 14 w 20"/>
                  <a:gd name="T27" fmla="*/ 1 h 9"/>
                  <a:gd name="T28" fmla="*/ 12 w 20"/>
                  <a:gd name="T29" fmla="*/ 1 h 9"/>
                  <a:gd name="T30" fmla="*/ 10 w 20"/>
                  <a:gd name="T31" fmla="*/ 1 h 9"/>
                  <a:gd name="T32" fmla="*/ 9 w 20"/>
                  <a:gd name="T33" fmla="*/ 1 h 9"/>
                  <a:gd name="T34" fmla="*/ 9 w 20"/>
                  <a:gd name="T35" fmla="*/ 1 h 9"/>
                  <a:gd name="T36" fmla="*/ 7 w 20"/>
                  <a:gd name="T37" fmla="*/ 1 h 9"/>
                  <a:gd name="T38" fmla="*/ 6 w 20"/>
                  <a:gd name="T39" fmla="*/ 1 h 9"/>
                  <a:gd name="T40" fmla="*/ 4 w 20"/>
                  <a:gd name="T41" fmla="*/ 1 h 9"/>
                  <a:gd name="T42" fmla="*/ 3 w 20"/>
                  <a:gd name="T43" fmla="*/ 1 h 9"/>
                  <a:gd name="T44" fmla="*/ 5 w 20"/>
                  <a:gd name="T45" fmla="*/ 2 h 9"/>
                  <a:gd name="T46" fmla="*/ 5 w 20"/>
                  <a:gd name="T47" fmla="*/ 3 h 9"/>
                  <a:gd name="T48" fmla="*/ 6 w 20"/>
                  <a:gd name="T49" fmla="*/ 3 h 9"/>
                  <a:gd name="T50" fmla="*/ 5 w 20"/>
                  <a:gd name="T51" fmla="*/ 4 h 9"/>
                  <a:gd name="T52" fmla="*/ 6 w 20"/>
                  <a:gd name="T53" fmla="*/ 5 h 9"/>
                  <a:gd name="T54" fmla="*/ 6 w 20"/>
                  <a:gd name="T55" fmla="*/ 6 h 9"/>
                  <a:gd name="T56" fmla="*/ 5 w 20"/>
                  <a:gd name="T57" fmla="*/ 6 h 9"/>
                  <a:gd name="T58" fmla="*/ 4 w 20"/>
                  <a:gd name="T59" fmla="*/ 6 h 9"/>
                  <a:gd name="T60" fmla="*/ 1 w 20"/>
                  <a:gd name="T61" fmla="*/ 5 h 9"/>
                  <a:gd name="T62" fmla="*/ 0 w 20"/>
                  <a:gd name="T63" fmla="*/ 6 h 9"/>
                  <a:gd name="T64" fmla="*/ 0 w 20"/>
                  <a:gd name="T65" fmla="*/ 6 h 9"/>
                  <a:gd name="T66" fmla="*/ 1 w 20"/>
                  <a:gd name="T67" fmla="*/ 7 h 9"/>
                  <a:gd name="T68" fmla="*/ 1 w 20"/>
                  <a:gd name="T69" fmla="*/ 7 h 9"/>
                  <a:gd name="T70" fmla="*/ 2 w 20"/>
                  <a:gd name="T71" fmla="*/ 8 h 9"/>
                  <a:gd name="T72" fmla="*/ 2 w 20"/>
                  <a:gd name="T73" fmla="*/ 7 h 9"/>
                  <a:gd name="T74" fmla="*/ 3 w 20"/>
                  <a:gd name="T75" fmla="*/ 7 h 9"/>
                  <a:gd name="T76" fmla="*/ 5 w 20"/>
                  <a:gd name="T77" fmla="*/ 7 h 9"/>
                  <a:gd name="T78" fmla="*/ 7 w 20"/>
                  <a:gd name="T79" fmla="*/ 7 h 9"/>
                  <a:gd name="T80" fmla="*/ 9 w 20"/>
                  <a:gd name="T81" fmla="*/ 8 h 9"/>
                  <a:gd name="T82" fmla="*/ 9 w 20"/>
                  <a:gd name="T83" fmla="*/ 8 h 9"/>
                  <a:gd name="T84" fmla="*/ 9 w 20"/>
                  <a:gd name="T85" fmla="*/ 9 h 9"/>
                  <a:gd name="T86" fmla="*/ 11 w 20"/>
                  <a:gd name="T87" fmla="*/ 8 h 9"/>
                  <a:gd name="T88" fmla="*/ 11 w 20"/>
                  <a:gd name="T89" fmla="*/ 7 h 9"/>
                  <a:gd name="T90" fmla="*/ 12 w 20"/>
                  <a:gd name="T91" fmla="*/ 6 h 9"/>
                  <a:gd name="T92" fmla="*/ 12 w 20"/>
                  <a:gd name="T93" fmla="*/ 7 h 9"/>
                  <a:gd name="T94" fmla="*/ 13 w 20"/>
                  <a:gd name="T95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" h="9">
                    <a:moveTo>
                      <a:pt x="13" y="7"/>
                    </a:moveTo>
                    <a:cubicBezTo>
                      <a:pt x="13" y="7"/>
                      <a:pt x="14" y="7"/>
                      <a:pt x="14" y="7"/>
                    </a:cubicBezTo>
                    <a:cubicBezTo>
                      <a:pt x="14" y="7"/>
                      <a:pt x="14" y="6"/>
                      <a:pt x="14" y="6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6"/>
                      <a:pt x="16" y="6"/>
                      <a:pt x="16" y="7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6"/>
                      <a:pt x="19" y="7"/>
                    </a:cubicBezTo>
                    <a:cubicBezTo>
                      <a:pt x="19" y="7"/>
                      <a:pt x="19" y="7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0" y="6"/>
                      <a:pt x="19" y="5"/>
                      <a:pt x="19" y="5"/>
                    </a:cubicBezTo>
                    <a:cubicBezTo>
                      <a:pt x="19" y="5"/>
                      <a:pt x="18" y="4"/>
                      <a:pt x="18" y="4"/>
                    </a:cubicBezTo>
                    <a:cubicBezTo>
                      <a:pt x="18" y="4"/>
                      <a:pt x="18" y="4"/>
                      <a:pt x="1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6" y="4"/>
                      <a:pt x="15" y="4"/>
                      <a:pt x="15" y="4"/>
                    </a:cubicBezTo>
                    <a:cubicBezTo>
                      <a:pt x="15" y="3"/>
                      <a:pt x="16" y="3"/>
                      <a:pt x="16" y="3"/>
                    </a:cubicBezTo>
                    <a:cubicBezTo>
                      <a:pt x="16" y="3"/>
                      <a:pt x="17" y="3"/>
                      <a:pt x="17" y="3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7" y="3"/>
                      <a:pt x="16" y="2"/>
                      <a:pt x="16" y="3"/>
                    </a:cubicBezTo>
                    <a:cubicBezTo>
                      <a:pt x="16" y="3"/>
                      <a:pt x="15" y="3"/>
                      <a:pt x="15" y="3"/>
                    </a:cubicBezTo>
                    <a:cubicBezTo>
                      <a:pt x="15" y="3"/>
                      <a:pt x="15" y="2"/>
                      <a:pt x="14" y="2"/>
                    </a:cubicBezTo>
                    <a:cubicBezTo>
                      <a:pt x="14" y="2"/>
                      <a:pt x="14" y="1"/>
                      <a:pt x="14" y="1"/>
                    </a:cubicBezTo>
                    <a:cubicBezTo>
                      <a:pt x="14" y="1"/>
                      <a:pt x="14" y="1"/>
                      <a:pt x="13" y="1"/>
                    </a:cubicBezTo>
                    <a:cubicBezTo>
                      <a:pt x="13" y="1"/>
                      <a:pt x="13" y="1"/>
                      <a:pt x="12" y="1"/>
                    </a:cubicBezTo>
                    <a:cubicBezTo>
                      <a:pt x="12" y="1"/>
                      <a:pt x="12" y="1"/>
                      <a:pt x="11" y="1"/>
                    </a:cubicBezTo>
                    <a:cubicBezTo>
                      <a:pt x="11" y="0"/>
                      <a:pt x="11" y="0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7" y="1"/>
                    </a:cubicBezTo>
                    <a:cubicBezTo>
                      <a:pt x="7" y="1"/>
                      <a:pt x="7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1"/>
                      <a:pt x="4" y="1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4" y="2"/>
                      <a:pt x="4" y="2"/>
                    </a:cubicBezTo>
                    <a:cubicBezTo>
                      <a:pt x="4" y="2"/>
                      <a:pt x="4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6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6" y="3"/>
                    </a:cubicBezTo>
                    <a:cubicBezTo>
                      <a:pt x="6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4"/>
                      <a:pt x="6" y="5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5"/>
                      <a:pt x="7" y="6"/>
                      <a:pt x="7" y="6"/>
                    </a:cubicBezTo>
                    <a:cubicBezTo>
                      <a:pt x="7" y="6"/>
                      <a:pt x="6" y="6"/>
                      <a:pt x="6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6" y="6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6"/>
                      <a:pt x="4" y="6"/>
                      <a:pt x="4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6"/>
                      <a:pt x="1" y="6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7"/>
                      <a:pt x="0" y="7"/>
                    </a:cubicBezTo>
                    <a:cubicBezTo>
                      <a:pt x="0" y="7"/>
                      <a:pt x="0" y="7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7"/>
                      <a:pt x="2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5" y="7"/>
                      <a:pt x="6" y="7"/>
                      <a:pt x="6" y="7"/>
                    </a:cubicBezTo>
                    <a:cubicBezTo>
                      <a:pt x="6" y="7"/>
                      <a:pt x="7" y="7"/>
                      <a:pt x="7" y="7"/>
                    </a:cubicBezTo>
                    <a:cubicBezTo>
                      <a:pt x="7" y="7"/>
                      <a:pt x="8" y="7"/>
                      <a:pt x="8" y="7"/>
                    </a:cubicBezTo>
                    <a:cubicBezTo>
                      <a:pt x="8" y="8"/>
                      <a:pt x="9" y="8"/>
                      <a:pt x="9" y="8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10" y="9"/>
                      <a:pt x="10" y="9"/>
                    </a:cubicBezTo>
                    <a:cubicBezTo>
                      <a:pt x="10" y="9"/>
                      <a:pt x="10" y="8"/>
                      <a:pt x="11" y="8"/>
                    </a:cubicBezTo>
                    <a:cubicBezTo>
                      <a:pt x="11" y="8"/>
                      <a:pt x="11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7"/>
                      <a:pt x="11" y="7"/>
                      <a:pt x="12" y="7"/>
                    </a:cubicBezTo>
                    <a:cubicBezTo>
                      <a:pt x="12" y="7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3" y="7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3" y="7"/>
                      <a:pt x="13" y="7"/>
                      <a:pt x="13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68" name="Freeform 203">
                <a:extLst>
                  <a:ext uri="{FF2B5EF4-FFF2-40B4-BE49-F238E27FC236}">
                    <a16:creationId xmlns:a16="http://schemas.microsoft.com/office/drawing/2014/main" id="{5B812320-9381-41B6-A292-983A993BC6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9" y="2401"/>
                <a:ext cx="12" cy="5"/>
              </a:xfrm>
              <a:custGeom>
                <a:avLst/>
                <a:gdLst>
                  <a:gd name="T0" fmla="*/ 0 w 5"/>
                  <a:gd name="T1" fmla="*/ 2 h 2"/>
                  <a:gd name="T2" fmla="*/ 1 w 5"/>
                  <a:gd name="T3" fmla="*/ 2 h 2"/>
                  <a:gd name="T4" fmla="*/ 2 w 5"/>
                  <a:gd name="T5" fmla="*/ 2 h 2"/>
                  <a:gd name="T6" fmla="*/ 2 w 5"/>
                  <a:gd name="T7" fmla="*/ 2 h 2"/>
                  <a:gd name="T8" fmla="*/ 3 w 5"/>
                  <a:gd name="T9" fmla="*/ 2 h 2"/>
                  <a:gd name="T10" fmla="*/ 3 w 5"/>
                  <a:gd name="T11" fmla="*/ 2 h 2"/>
                  <a:gd name="T12" fmla="*/ 4 w 5"/>
                  <a:gd name="T13" fmla="*/ 2 h 2"/>
                  <a:gd name="T14" fmla="*/ 5 w 5"/>
                  <a:gd name="T15" fmla="*/ 2 h 2"/>
                  <a:gd name="T16" fmla="*/ 5 w 5"/>
                  <a:gd name="T17" fmla="*/ 2 h 2"/>
                  <a:gd name="T18" fmla="*/ 5 w 5"/>
                  <a:gd name="T19" fmla="*/ 1 h 2"/>
                  <a:gd name="T20" fmla="*/ 5 w 5"/>
                  <a:gd name="T21" fmla="*/ 1 h 2"/>
                  <a:gd name="T22" fmla="*/ 5 w 5"/>
                  <a:gd name="T23" fmla="*/ 0 h 2"/>
                  <a:gd name="T24" fmla="*/ 4 w 5"/>
                  <a:gd name="T25" fmla="*/ 0 h 2"/>
                  <a:gd name="T26" fmla="*/ 2 w 5"/>
                  <a:gd name="T27" fmla="*/ 0 h 2"/>
                  <a:gd name="T28" fmla="*/ 2 w 5"/>
                  <a:gd name="T29" fmla="*/ 0 h 2"/>
                  <a:gd name="T30" fmla="*/ 0 w 5"/>
                  <a:gd name="T31" fmla="*/ 0 h 2"/>
                  <a:gd name="T32" fmla="*/ 0 w 5"/>
                  <a:gd name="T33" fmla="*/ 1 h 2"/>
                  <a:gd name="T34" fmla="*/ 0 w 5"/>
                  <a:gd name="T35" fmla="*/ 1 h 2"/>
                  <a:gd name="T36" fmla="*/ 0 w 5"/>
                  <a:gd name="T37" fmla="*/ 2 h 2"/>
                  <a:gd name="T38" fmla="*/ 0 w 5"/>
                  <a:gd name="T3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" h="2">
                    <a:moveTo>
                      <a:pt x="0" y="2"/>
                    </a:moveTo>
                    <a:cubicBezTo>
                      <a:pt x="0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0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69" name="Freeform 204">
                <a:extLst>
                  <a:ext uri="{FF2B5EF4-FFF2-40B4-BE49-F238E27FC236}">
                    <a16:creationId xmlns:a16="http://schemas.microsoft.com/office/drawing/2014/main" id="{C6DCCF62-26AA-4878-AB13-52FA017A13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6" y="2408"/>
                <a:ext cx="4" cy="0"/>
              </a:xfrm>
              <a:custGeom>
                <a:avLst/>
                <a:gdLst>
                  <a:gd name="T0" fmla="*/ 1 w 2"/>
                  <a:gd name="T1" fmla="*/ 1 w 2"/>
                  <a:gd name="T2" fmla="*/ 2 w 2"/>
                  <a:gd name="T3" fmla="*/ 1 w 2"/>
                  <a:gd name="T4" fmla="*/ 1 w 2"/>
                  <a:gd name="T5" fmla="*/ 0 w 2"/>
                  <a:gd name="T6" fmla="*/ 1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2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70" name="Freeform 205">
                <a:extLst>
                  <a:ext uri="{FF2B5EF4-FFF2-40B4-BE49-F238E27FC236}">
                    <a16:creationId xmlns:a16="http://schemas.microsoft.com/office/drawing/2014/main" id="{D780C507-F97D-45A1-A130-AB96B53393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8" y="2401"/>
                <a:ext cx="2" cy="3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1 w 1"/>
                  <a:gd name="T5" fmla="*/ 1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71" name="Freeform 206">
                <a:extLst>
                  <a:ext uri="{FF2B5EF4-FFF2-40B4-BE49-F238E27FC236}">
                    <a16:creationId xmlns:a16="http://schemas.microsoft.com/office/drawing/2014/main" id="{8C640E5F-E6B8-4E3E-9F4A-17E6323E62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" y="2413"/>
                <a:ext cx="3" cy="2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1 w 1"/>
                  <a:gd name="T5" fmla="*/ 1 h 1"/>
                  <a:gd name="T6" fmla="*/ 0 w 1"/>
                  <a:gd name="T7" fmla="*/ 0 h 1"/>
                  <a:gd name="T8" fmla="*/ 0 w 1"/>
                  <a:gd name="T9" fmla="*/ 1 h 1"/>
                  <a:gd name="T10" fmla="*/ 0 w 1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72" name="Freeform 207">
                <a:extLst>
                  <a:ext uri="{FF2B5EF4-FFF2-40B4-BE49-F238E27FC236}">
                    <a16:creationId xmlns:a16="http://schemas.microsoft.com/office/drawing/2014/main" id="{A1DC2C42-3F1D-405E-BB50-6B2FDBB50E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" y="2420"/>
                <a:ext cx="5" cy="5"/>
              </a:xfrm>
              <a:custGeom>
                <a:avLst/>
                <a:gdLst>
                  <a:gd name="T0" fmla="*/ 1 w 2"/>
                  <a:gd name="T1" fmla="*/ 0 h 2"/>
                  <a:gd name="T2" fmla="*/ 1 w 2"/>
                  <a:gd name="T3" fmla="*/ 0 h 2"/>
                  <a:gd name="T4" fmla="*/ 1 w 2"/>
                  <a:gd name="T5" fmla="*/ 0 h 2"/>
                  <a:gd name="T6" fmla="*/ 1 w 2"/>
                  <a:gd name="T7" fmla="*/ 1 h 2"/>
                  <a:gd name="T8" fmla="*/ 0 w 2"/>
                  <a:gd name="T9" fmla="*/ 1 h 2"/>
                  <a:gd name="T10" fmla="*/ 1 w 2"/>
                  <a:gd name="T11" fmla="*/ 2 h 2"/>
                  <a:gd name="T12" fmla="*/ 1 w 2"/>
                  <a:gd name="T13" fmla="*/ 2 h 2"/>
                  <a:gd name="T14" fmla="*/ 1 w 2"/>
                  <a:gd name="T15" fmla="*/ 1 h 2"/>
                  <a:gd name="T16" fmla="*/ 1 w 2"/>
                  <a:gd name="T17" fmla="*/ 1 h 2"/>
                  <a:gd name="T18" fmla="*/ 2 w 2"/>
                  <a:gd name="T19" fmla="*/ 1 h 2"/>
                  <a:gd name="T20" fmla="*/ 2 w 2"/>
                  <a:gd name="T21" fmla="*/ 1 h 2"/>
                  <a:gd name="T22" fmla="*/ 2 w 2"/>
                  <a:gd name="T23" fmla="*/ 1 h 2"/>
                  <a:gd name="T24" fmla="*/ 2 w 2"/>
                  <a:gd name="T25" fmla="*/ 0 h 2"/>
                  <a:gd name="T26" fmla="*/ 1 w 2"/>
                  <a:gd name="T2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" h="2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73" name="Freeform 208">
                <a:extLst>
                  <a:ext uri="{FF2B5EF4-FFF2-40B4-BE49-F238E27FC236}">
                    <a16:creationId xmlns:a16="http://schemas.microsoft.com/office/drawing/2014/main" id="{3995A124-0A0C-4B90-B002-0BDC96972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4" y="2425"/>
                <a:ext cx="2" cy="0"/>
              </a:xfrm>
              <a:custGeom>
                <a:avLst/>
                <a:gdLst>
                  <a:gd name="T0" fmla="*/ 0 w 1"/>
                  <a:gd name="T1" fmla="*/ 0 w 1"/>
                  <a:gd name="T2" fmla="*/ 1 w 1"/>
                  <a:gd name="T3" fmla="*/ 1 w 1"/>
                  <a:gd name="T4" fmla="*/ 0 w 1"/>
                  <a:gd name="T5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74" name="Freeform 209">
                <a:extLst>
                  <a:ext uri="{FF2B5EF4-FFF2-40B4-BE49-F238E27FC236}">
                    <a16:creationId xmlns:a16="http://schemas.microsoft.com/office/drawing/2014/main" id="{C3122A3C-C2D8-455D-A578-636E2CC6A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2" y="2427"/>
                <a:ext cx="2" cy="5"/>
              </a:xfrm>
              <a:custGeom>
                <a:avLst/>
                <a:gdLst>
                  <a:gd name="T0" fmla="*/ 1 w 1"/>
                  <a:gd name="T1" fmla="*/ 0 h 2"/>
                  <a:gd name="T2" fmla="*/ 1 w 1"/>
                  <a:gd name="T3" fmla="*/ 0 h 2"/>
                  <a:gd name="T4" fmla="*/ 0 w 1"/>
                  <a:gd name="T5" fmla="*/ 1 h 2"/>
                  <a:gd name="T6" fmla="*/ 0 w 1"/>
                  <a:gd name="T7" fmla="*/ 1 h 2"/>
                  <a:gd name="T8" fmla="*/ 1 w 1"/>
                  <a:gd name="T9" fmla="*/ 2 h 2"/>
                  <a:gd name="T10" fmla="*/ 1 w 1"/>
                  <a:gd name="T11" fmla="*/ 2 h 2"/>
                  <a:gd name="T12" fmla="*/ 1 w 1"/>
                  <a:gd name="T13" fmla="*/ 2 h 2"/>
                  <a:gd name="T14" fmla="*/ 1 w 1"/>
                  <a:gd name="T15" fmla="*/ 1 h 2"/>
                  <a:gd name="T16" fmla="*/ 1 w 1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75" name="Freeform 210">
                <a:extLst>
                  <a:ext uri="{FF2B5EF4-FFF2-40B4-BE49-F238E27FC236}">
                    <a16:creationId xmlns:a16="http://schemas.microsoft.com/office/drawing/2014/main" id="{84174DFB-BB7F-4098-A6CA-FC52E6FDBD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4" y="2434"/>
                <a:ext cx="5" cy="5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2 h 2"/>
                  <a:gd name="T4" fmla="*/ 1 w 2"/>
                  <a:gd name="T5" fmla="*/ 1 h 2"/>
                  <a:gd name="T6" fmla="*/ 1 w 2"/>
                  <a:gd name="T7" fmla="*/ 0 h 2"/>
                  <a:gd name="T8" fmla="*/ 0 w 2"/>
                  <a:gd name="T9" fmla="*/ 1 h 2"/>
                  <a:gd name="T10" fmla="*/ 0 w 2"/>
                  <a:gd name="T11" fmla="*/ 1 h 2"/>
                  <a:gd name="T12" fmla="*/ 0 w 2"/>
                  <a:gd name="T13" fmla="*/ 2 h 2"/>
                  <a:gd name="T14" fmla="*/ 1 w 2"/>
                  <a:gd name="T15" fmla="*/ 2 h 2"/>
                  <a:gd name="T16" fmla="*/ 1 w 2"/>
                  <a:gd name="T1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76" name="Freeform 211">
                <a:extLst>
                  <a:ext uri="{FF2B5EF4-FFF2-40B4-BE49-F238E27FC236}">
                    <a16:creationId xmlns:a16="http://schemas.microsoft.com/office/drawing/2014/main" id="{54511AC1-2A9C-4A93-AB3E-0AEAE2608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6" y="2444"/>
                <a:ext cx="3" cy="2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  <a:gd name="T6" fmla="*/ 0 w 1"/>
                  <a:gd name="T7" fmla="*/ 1 h 1"/>
                  <a:gd name="T8" fmla="*/ 0 w 1"/>
                  <a:gd name="T9" fmla="*/ 1 h 1"/>
                  <a:gd name="T10" fmla="*/ 0 w 1"/>
                  <a:gd name="T11" fmla="*/ 1 h 1"/>
                  <a:gd name="T12" fmla="*/ 0 w 1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77" name="Freeform 212">
                <a:extLst>
                  <a:ext uri="{FF2B5EF4-FFF2-40B4-BE49-F238E27FC236}">
                    <a16:creationId xmlns:a16="http://schemas.microsoft.com/office/drawing/2014/main" id="{03983585-2D3B-461F-9B31-A50BFF4F1D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6" y="2449"/>
                <a:ext cx="2" cy="4"/>
              </a:xfrm>
              <a:custGeom>
                <a:avLst/>
                <a:gdLst>
                  <a:gd name="T0" fmla="*/ 0 w 1"/>
                  <a:gd name="T1" fmla="*/ 1 h 2"/>
                  <a:gd name="T2" fmla="*/ 1 w 1"/>
                  <a:gd name="T3" fmla="*/ 2 h 2"/>
                  <a:gd name="T4" fmla="*/ 1 w 1"/>
                  <a:gd name="T5" fmla="*/ 1 h 2"/>
                  <a:gd name="T6" fmla="*/ 1 w 1"/>
                  <a:gd name="T7" fmla="*/ 1 h 2"/>
                  <a:gd name="T8" fmla="*/ 1 w 1"/>
                  <a:gd name="T9" fmla="*/ 0 h 2"/>
                  <a:gd name="T10" fmla="*/ 0 w 1"/>
                  <a:gd name="T11" fmla="*/ 0 h 2"/>
                  <a:gd name="T12" fmla="*/ 0 w 1"/>
                  <a:gd name="T13" fmla="*/ 0 h 2"/>
                  <a:gd name="T14" fmla="*/ 0 w 1"/>
                  <a:gd name="T15" fmla="*/ 1 h 2"/>
                  <a:gd name="T16" fmla="*/ 0 w 1"/>
                  <a:gd name="T1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2">
                    <a:moveTo>
                      <a:pt x="0" y="1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78" name="Freeform 213">
                <a:extLst>
                  <a:ext uri="{FF2B5EF4-FFF2-40B4-BE49-F238E27FC236}">
                    <a16:creationId xmlns:a16="http://schemas.microsoft.com/office/drawing/2014/main" id="{E1898333-316C-4E03-A2B1-1B03878E64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4" y="2449"/>
                <a:ext cx="2" cy="2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1 h 1"/>
                  <a:gd name="T4" fmla="*/ 1 w 1"/>
                  <a:gd name="T5" fmla="*/ 1 h 1"/>
                  <a:gd name="T6" fmla="*/ 0 w 1"/>
                  <a:gd name="T7" fmla="*/ 0 h 1"/>
                  <a:gd name="T8" fmla="*/ 0 w 1"/>
                  <a:gd name="T9" fmla="*/ 1 h 1"/>
                  <a:gd name="T10" fmla="*/ 0 w 1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79" name="Freeform 214">
                <a:extLst>
                  <a:ext uri="{FF2B5EF4-FFF2-40B4-BE49-F238E27FC236}">
                    <a16:creationId xmlns:a16="http://schemas.microsoft.com/office/drawing/2014/main" id="{C91D6EEE-FF89-4D72-B1FA-E74DEE7D8C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" y="2461"/>
                <a:ext cx="3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  <a:gd name="T3" fmla="*/ 1 w 1"/>
                  <a:gd name="T4" fmla="*/ 1 w 1"/>
                  <a:gd name="T5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80" name="Freeform 215">
                <a:extLst>
                  <a:ext uri="{FF2B5EF4-FFF2-40B4-BE49-F238E27FC236}">
                    <a16:creationId xmlns:a16="http://schemas.microsoft.com/office/drawing/2014/main" id="{E0987977-2F69-43F2-8443-1A78CF218A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6" y="2468"/>
                <a:ext cx="5" cy="2"/>
              </a:xfrm>
              <a:custGeom>
                <a:avLst/>
                <a:gdLst>
                  <a:gd name="T0" fmla="*/ 1 w 2"/>
                  <a:gd name="T1" fmla="*/ 1 h 1"/>
                  <a:gd name="T2" fmla="*/ 2 w 2"/>
                  <a:gd name="T3" fmla="*/ 0 h 1"/>
                  <a:gd name="T4" fmla="*/ 1 w 2"/>
                  <a:gd name="T5" fmla="*/ 0 h 1"/>
                  <a:gd name="T6" fmla="*/ 1 w 2"/>
                  <a:gd name="T7" fmla="*/ 0 h 1"/>
                  <a:gd name="T8" fmla="*/ 0 w 2"/>
                  <a:gd name="T9" fmla="*/ 1 h 1"/>
                  <a:gd name="T10" fmla="*/ 1 w 2"/>
                  <a:gd name="T11" fmla="*/ 1 h 1"/>
                  <a:gd name="T12" fmla="*/ 1 w 2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">
                    <a:moveTo>
                      <a:pt x="1" y="1"/>
                    </a:move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81" name="Freeform 216">
                <a:extLst>
                  <a:ext uri="{FF2B5EF4-FFF2-40B4-BE49-F238E27FC236}">
                    <a16:creationId xmlns:a16="http://schemas.microsoft.com/office/drawing/2014/main" id="{FE81AD99-921B-4663-8CB2-81ACC81D55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" y="2472"/>
                <a:ext cx="7" cy="8"/>
              </a:xfrm>
              <a:custGeom>
                <a:avLst/>
                <a:gdLst>
                  <a:gd name="T0" fmla="*/ 3 w 3"/>
                  <a:gd name="T1" fmla="*/ 1 h 3"/>
                  <a:gd name="T2" fmla="*/ 3 w 3"/>
                  <a:gd name="T3" fmla="*/ 1 h 3"/>
                  <a:gd name="T4" fmla="*/ 3 w 3"/>
                  <a:gd name="T5" fmla="*/ 0 h 3"/>
                  <a:gd name="T6" fmla="*/ 2 w 3"/>
                  <a:gd name="T7" fmla="*/ 0 h 3"/>
                  <a:gd name="T8" fmla="*/ 1 w 3"/>
                  <a:gd name="T9" fmla="*/ 1 h 3"/>
                  <a:gd name="T10" fmla="*/ 1 w 3"/>
                  <a:gd name="T11" fmla="*/ 1 h 3"/>
                  <a:gd name="T12" fmla="*/ 1 w 3"/>
                  <a:gd name="T13" fmla="*/ 1 h 3"/>
                  <a:gd name="T14" fmla="*/ 2 w 3"/>
                  <a:gd name="T15" fmla="*/ 2 h 3"/>
                  <a:gd name="T16" fmla="*/ 2 w 3"/>
                  <a:gd name="T17" fmla="*/ 2 h 3"/>
                  <a:gd name="T18" fmla="*/ 1 w 3"/>
                  <a:gd name="T19" fmla="*/ 3 h 3"/>
                  <a:gd name="T20" fmla="*/ 1 w 3"/>
                  <a:gd name="T21" fmla="*/ 3 h 3"/>
                  <a:gd name="T22" fmla="*/ 0 w 3"/>
                  <a:gd name="T23" fmla="*/ 3 h 3"/>
                  <a:gd name="T24" fmla="*/ 1 w 3"/>
                  <a:gd name="T25" fmla="*/ 3 h 3"/>
                  <a:gd name="T26" fmla="*/ 2 w 3"/>
                  <a:gd name="T27" fmla="*/ 3 h 3"/>
                  <a:gd name="T28" fmla="*/ 2 w 3"/>
                  <a:gd name="T29" fmla="*/ 3 h 3"/>
                  <a:gd name="T30" fmla="*/ 3 w 3"/>
                  <a:gd name="T31" fmla="*/ 3 h 3"/>
                  <a:gd name="T32" fmla="*/ 3 w 3"/>
                  <a:gd name="T33" fmla="*/ 2 h 3"/>
                  <a:gd name="T34" fmla="*/ 3 w 3"/>
                  <a:gd name="T35" fmla="*/ 2 h 3"/>
                  <a:gd name="T36" fmla="*/ 3 w 3"/>
                  <a:gd name="T37" fmla="*/ 2 h 3"/>
                  <a:gd name="T38" fmla="*/ 3 w 3"/>
                  <a:gd name="T3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" h="3">
                    <a:moveTo>
                      <a:pt x="3" y="1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1" y="2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1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3" y="3"/>
                      <a:pt x="3" y="3"/>
                    </a:cubicBezTo>
                    <a:cubicBezTo>
                      <a:pt x="3" y="3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1"/>
                      <a:pt x="3" y="1"/>
                      <a:pt x="3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82" name="Freeform 217">
                <a:extLst>
                  <a:ext uri="{FF2B5EF4-FFF2-40B4-BE49-F238E27FC236}">
                    <a16:creationId xmlns:a16="http://schemas.microsoft.com/office/drawing/2014/main" id="{7109BDA7-1072-47D1-9AD7-DCF827AE08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17" y="1810"/>
                <a:ext cx="850" cy="686"/>
              </a:xfrm>
              <a:custGeom>
                <a:avLst/>
                <a:gdLst>
                  <a:gd name="T0" fmla="*/ 255 w 359"/>
                  <a:gd name="T1" fmla="*/ 256 h 289"/>
                  <a:gd name="T2" fmla="*/ 234 w 359"/>
                  <a:gd name="T3" fmla="*/ 249 h 289"/>
                  <a:gd name="T4" fmla="*/ 243 w 359"/>
                  <a:gd name="T5" fmla="*/ 203 h 289"/>
                  <a:gd name="T6" fmla="*/ 268 w 359"/>
                  <a:gd name="T7" fmla="*/ 202 h 289"/>
                  <a:gd name="T8" fmla="*/ 293 w 359"/>
                  <a:gd name="T9" fmla="*/ 180 h 289"/>
                  <a:gd name="T10" fmla="*/ 297 w 359"/>
                  <a:gd name="T11" fmla="*/ 167 h 289"/>
                  <a:gd name="T12" fmla="*/ 315 w 359"/>
                  <a:gd name="T13" fmla="*/ 142 h 289"/>
                  <a:gd name="T14" fmla="*/ 331 w 359"/>
                  <a:gd name="T15" fmla="*/ 137 h 289"/>
                  <a:gd name="T16" fmla="*/ 332 w 359"/>
                  <a:gd name="T17" fmla="*/ 132 h 289"/>
                  <a:gd name="T18" fmla="*/ 312 w 359"/>
                  <a:gd name="T19" fmla="*/ 127 h 289"/>
                  <a:gd name="T20" fmla="*/ 357 w 359"/>
                  <a:gd name="T21" fmla="*/ 107 h 289"/>
                  <a:gd name="T22" fmla="*/ 344 w 359"/>
                  <a:gd name="T23" fmla="*/ 99 h 289"/>
                  <a:gd name="T24" fmla="*/ 339 w 359"/>
                  <a:gd name="T25" fmla="*/ 77 h 289"/>
                  <a:gd name="T26" fmla="*/ 320 w 359"/>
                  <a:gd name="T27" fmla="*/ 74 h 289"/>
                  <a:gd name="T28" fmla="*/ 308 w 359"/>
                  <a:gd name="T29" fmla="*/ 58 h 289"/>
                  <a:gd name="T30" fmla="*/ 287 w 359"/>
                  <a:gd name="T31" fmla="*/ 69 h 289"/>
                  <a:gd name="T32" fmla="*/ 282 w 359"/>
                  <a:gd name="T33" fmla="*/ 108 h 289"/>
                  <a:gd name="T34" fmla="*/ 257 w 359"/>
                  <a:gd name="T35" fmla="*/ 85 h 289"/>
                  <a:gd name="T36" fmla="*/ 235 w 359"/>
                  <a:gd name="T37" fmla="*/ 62 h 289"/>
                  <a:gd name="T38" fmla="*/ 250 w 359"/>
                  <a:gd name="T39" fmla="*/ 45 h 289"/>
                  <a:gd name="T40" fmla="*/ 264 w 359"/>
                  <a:gd name="T41" fmla="*/ 32 h 289"/>
                  <a:gd name="T42" fmla="*/ 274 w 359"/>
                  <a:gd name="T43" fmla="*/ 20 h 289"/>
                  <a:gd name="T44" fmla="*/ 265 w 359"/>
                  <a:gd name="T45" fmla="*/ 18 h 289"/>
                  <a:gd name="T46" fmla="*/ 248 w 359"/>
                  <a:gd name="T47" fmla="*/ 20 h 289"/>
                  <a:gd name="T48" fmla="*/ 243 w 359"/>
                  <a:gd name="T49" fmla="*/ 10 h 289"/>
                  <a:gd name="T50" fmla="*/ 228 w 359"/>
                  <a:gd name="T51" fmla="*/ 7 h 289"/>
                  <a:gd name="T52" fmla="*/ 237 w 359"/>
                  <a:gd name="T53" fmla="*/ 18 h 289"/>
                  <a:gd name="T54" fmla="*/ 224 w 359"/>
                  <a:gd name="T55" fmla="*/ 19 h 289"/>
                  <a:gd name="T56" fmla="*/ 199 w 359"/>
                  <a:gd name="T57" fmla="*/ 20 h 289"/>
                  <a:gd name="T58" fmla="*/ 194 w 359"/>
                  <a:gd name="T59" fmla="*/ 22 h 289"/>
                  <a:gd name="T60" fmla="*/ 179 w 359"/>
                  <a:gd name="T61" fmla="*/ 24 h 289"/>
                  <a:gd name="T62" fmla="*/ 139 w 359"/>
                  <a:gd name="T63" fmla="*/ 15 h 289"/>
                  <a:gd name="T64" fmla="*/ 124 w 359"/>
                  <a:gd name="T65" fmla="*/ 11 h 289"/>
                  <a:gd name="T66" fmla="*/ 119 w 359"/>
                  <a:gd name="T67" fmla="*/ 10 h 289"/>
                  <a:gd name="T68" fmla="*/ 86 w 359"/>
                  <a:gd name="T69" fmla="*/ 13 h 289"/>
                  <a:gd name="T70" fmla="*/ 40 w 359"/>
                  <a:gd name="T71" fmla="*/ 5 h 289"/>
                  <a:gd name="T72" fmla="*/ 6 w 359"/>
                  <a:gd name="T73" fmla="*/ 18 h 289"/>
                  <a:gd name="T74" fmla="*/ 22 w 359"/>
                  <a:gd name="T75" fmla="*/ 33 h 289"/>
                  <a:gd name="T76" fmla="*/ 3 w 359"/>
                  <a:gd name="T77" fmla="*/ 38 h 289"/>
                  <a:gd name="T78" fmla="*/ 14 w 359"/>
                  <a:gd name="T79" fmla="*/ 49 h 289"/>
                  <a:gd name="T80" fmla="*/ 11 w 359"/>
                  <a:gd name="T81" fmla="*/ 63 h 289"/>
                  <a:gd name="T82" fmla="*/ 19 w 359"/>
                  <a:gd name="T83" fmla="*/ 73 h 289"/>
                  <a:gd name="T84" fmla="*/ 29 w 359"/>
                  <a:gd name="T85" fmla="*/ 83 h 289"/>
                  <a:gd name="T86" fmla="*/ 29 w 359"/>
                  <a:gd name="T87" fmla="*/ 86 h 289"/>
                  <a:gd name="T88" fmla="*/ 52 w 359"/>
                  <a:gd name="T89" fmla="*/ 60 h 289"/>
                  <a:gd name="T90" fmla="*/ 64 w 359"/>
                  <a:gd name="T91" fmla="*/ 61 h 289"/>
                  <a:gd name="T92" fmla="*/ 112 w 359"/>
                  <a:gd name="T93" fmla="*/ 81 h 289"/>
                  <a:gd name="T94" fmla="*/ 137 w 359"/>
                  <a:gd name="T95" fmla="*/ 113 h 289"/>
                  <a:gd name="T96" fmla="*/ 139 w 359"/>
                  <a:gd name="T97" fmla="*/ 126 h 289"/>
                  <a:gd name="T98" fmla="*/ 146 w 359"/>
                  <a:gd name="T99" fmla="*/ 172 h 289"/>
                  <a:gd name="T100" fmla="*/ 172 w 359"/>
                  <a:gd name="T101" fmla="*/ 211 h 289"/>
                  <a:gd name="T102" fmla="*/ 181 w 359"/>
                  <a:gd name="T103" fmla="*/ 220 h 289"/>
                  <a:gd name="T104" fmla="*/ 183 w 359"/>
                  <a:gd name="T105" fmla="*/ 212 h 289"/>
                  <a:gd name="T106" fmla="*/ 232 w 359"/>
                  <a:gd name="T107" fmla="*/ 259 h 289"/>
                  <a:gd name="T108" fmla="*/ 257 w 359"/>
                  <a:gd name="T109" fmla="*/ 270 h 289"/>
                  <a:gd name="T110" fmla="*/ 272 w 359"/>
                  <a:gd name="T111" fmla="*/ 287 h 289"/>
                  <a:gd name="T112" fmla="*/ 246 w 359"/>
                  <a:gd name="T113" fmla="*/ 124 h 289"/>
                  <a:gd name="T114" fmla="*/ 267 w 359"/>
                  <a:gd name="T115" fmla="*/ 129 h 289"/>
                  <a:gd name="T116" fmla="*/ 293 w 359"/>
                  <a:gd name="T117" fmla="*/ 144 h 289"/>
                  <a:gd name="T118" fmla="*/ 265 w 359"/>
                  <a:gd name="T119" fmla="*/ 135 h 289"/>
                  <a:gd name="T120" fmla="*/ 267 w 359"/>
                  <a:gd name="T121" fmla="*/ 134 h 289"/>
                  <a:gd name="T122" fmla="*/ 234 w 359"/>
                  <a:gd name="T123" fmla="*/ 121 h 289"/>
                  <a:gd name="T124" fmla="*/ 219 w 359"/>
                  <a:gd name="T125" fmla="*/ 214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59" h="289">
                    <a:moveTo>
                      <a:pt x="272" y="286"/>
                    </a:moveTo>
                    <a:cubicBezTo>
                      <a:pt x="272" y="285"/>
                      <a:pt x="272" y="285"/>
                      <a:pt x="272" y="285"/>
                    </a:cubicBezTo>
                    <a:cubicBezTo>
                      <a:pt x="272" y="284"/>
                      <a:pt x="272" y="284"/>
                      <a:pt x="272" y="284"/>
                    </a:cubicBezTo>
                    <a:cubicBezTo>
                      <a:pt x="272" y="283"/>
                      <a:pt x="272" y="283"/>
                      <a:pt x="271" y="283"/>
                    </a:cubicBezTo>
                    <a:cubicBezTo>
                      <a:pt x="271" y="282"/>
                      <a:pt x="270" y="280"/>
                      <a:pt x="270" y="279"/>
                    </a:cubicBezTo>
                    <a:cubicBezTo>
                      <a:pt x="269" y="279"/>
                      <a:pt x="269" y="279"/>
                      <a:pt x="269" y="279"/>
                    </a:cubicBezTo>
                    <a:cubicBezTo>
                      <a:pt x="269" y="279"/>
                      <a:pt x="269" y="279"/>
                      <a:pt x="270" y="279"/>
                    </a:cubicBezTo>
                    <a:cubicBezTo>
                      <a:pt x="269" y="278"/>
                      <a:pt x="269" y="278"/>
                      <a:pt x="269" y="278"/>
                    </a:cubicBezTo>
                    <a:cubicBezTo>
                      <a:pt x="269" y="277"/>
                      <a:pt x="269" y="276"/>
                      <a:pt x="269" y="276"/>
                    </a:cubicBezTo>
                    <a:cubicBezTo>
                      <a:pt x="270" y="275"/>
                      <a:pt x="269" y="275"/>
                      <a:pt x="269" y="274"/>
                    </a:cubicBezTo>
                    <a:cubicBezTo>
                      <a:pt x="270" y="274"/>
                      <a:pt x="270" y="270"/>
                      <a:pt x="270" y="270"/>
                    </a:cubicBezTo>
                    <a:cubicBezTo>
                      <a:pt x="269" y="269"/>
                      <a:pt x="270" y="269"/>
                      <a:pt x="270" y="268"/>
                    </a:cubicBezTo>
                    <a:cubicBezTo>
                      <a:pt x="270" y="267"/>
                      <a:pt x="270" y="267"/>
                      <a:pt x="270" y="266"/>
                    </a:cubicBezTo>
                    <a:cubicBezTo>
                      <a:pt x="271" y="266"/>
                      <a:pt x="271" y="266"/>
                      <a:pt x="271" y="265"/>
                    </a:cubicBezTo>
                    <a:cubicBezTo>
                      <a:pt x="271" y="265"/>
                      <a:pt x="271" y="264"/>
                      <a:pt x="271" y="264"/>
                    </a:cubicBezTo>
                    <a:cubicBezTo>
                      <a:pt x="271" y="263"/>
                      <a:pt x="271" y="263"/>
                      <a:pt x="271" y="263"/>
                    </a:cubicBezTo>
                    <a:cubicBezTo>
                      <a:pt x="270" y="263"/>
                      <a:pt x="268" y="263"/>
                      <a:pt x="268" y="264"/>
                    </a:cubicBezTo>
                    <a:cubicBezTo>
                      <a:pt x="268" y="264"/>
                      <a:pt x="265" y="264"/>
                      <a:pt x="265" y="264"/>
                    </a:cubicBezTo>
                    <a:cubicBezTo>
                      <a:pt x="265" y="264"/>
                      <a:pt x="265" y="264"/>
                      <a:pt x="265" y="264"/>
                    </a:cubicBezTo>
                    <a:cubicBezTo>
                      <a:pt x="265" y="264"/>
                      <a:pt x="268" y="264"/>
                      <a:pt x="268" y="264"/>
                    </a:cubicBezTo>
                    <a:cubicBezTo>
                      <a:pt x="268" y="263"/>
                      <a:pt x="270" y="263"/>
                      <a:pt x="271" y="263"/>
                    </a:cubicBezTo>
                    <a:cubicBezTo>
                      <a:pt x="271" y="262"/>
                      <a:pt x="271" y="262"/>
                      <a:pt x="271" y="262"/>
                    </a:cubicBezTo>
                    <a:cubicBezTo>
                      <a:pt x="270" y="262"/>
                      <a:pt x="270" y="262"/>
                      <a:pt x="269" y="261"/>
                    </a:cubicBezTo>
                    <a:cubicBezTo>
                      <a:pt x="269" y="261"/>
                      <a:pt x="269" y="261"/>
                      <a:pt x="268" y="260"/>
                    </a:cubicBezTo>
                    <a:cubicBezTo>
                      <a:pt x="267" y="260"/>
                      <a:pt x="267" y="260"/>
                      <a:pt x="267" y="260"/>
                    </a:cubicBezTo>
                    <a:cubicBezTo>
                      <a:pt x="267" y="260"/>
                      <a:pt x="267" y="260"/>
                      <a:pt x="266" y="259"/>
                    </a:cubicBezTo>
                    <a:cubicBezTo>
                      <a:pt x="266" y="259"/>
                      <a:pt x="265" y="259"/>
                      <a:pt x="265" y="259"/>
                    </a:cubicBezTo>
                    <a:cubicBezTo>
                      <a:pt x="264" y="259"/>
                      <a:pt x="264" y="259"/>
                      <a:pt x="264" y="259"/>
                    </a:cubicBezTo>
                    <a:cubicBezTo>
                      <a:pt x="264" y="260"/>
                      <a:pt x="263" y="259"/>
                      <a:pt x="263" y="259"/>
                    </a:cubicBezTo>
                    <a:cubicBezTo>
                      <a:pt x="263" y="259"/>
                      <a:pt x="262" y="259"/>
                      <a:pt x="262" y="259"/>
                    </a:cubicBezTo>
                    <a:cubicBezTo>
                      <a:pt x="262" y="259"/>
                      <a:pt x="262" y="259"/>
                      <a:pt x="261" y="260"/>
                    </a:cubicBezTo>
                    <a:cubicBezTo>
                      <a:pt x="260" y="260"/>
                      <a:pt x="260" y="260"/>
                      <a:pt x="259" y="260"/>
                    </a:cubicBezTo>
                    <a:cubicBezTo>
                      <a:pt x="259" y="260"/>
                      <a:pt x="257" y="260"/>
                      <a:pt x="257" y="259"/>
                    </a:cubicBezTo>
                    <a:cubicBezTo>
                      <a:pt x="256" y="259"/>
                      <a:pt x="256" y="259"/>
                      <a:pt x="256" y="259"/>
                    </a:cubicBezTo>
                    <a:cubicBezTo>
                      <a:pt x="256" y="259"/>
                      <a:pt x="256" y="259"/>
                      <a:pt x="256" y="259"/>
                    </a:cubicBezTo>
                    <a:cubicBezTo>
                      <a:pt x="256" y="260"/>
                      <a:pt x="255" y="260"/>
                      <a:pt x="255" y="260"/>
                    </a:cubicBezTo>
                    <a:cubicBezTo>
                      <a:pt x="255" y="260"/>
                      <a:pt x="255" y="260"/>
                      <a:pt x="255" y="260"/>
                    </a:cubicBezTo>
                    <a:cubicBezTo>
                      <a:pt x="254" y="260"/>
                      <a:pt x="254" y="260"/>
                      <a:pt x="254" y="260"/>
                    </a:cubicBezTo>
                    <a:cubicBezTo>
                      <a:pt x="254" y="260"/>
                      <a:pt x="254" y="260"/>
                      <a:pt x="254" y="260"/>
                    </a:cubicBezTo>
                    <a:cubicBezTo>
                      <a:pt x="254" y="260"/>
                      <a:pt x="254" y="260"/>
                      <a:pt x="253" y="260"/>
                    </a:cubicBezTo>
                    <a:cubicBezTo>
                      <a:pt x="253" y="260"/>
                      <a:pt x="253" y="259"/>
                      <a:pt x="253" y="259"/>
                    </a:cubicBezTo>
                    <a:cubicBezTo>
                      <a:pt x="252" y="260"/>
                      <a:pt x="252" y="260"/>
                      <a:pt x="252" y="260"/>
                    </a:cubicBezTo>
                    <a:cubicBezTo>
                      <a:pt x="253" y="259"/>
                      <a:pt x="253" y="259"/>
                      <a:pt x="253" y="259"/>
                    </a:cubicBezTo>
                    <a:cubicBezTo>
                      <a:pt x="252" y="259"/>
                      <a:pt x="252" y="259"/>
                      <a:pt x="252" y="259"/>
                    </a:cubicBezTo>
                    <a:cubicBezTo>
                      <a:pt x="253" y="258"/>
                      <a:pt x="254" y="257"/>
                      <a:pt x="254" y="257"/>
                    </a:cubicBezTo>
                    <a:cubicBezTo>
                      <a:pt x="255" y="256"/>
                      <a:pt x="255" y="256"/>
                      <a:pt x="255" y="256"/>
                    </a:cubicBezTo>
                    <a:cubicBezTo>
                      <a:pt x="255" y="255"/>
                      <a:pt x="255" y="255"/>
                      <a:pt x="255" y="255"/>
                    </a:cubicBezTo>
                    <a:cubicBezTo>
                      <a:pt x="254" y="254"/>
                      <a:pt x="255" y="253"/>
                      <a:pt x="255" y="253"/>
                    </a:cubicBezTo>
                    <a:cubicBezTo>
                      <a:pt x="255" y="253"/>
                      <a:pt x="255" y="251"/>
                      <a:pt x="255" y="250"/>
                    </a:cubicBezTo>
                    <a:cubicBezTo>
                      <a:pt x="255" y="250"/>
                      <a:pt x="255" y="250"/>
                      <a:pt x="255" y="250"/>
                    </a:cubicBezTo>
                    <a:cubicBezTo>
                      <a:pt x="255" y="250"/>
                      <a:pt x="255" y="250"/>
                      <a:pt x="255" y="250"/>
                    </a:cubicBezTo>
                    <a:cubicBezTo>
                      <a:pt x="254" y="250"/>
                      <a:pt x="254" y="250"/>
                      <a:pt x="254" y="249"/>
                    </a:cubicBezTo>
                    <a:cubicBezTo>
                      <a:pt x="254" y="249"/>
                      <a:pt x="254" y="249"/>
                      <a:pt x="254" y="250"/>
                    </a:cubicBezTo>
                    <a:cubicBezTo>
                      <a:pt x="254" y="249"/>
                      <a:pt x="254" y="249"/>
                      <a:pt x="254" y="249"/>
                    </a:cubicBezTo>
                    <a:cubicBezTo>
                      <a:pt x="254" y="248"/>
                      <a:pt x="255" y="248"/>
                      <a:pt x="255" y="247"/>
                    </a:cubicBezTo>
                    <a:cubicBezTo>
                      <a:pt x="255" y="247"/>
                      <a:pt x="255" y="247"/>
                      <a:pt x="256" y="248"/>
                    </a:cubicBezTo>
                    <a:cubicBezTo>
                      <a:pt x="256" y="248"/>
                      <a:pt x="256" y="248"/>
                      <a:pt x="255" y="249"/>
                    </a:cubicBezTo>
                    <a:cubicBezTo>
                      <a:pt x="255" y="249"/>
                      <a:pt x="255" y="249"/>
                      <a:pt x="256" y="249"/>
                    </a:cubicBezTo>
                    <a:cubicBezTo>
                      <a:pt x="256" y="249"/>
                      <a:pt x="256" y="249"/>
                      <a:pt x="256" y="249"/>
                    </a:cubicBezTo>
                    <a:cubicBezTo>
                      <a:pt x="256" y="250"/>
                      <a:pt x="257" y="249"/>
                      <a:pt x="257" y="248"/>
                    </a:cubicBezTo>
                    <a:cubicBezTo>
                      <a:pt x="257" y="247"/>
                      <a:pt x="257" y="247"/>
                      <a:pt x="257" y="247"/>
                    </a:cubicBezTo>
                    <a:cubicBezTo>
                      <a:pt x="257" y="246"/>
                      <a:pt x="257" y="246"/>
                      <a:pt x="257" y="246"/>
                    </a:cubicBezTo>
                    <a:cubicBezTo>
                      <a:pt x="257" y="245"/>
                      <a:pt x="257" y="244"/>
                      <a:pt x="257" y="243"/>
                    </a:cubicBezTo>
                    <a:cubicBezTo>
                      <a:pt x="257" y="242"/>
                      <a:pt x="257" y="242"/>
                      <a:pt x="257" y="242"/>
                    </a:cubicBezTo>
                    <a:cubicBezTo>
                      <a:pt x="258" y="241"/>
                      <a:pt x="258" y="241"/>
                      <a:pt x="259" y="240"/>
                    </a:cubicBezTo>
                    <a:cubicBezTo>
                      <a:pt x="260" y="239"/>
                      <a:pt x="260" y="239"/>
                      <a:pt x="260" y="238"/>
                    </a:cubicBezTo>
                    <a:cubicBezTo>
                      <a:pt x="260" y="237"/>
                      <a:pt x="260" y="237"/>
                      <a:pt x="259" y="237"/>
                    </a:cubicBezTo>
                    <a:cubicBezTo>
                      <a:pt x="258" y="237"/>
                      <a:pt x="258" y="237"/>
                      <a:pt x="258" y="237"/>
                    </a:cubicBezTo>
                    <a:cubicBezTo>
                      <a:pt x="258" y="238"/>
                      <a:pt x="257" y="237"/>
                      <a:pt x="256" y="237"/>
                    </a:cubicBezTo>
                    <a:cubicBezTo>
                      <a:pt x="255" y="236"/>
                      <a:pt x="255" y="237"/>
                      <a:pt x="254" y="237"/>
                    </a:cubicBezTo>
                    <a:cubicBezTo>
                      <a:pt x="253" y="237"/>
                      <a:pt x="251" y="238"/>
                      <a:pt x="250" y="238"/>
                    </a:cubicBezTo>
                    <a:cubicBezTo>
                      <a:pt x="249" y="238"/>
                      <a:pt x="249" y="239"/>
                      <a:pt x="248" y="239"/>
                    </a:cubicBezTo>
                    <a:cubicBezTo>
                      <a:pt x="247" y="240"/>
                      <a:pt x="248" y="240"/>
                      <a:pt x="248" y="241"/>
                    </a:cubicBezTo>
                    <a:cubicBezTo>
                      <a:pt x="248" y="242"/>
                      <a:pt x="248" y="243"/>
                      <a:pt x="248" y="244"/>
                    </a:cubicBezTo>
                    <a:cubicBezTo>
                      <a:pt x="247" y="244"/>
                      <a:pt x="247" y="244"/>
                      <a:pt x="247" y="245"/>
                    </a:cubicBezTo>
                    <a:cubicBezTo>
                      <a:pt x="247" y="246"/>
                      <a:pt x="246" y="246"/>
                      <a:pt x="246" y="247"/>
                    </a:cubicBezTo>
                    <a:cubicBezTo>
                      <a:pt x="245" y="247"/>
                      <a:pt x="245" y="247"/>
                      <a:pt x="245" y="247"/>
                    </a:cubicBezTo>
                    <a:cubicBezTo>
                      <a:pt x="245" y="248"/>
                      <a:pt x="245" y="248"/>
                      <a:pt x="245" y="248"/>
                    </a:cubicBezTo>
                    <a:cubicBezTo>
                      <a:pt x="245" y="248"/>
                      <a:pt x="245" y="248"/>
                      <a:pt x="245" y="249"/>
                    </a:cubicBezTo>
                    <a:cubicBezTo>
                      <a:pt x="245" y="249"/>
                      <a:pt x="245" y="249"/>
                      <a:pt x="245" y="249"/>
                    </a:cubicBezTo>
                    <a:cubicBezTo>
                      <a:pt x="245" y="249"/>
                      <a:pt x="245" y="249"/>
                      <a:pt x="244" y="249"/>
                    </a:cubicBezTo>
                    <a:cubicBezTo>
                      <a:pt x="244" y="250"/>
                      <a:pt x="243" y="249"/>
                      <a:pt x="243" y="249"/>
                    </a:cubicBezTo>
                    <a:cubicBezTo>
                      <a:pt x="243" y="248"/>
                      <a:pt x="243" y="248"/>
                      <a:pt x="243" y="248"/>
                    </a:cubicBezTo>
                    <a:cubicBezTo>
                      <a:pt x="243" y="248"/>
                      <a:pt x="241" y="249"/>
                      <a:pt x="241" y="249"/>
                    </a:cubicBezTo>
                    <a:cubicBezTo>
                      <a:pt x="241" y="249"/>
                      <a:pt x="241" y="249"/>
                      <a:pt x="241" y="249"/>
                    </a:cubicBezTo>
                    <a:cubicBezTo>
                      <a:pt x="241" y="249"/>
                      <a:pt x="240" y="249"/>
                      <a:pt x="240" y="249"/>
                    </a:cubicBezTo>
                    <a:cubicBezTo>
                      <a:pt x="240" y="249"/>
                      <a:pt x="240" y="249"/>
                      <a:pt x="240" y="249"/>
                    </a:cubicBezTo>
                    <a:cubicBezTo>
                      <a:pt x="239" y="250"/>
                      <a:pt x="239" y="249"/>
                      <a:pt x="239" y="249"/>
                    </a:cubicBezTo>
                    <a:cubicBezTo>
                      <a:pt x="239" y="249"/>
                      <a:pt x="238" y="249"/>
                      <a:pt x="238" y="250"/>
                    </a:cubicBezTo>
                    <a:cubicBezTo>
                      <a:pt x="237" y="250"/>
                      <a:pt x="237" y="250"/>
                      <a:pt x="236" y="250"/>
                    </a:cubicBezTo>
                    <a:cubicBezTo>
                      <a:pt x="235" y="251"/>
                      <a:pt x="235" y="250"/>
                      <a:pt x="234" y="250"/>
                    </a:cubicBezTo>
                    <a:cubicBezTo>
                      <a:pt x="234" y="249"/>
                      <a:pt x="234" y="249"/>
                      <a:pt x="234" y="249"/>
                    </a:cubicBezTo>
                    <a:cubicBezTo>
                      <a:pt x="233" y="248"/>
                      <a:pt x="232" y="249"/>
                      <a:pt x="232" y="249"/>
                    </a:cubicBezTo>
                    <a:cubicBezTo>
                      <a:pt x="232" y="248"/>
                      <a:pt x="231" y="248"/>
                      <a:pt x="230" y="247"/>
                    </a:cubicBezTo>
                    <a:cubicBezTo>
                      <a:pt x="229" y="246"/>
                      <a:pt x="230" y="244"/>
                      <a:pt x="228" y="243"/>
                    </a:cubicBezTo>
                    <a:cubicBezTo>
                      <a:pt x="227" y="242"/>
                      <a:pt x="225" y="238"/>
                      <a:pt x="225" y="237"/>
                    </a:cubicBezTo>
                    <a:cubicBezTo>
                      <a:pt x="224" y="236"/>
                      <a:pt x="224" y="235"/>
                      <a:pt x="224" y="235"/>
                    </a:cubicBezTo>
                    <a:cubicBezTo>
                      <a:pt x="224" y="234"/>
                      <a:pt x="224" y="234"/>
                      <a:pt x="224" y="234"/>
                    </a:cubicBezTo>
                    <a:cubicBezTo>
                      <a:pt x="224" y="233"/>
                      <a:pt x="224" y="231"/>
                      <a:pt x="224" y="231"/>
                    </a:cubicBezTo>
                    <a:cubicBezTo>
                      <a:pt x="224" y="228"/>
                      <a:pt x="224" y="228"/>
                      <a:pt x="224" y="228"/>
                    </a:cubicBezTo>
                    <a:cubicBezTo>
                      <a:pt x="224" y="225"/>
                      <a:pt x="226" y="221"/>
                      <a:pt x="226" y="220"/>
                    </a:cubicBezTo>
                    <a:cubicBezTo>
                      <a:pt x="225" y="219"/>
                      <a:pt x="225" y="219"/>
                      <a:pt x="225" y="219"/>
                    </a:cubicBezTo>
                    <a:cubicBezTo>
                      <a:pt x="226" y="220"/>
                      <a:pt x="226" y="220"/>
                      <a:pt x="226" y="220"/>
                    </a:cubicBezTo>
                    <a:cubicBezTo>
                      <a:pt x="227" y="220"/>
                      <a:pt x="226" y="220"/>
                      <a:pt x="226" y="219"/>
                    </a:cubicBezTo>
                    <a:cubicBezTo>
                      <a:pt x="226" y="219"/>
                      <a:pt x="226" y="219"/>
                      <a:pt x="225" y="218"/>
                    </a:cubicBezTo>
                    <a:cubicBezTo>
                      <a:pt x="225" y="217"/>
                      <a:pt x="225" y="216"/>
                      <a:pt x="225" y="216"/>
                    </a:cubicBezTo>
                    <a:cubicBezTo>
                      <a:pt x="225" y="216"/>
                      <a:pt x="225" y="214"/>
                      <a:pt x="225" y="214"/>
                    </a:cubicBezTo>
                    <a:cubicBezTo>
                      <a:pt x="225" y="214"/>
                      <a:pt x="225" y="213"/>
                      <a:pt x="225" y="212"/>
                    </a:cubicBezTo>
                    <a:cubicBezTo>
                      <a:pt x="225" y="212"/>
                      <a:pt x="225" y="212"/>
                      <a:pt x="225" y="212"/>
                    </a:cubicBezTo>
                    <a:cubicBezTo>
                      <a:pt x="225" y="212"/>
                      <a:pt x="226" y="211"/>
                      <a:pt x="227" y="210"/>
                    </a:cubicBezTo>
                    <a:cubicBezTo>
                      <a:pt x="227" y="210"/>
                      <a:pt x="227" y="210"/>
                      <a:pt x="227" y="210"/>
                    </a:cubicBezTo>
                    <a:cubicBezTo>
                      <a:pt x="227" y="210"/>
                      <a:pt x="227" y="209"/>
                      <a:pt x="228" y="209"/>
                    </a:cubicBezTo>
                    <a:cubicBezTo>
                      <a:pt x="228" y="209"/>
                      <a:pt x="228" y="210"/>
                      <a:pt x="228" y="209"/>
                    </a:cubicBezTo>
                    <a:cubicBezTo>
                      <a:pt x="229" y="209"/>
                      <a:pt x="229" y="209"/>
                      <a:pt x="229" y="209"/>
                    </a:cubicBezTo>
                    <a:cubicBezTo>
                      <a:pt x="229" y="209"/>
                      <a:pt x="228" y="209"/>
                      <a:pt x="228" y="208"/>
                    </a:cubicBezTo>
                    <a:cubicBezTo>
                      <a:pt x="228" y="208"/>
                      <a:pt x="228" y="208"/>
                      <a:pt x="228" y="208"/>
                    </a:cubicBezTo>
                    <a:cubicBezTo>
                      <a:pt x="229" y="207"/>
                      <a:pt x="229" y="208"/>
                      <a:pt x="229" y="208"/>
                    </a:cubicBezTo>
                    <a:cubicBezTo>
                      <a:pt x="230" y="208"/>
                      <a:pt x="230" y="208"/>
                      <a:pt x="230" y="208"/>
                    </a:cubicBezTo>
                    <a:cubicBezTo>
                      <a:pt x="230" y="208"/>
                      <a:pt x="231" y="208"/>
                      <a:pt x="232" y="207"/>
                    </a:cubicBezTo>
                    <a:cubicBezTo>
                      <a:pt x="232" y="207"/>
                      <a:pt x="232" y="207"/>
                      <a:pt x="232" y="206"/>
                    </a:cubicBezTo>
                    <a:cubicBezTo>
                      <a:pt x="233" y="205"/>
                      <a:pt x="233" y="205"/>
                      <a:pt x="233" y="205"/>
                    </a:cubicBezTo>
                    <a:cubicBezTo>
                      <a:pt x="234" y="205"/>
                      <a:pt x="233" y="205"/>
                      <a:pt x="233" y="205"/>
                    </a:cubicBezTo>
                    <a:cubicBezTo>
                      <a:pt x="233" y="204"/>
                      <a:pt x="233" y="204"/>
                      <a:pt x="233" y="204"/>
                    </a:cubicBezTo>
                    <a:cubicBezTo>
                      <a:pt x="233" y="203"/>
                      <a:pt x="233" y="204"/>
                      <a:pt x="233" y="203"/>
                    </a:cubicBezTo>
                    <a:cubicBezTo>
                      <a:pt x="233" y="203"/>
                      <a:pt x="234" y="203"/>
                      <a:pt x="234" y="203"/>
                    </a:cubicBezTo>
                    <a:cubicBezTo>
                      <a:pt x="234" y="203"/>
                      <a:pt x="234" y="203"/>
                      <a:pt x="234" y="203"/>
                    </a:cubicBezTo>
                    <a:cubicBezTo>
                      <a:pt x="234" y="204"/>
                      <a:pt x="234" y="204"/>
                      <a:pt x="234" y="204"/>
                    </a:cubicBezTo>
                    <a:cubicBezTo>
                      <a:pt x="234" y="204"/>
                      <a:pt x="234" y="204"/>
                      <a:pt x="234" y="204"/>
                    </a:cubicBezTo>
                    <a:cubicBezTo>
                      <a:pt x="234" y="204"/>
                      <a:pt x="235" y="204"/>
                      <a:pt x="235" y="204"/>
                    </a:cubicBezTo>
                    <a:cubicBezTo>
                      <a:pt x="235" y="204"/>
                      <a:pt x="236" y="204"/>
                      <a:pt x="236" y="204"/>
                    </a:cubicBezTo>
                    <a:cubicBezTo>
                      <a:pt x="237" y="204"/>
                      <a:pt x="237" y="204"/>
                      <a:pt x="237" y="204"/>
                    </a:cubicBezTo>
                    <a:cubicBezTo>
                      <a:pt x="238" y="203"/>
                      <a:pt x="238" y="204"/>
                      <a:pt x="238" y="204"/>
                    </a:cubicBezTo>
                    <a:cubicBezTo>
                      <a:pt x="239" y="203"/>
                      <a:pt x="239" y="204"/>
                      <a:pt x="240" y="204"/>
                    </a:cubicBezTo>
                    <a:cubicBezTo>
                      <a:pt x="240" y="204"/>
                      <a:pt x="241" y="204"/>
                      <a:pt x="241" y="204"/>
                    </a:cubicBezTo>
                    <a:cubicBezTo>
                      <a:pt x="241" y="204"/>
                      <a:pt x="241" y="204"/>
                      <a:pt x="242" y="204"/>
                    </a:cubicBezTo>
                    <a:cubicBezTo>
                      <a:pt x="242" y="204"/>
                      <a:pt x="242" y="204"/>
                      <a:pt x="242" y="204"/>
                    </a:cubicBezTo>
                    <a:cubicBezTo>
                      <a:pt x="242" y="204"/>
                      <a:pt x="242" y="204"/>
                      <a:pt x="242" y="203"/>
                    </a:cubicBezTo>
                    <a:cubicBezTo>
                      <a:pt x="243" y="203"/>
                      <a:pt x="243" y="203"/>
                      <a:pt x="243" y="203"/>
                    </a:cubicBezTo>
                    <a:cubicBezTo>
                      <a:pt x="243" y="203"/>
                      <a:pt x="243" y="203"/>
                      <a:pt x="244" y="203"/>
                    </a:cubicBezTo>
                    <a:cubicBezTo>
                      <a:pt x="244" y="203"/>
                      <a:pt x="244" y="204"/>
                      <a:pt x="244" y="204"/>
                    </a:cubicBezTo>
                    <a:cubicBezTo>
                      <a:pt x="244" y="204"/>
                      <a:pt x="244" y="204"/>
                      <a:pt x="244" y="204"/>
                    </a:cubicBezTo>
                    <a:cubicBezTo>
                      <a:pt x="245" y="205"/>
                      <a:pt x="245" y="205"/>
                      <a:pt x="245" y="205"/>
                    </a:cubicBezTo>
                    <a:cubicBezTo>
                      <a:pt x="246" y="206"/>
                      <a:pt x="246" y="205"/>
                      <a:pt x="246" y="206"/>
                    </a:cubicBezTo>
                    <a:cubicBezTo>
                      <a:pt x="246" y="206"/>
                      <a:pt x="247" y="206"/>
                      <a:pt x="247" y="206"/>
                    </a:cubicBezTo>
                    <a:cubicBezTo>
                      <a:pt x="247" y="206"/>
                      <a:pt x="247" y="206"/>
                      <a:pt x="248" y="206"/>
                    </a:cubicBezTo>
                    <a:cubicBezTo>
                      <a:pt x="248" y="206"/>
                      <a:pt x="248" y="206"/>
                      <a:pt x="248" y="205"/>
                    </a:cubicBezTo>
                    <a:cubicBezTo>
                      <a:pt x="248" y="205"/>
                      <a:pt x="248" y="206"/>
                      <a:pt x="248" y="206"/>
                    </a:cubicBezTo>
                    <a:cubicBezTo>
                      <a:pt x="249" y="206"/>
                      <a:pt x="249" y="206"/>
                      <a:pt x="249" y="206"/>
                    </a:cubicBezTo>
                    <a:cubicBezTo>
                      <a:pt x="249" y="206"/>
                      <a:pt x="249" y="206"/>
                      <a:pt x="249" y="205"/>
                    </a:cubicBezTo>
                    <a:cubicBezTo>
                      <a:pt x="249" y="205"/>
                      <a:pt x="249" y="205"/>
                      <a:pt x="249" y="205"/>
                    </a:cubicBezTo>
                    <a:cubicBezTo>
                      <a:pt x="249" y="205"/>
                      <a:pt x="250" y="205"/>
                      <a:pt x="250" y="206"/>
                    </a:cubicBezTo>
                    <a:cubicBezTo>
                      <a:pt x="250" y="206"/>
                      <a:pt x="251" y="206"/>
                      <a:pt x="251" y="206"/>
                    </a:cubicBezTo>
                    <a:cubicBezTo>
                      <a:pt x="251" y="206"/>
                      <a:pt x="252" y="207"/>
                      <a:pt x="252" y="207"/>
                    </a:cubicBezTo>
                    <a:cubicBezTo>
                      <a:pt x="252" y="207"/>
                      <a:pt x="252" y="206"/>
                      <a:pt x="253" y="206"/>
                    </a:cubicBezTo>
                    <a:cubicBezTo>
                      <a:pt x="253" y="206"/>
                      <a:pt x="252" y="205"/>
                      <a:pt x="252" y="205"/>
                    </a:cubicBezTo>
                    <a:cubicBezTo>
                      <a:pt x="251" y="205"/>
                      <a:pt x="251" y="205"/>
                      <a:pt x="250" y="205"/>
                    </a:cubicBezTo>
                    <a:cubicBezTo>
                      <a:pt x="250" y="205"/>
                      <a:pt x="250" y="205"/>
                      <a:pt x="250" y="205"/>
                    </a:cubicBezTo>
                    <a:cubicBezTo>
                      <a:pt x="250" y="204"/>
                      <a:pt x="251" y="204"/>
                      <a:pt x="251" y="203"/>
                    </a:cubicBezTo>
                    <a:cubicBezTo>
                      <a:pt x="251" y="203"/>
                      <a:pt x="251" y="203"/>
                      <a:pt x="251" y="203"/>
                    </a:cubicBezTo>
                    <a:cubicBezTo>
                      <a:pt x="251" y="203"/>
                      <a:pt x="251" y="203"/>
                      <a:pt x="251" y="202"/>
                    </a:cubicBezTo>
                    <a:cubicBezTo>
                      <a:pt x="251" y="202"/>
                      <a:pt x="251" y="202"/>
                      <a:pt x="250" y="202"/>
                    </a:cubicBezTo>
                    <a:cubicBezTo>
                      <a:pt x="250" y="202"/>
                      <a:pt x="250" y="202"/>
                      <a:pt x="250" y="202"/>
                    </a:cubicBezTo>
                    <a:cubicBezTo>
                      <a:pt x="250" y="202"/>
                      <a:pt x="251" y="202"/>
                      <a:pt x="251" y="202"/>
                    </a:cubicBezTo>
                    <a:cubicBezTo>
                      <a:pt x="251" y="202"/>
                      <a:pt x="251" y="201"/>
                      <a:pt x="251" y="201"/>
                    </a:cubicBezTo>
                    <a:cubicBezTo>
                      <a:pt x="252" y="201"/>
                      <a:pt x="252" y="201"/>
                      <a:pt x="252" y="201"/>
                    </a:cubicBezTo>
                    <a:cubicBezTo>
                      <a:pt x="253" y="201"/>
                      <a:pt x="253" y="201"/>
                      <a:pt x="254" y="201"/>
                    </a:cubicBezTo>
                    <a:cubicBezTo>
                      <a:pt x="254" y="201"/>
                      <a:pt x="254" y="201"/>
                      <a:pt x="255" y="201"/>
                    </a:cubicBezTo>
                    <a:cubicBezTo>
                      <a:pt x="255" y="201"/>
                      <a:pt x="255" y="201"/>
                      <a:pt x="255" y="201"/>
                    </a:cubicBezTo>
                    <a:cubicBezTo>
                      <a:pt x="255" y="200"/>
                      <a:pt x="255" y="200"/>
                      <a:pt x="255" y="200"/>
                    </a:cubicBezTo>
                    <a:cubicBezTo>
                      <a:pt x="255" y="199"/>
                      <a:pt x="255" y="199"/>
                      <a:pt x="255" y="199"/>
                    </a:cubicBezTo>
                    <a:cubicBezTo>
                      <a:pt x="255" y="200"/>
                      <a:pt x="255" y="199"/>
                      <a:pt x="255" y="199"/>
                    </a:cubicBezTo>
                    <a:cubicBezTo>
                      <a:pt x="256" y="199"/>
                      <a:pt x="256" y="199"/>
                      <a:pt x="256" y="199"/>
                    </a:cubicBezTo>
                    <a:cubicBezTo>
                      <a:pt x="256" y="199"/>
                      <a:pt x="256" y="200"/>
                      <a:pt x="256" y="200"/>
                    </a:cubicBezTo>
                    <a:cubicBezTo>
                      <a:pt x="256" y="200"/>
                      <a:pt x="256" y="200"/>
                      <a:pt x="256" y="201"/>
                    </a:cubicBezTo>
                    <a:cubicBezTo>
                      <a:pt x="256" y="201"/>
                      <a:pt x="256" y="201"/>
                      <a:pt x="257" y="201"/>
                    </a:cubicBezTo>
                    <a:cubicBezTo>
                      <a:pt x="257" y="201"/>
                      <a:pt x="257" y="201"/>
                      <a:pt x="257" y="201"/>
                    </a:cubicBezTo>
                    <a:cubicBezTo>
                      <a:pt x="257" y="201"/>
                      <a:pt x="258" y="201"/>
                      <a:pt x="259" y="201"/>
                    </a:cubicBezTo>
                    <a:cubicBezTo>
                      <a:pt x="259" y="201"/>
                      <a:pt x="260" y="201"/>
                      <a:pt x="261" y="201"/>
                    </a:cubicBezTo>
                    <a:cubicBezTo>
                      <a:pt x="263" y="201"/>
                      <a:pt x="263" y="202"/>
                      <a:pt x="263" y="202"/>
                    </a:cubicBezTo>
                    <a:cubicBezTo>
                      <a:pt x="263" y="203"/>
                      <a:pt x="263" y="203"/>
                      <a:pt x="264" y="203"/>
                    </a:cubicBezTo>
                    <a:cubicBezTo>
                      <a:pt x="265" y="204"/>
                      <a:pt x="265" y="204"/>
                      <a:pt x="265" y="204"/>
                    </a:cubicBezTo>
                    <a:cubicBezTo>
                      <a:pt x="265" y="204"/>
                      <a:pt x="265" y="203"/>
                      <a:pt x="266" y="203"/>
                    </a:cubicBezTo>
                    <a:cubicBezTo>
                      <a:pt x="266" y="203"/>
                      <a:pt x="266" y="203"/>
                      <a:pt x="267" y="202"/>
                    </a:cubicBezTo>
                    <a:cubicBezTo>
                      <a:pt x="268" y="202"/>
                      <a:pt x="268" y="202"/>
                      <a:pt x="268" y="202"/>
                    </a:cubicBezTo>
                    <a:cubicBezTo>
                      <a:pt x="269" y="202"/>
                      <a:pt x="269" y="203"/>
                      <a:pt x="270" y="204"/>
                    </a:cubicBezTo>
                    <a:cubicBezTo>
                      <a:pt x="271" y="205"/>
                      <a:pt x="271" y="205"/>
                      <a:pt x="271" y="206"/>
                    </a:cubicBezTo>
                    <a:cubicBezTo>
                      <a:pt x="272" y="206"/>
                      <a:pt x="272" y="206"/>
                      <a:pt x="273" y="207"/>
                    </a:cubicBezTo>
                    <a:cubicBezTo>
                      <a:pt x="273" y="208"/>
                      <a:pt x="273" y="209"/>
                      <a:pt x="272" y="210"/>
                    </a:cubicBezTo>
                    <a:cubicBezTo>
                      <a:pt x="272" y="210"/>
                      <a:pt x="272" y="210"/>
                      <a:pt x="272" y="211"/>
                    </a:cubicBezTo>
                    <a:cubicBezTo>
                      <a:pt x="272" y="212"/>
                      <a:pt x="273" y="213"/>
                      <a:pt x="273" y="213"/>
                    </a:cubicBezTo>
                    <a:cubicBezTo>
                      <a:pt x="273" y="214"/>
                      <a:pt x="273" y="214"/>
                      <a:pt x="274" y="215"/>
                    </a:cubicBezTo>
                    <a:cubicBezTo>
                      <a:pt x="275" y="216"/>
                      <a:pt x="274" y="216"/>
                      <a:pt x="275" y="217"/>
                    </a:cubicBezTo>
                    <a:cubicBezTo>
                      <a:pt x="275" y="217"/>
                      <a:pt x="275" y="217"/>
                      <a:pt x="275" y="218"/>
                    </a:cubicBezTo>
                    <a:cubicBezTo>
                      <a:pt x="275" y="218"/>
                      <a:pt x="275" y="219"/>
                      <a:pt x="276" y="219"/>
                    </a:cubicBezTo>
                    <a:cubicBezTo>
                      <a:pt x="276" y="220"/>
                      <a:pt x="276" y="219"/>
                      <a:pt x="277" y="220"/>
                    </a:cubicBezTo>
                    <a:cubicBezTo>
                      <a:pt x="277" y="220"/>
                      <a:pt x="277" y="221"/>
                      <a:pt x="277" y="222"/>
                    </a:cubicBezTo>
                    <a:cubicBezTo>
                      <a:pt x="278" y="222"/>
                      <a:pt x="278" y="222"/>
                      <a:pt x="278" y="223"/>
                    </a:cubicBezTo>
                    <a:cubicBezTo>
                      <a:pt x="279" y="223"/>
                      <a:pt x="279" y="223"/>
                      <a:pt x="279" y="222"/>
                    </a:cubicBezTo>
                    <a:cubicBezTo>
                      <a:pt x="280" y="222"/>
                      <a:pt x="280" y="221"/>
                      <a:pt x="280" y="220"/>
                    </a:cubicBezTo>
                    <a:cubicBezTo>
                      <a:pt x="281" y="219"/>
                      <a:pt x="281" y="217"/>
                      <a:pt x="281" y="216"/>
                    </a:cubicBezTo>
                    <a:cubicBezTo>
                      <a:pt x="281" y="216"/>
                      <a:pt x="281" y="215"/>
                      <a:pt x="281" y="214"/>
                    </a:cubicBezTo>
                    <a:cubicBezTo>
                      <a:pt x="280" y="214"/>
                      <a:pt x="279" y="211"/>
                      <a:pt x="279" y="210"/>
                    </a:cubicBezTo>
                    <a:cubicBezTo>
                      <a:pt x="279" y="210"/>
                      <a:pt x="279" y="208"/>
                      <a:pt x="279" y="208"/>
                    </a:cubicBezTo>
                    <a:cubicBezTo>
                      <a:pt x="279" y="208"/>
                      <a:pt x="278" y="206"/>
                      <a:pt x="278" y="206"/>
                    </a:cubicBezTo>
                    <a:cubicBezTo>
                      <a:pt x="278" y="205"/>
                      <a:pt x="276" y="201"/>
                      <a:pt x="276" y="201"/>
                    </a:cubicBezTo>
                    <a:cubicBezTo>
                      <a:pt x="276" y="200"/>
                      <a:pt x="277" y="199"/>
                      <a:pt x="277" y="198"/>
                    </a:cubicBezTo>
                    <a:cubicBezTo>
                      <a:pt x="277" y="198"/>
                      <a:pt x="277" y="196"/>
                      <a:pt x="278" y="196"/>
                    </a:cubicBezTo>
                    <a:cubicBezTo>
                      <a:pt x="278" y="195"/>
                      <a:pt x="279" y="194"/>
                      <a:pt x="279" y="193"/>
                    </a:cubicBezTo>
                    <a:cubicBezTo>
                      <a:pt x="279" y="193"/>
                      <a:pt x="279" y="193"/>
                      <a:pt x="279" y="193"/>
                    </a:cubicBezTo>
                    <a:cubicBezTo>
                      <a:pt x="279" y="193"/>
                      <a:pt x="279" y="193"/>
                      <a:pt x="279" y="193"/>
                    </a:cubicBezTo>
                    <a:cubicBezTo>
                      <a:pt x="280" y="192"/>
                      <a:pt x="280" y="192"/>
                      <a:pt x="281" y="191"/>
                    </a:cubicBezTo>
                    <a:cubicBezTo>
                      <a:pt x="283" y="190"/>
                      <a:pt x="282" y="190"/>
                      <a:pt x="283" y="190"/>
                    </a:cubicBezTo>
                    <a:cubicBezTo>
                      <a:pt x="284" y="190"/>
                      <a:pt x="284" y="189"/>
                      <a:pt x="284" y="189"/>
                    </a:cubicBezTo>
                    <a:cubicBezTo>
                      <a:pt x="284" y="189"/>
                      <a:pt x="285" y="187"/>
                      <a:pt x="286" y="187"/>
                    </a:cubicBezTo>
                    <a:cubicBezTo>
                      <a:pt x="287" y="186"/>
                      <a:pt x="288" y="186"/>
                      <a:pt x="288" y="186"/>
                    </a:cubicBezTo>
                    <a:cubicBezTo>
                      <a:pt x="288" y="186"/>
                      <a:pt x="288" y="185"/>
                      <a:pt x="288" y="185"/>
                    </a:cubicBezTo>
                    <a:cubicBezTo>
                      <a:pt x="288" y="184"/>
                      <a:pt x="289" y="184"/>
                      <a:pt x="290" y="183"/>
                    </a:cubicBezTo>
                    <a:cubicBezTo>
                      <a:pt x="291" y="183"/>
                      <a:pt x="290" y="183"/>
                      <a:pt x="291" y="183"/>
                    </a:cubicBezTo>
                    <a:cubicBezTo>
                      <a:pt x="291" y="183"/>
                      <a:pt x="292" y="183"/>
                      <a:pt x="293" y="182"/>
                    </a:cubicBezTo>
                    <a:cubicBezTo>
                      <a:pt x="293" y="182"/>
                      <a:pt x="293" y="182"/>
                      <a:pt x="293" y="182"/>
                    </a:cubicBezTo>
                    <a:cubicBezTo>
                      <a:pt x="293" y="182"/>
                      <a:pt x="293" y="182"/>
                      <a:pt x="292" y="182"/>
                    </a:cubicBezTo>
                    <a:cubicBezTo>
                      <a:pt x="292" y="182"/>
                      <a:pt x="292" y="182"/>
                      <a:pt x="291" y="182"/>
                    </a:cubicBezTo>
                    <a:cubicBezTo>
                      <a:pt x="291" y="182"/>
                      <a:pt x="291" y="182"/>
                      <a:pt x="291" y="182"/>
                    </a:cubicBezTo>
                    <a:cubicBezTo>
                      <a:pt x="291" y="182"/>
                      <a:pt x="290" y="182"/>
                      <a:pt x="291" y="181"/>
                    </a:cubicBezTo>
                    <a:cubicBezTo>
                      <a:pt x="291" y="181"/>
                      <a:pt x="291" y="181"/>
                      <a:pt x="291" y="181"/>
                    </a:cubicBezTo>
                    <a:cubicBezTo>
                      <a:pt x="292" y="182"/>
                      <a:pt x="292" y="182"/>
                      <a:pt x="292" y="182"/>
                    </a:cubicBezTo>
                    <a:cubicBezTo>
                      <a:pt x="292" y="181"/>
                      <a:pt x="292" y="181"/>
                      <a:pt x="292" y="180"/>
                    </a:cubicBezTo>
                    <a:cubicBezTo>
                      <a:pt x="292" y="180"/>
                      <a:pt x="292" y="180"/>
                      <a:pt x="292" y="180"/>
                    </a:cubicBezTo>
                    <a:cubicBezTo>
                      <a:pt x="292" y="180"/>
                      <a:pt x="292" y="180"/>
                      <a:pt x="293" y="180"/>
                    </a:cubicBezTo>
                    <a:cubicBezTo>
                      <a:pt x="293" y="180"/>
                      <a:pt x="293" y="180"/>
                      <a:pt x="293" y="180"/>
                    </a:cubicBezTo>
                    <a:cubicBezTo>
                      <a:pt x="293" y="180"/>
                      <a:pt x="294" y="180"/>
                      <a:pt x="294" y="179"/>
                    </a:cubicBezTo>
                    <a:cubicBezTo>
                      <a:pt x="294" y="179"/>
                      <a:pt x="295" y="179"/>
                      <a:pt x="295" y="179"/>
                    </a:cubicBezTo>
                    <a:cubicBezTo>
                      <a:pt x="295" y="178"/>
                      <a:pt x="295" y="178"/>
                      <a:pt x="295" y="178"/>
                    </a:cubicBezTo>
                    <a:cubicBezTo>
                      <a:pt x="295" y="178"/>
                      <a:pt x="294" y="178"/>
                      <a:pt x="294" y="179"/>
                    </a:cubicBezTo>
                    <a:cubicBezTo>
                      <a:pt x="294" y="178"/>
                      <a:pt x="294" y="178"/>
                      <a:pt x="294" y="178"/>
                    </a:cubicBezTo>
                    <a:cubicBezTo>
                      <a:pt x="294" y="178"/>
                      <a:pt x="294" y="178"/>
                      <a:pt x="294" y="177"/>
                    </a:cubicBezTo>
                    <a:cubicBezTo>
                      <a:pt x="293" y="177"/>
                      <a:pt x="293" y="178"/>
                      <a:pt x="292" y="178"/>
                    </a:cubicBezTo>
                    <a:cubicBezTo>
                      <a:pt x="292" y="178"/>
                      <a:pt x="292" y="178"/>
                      <a:pt x="291" y="178"/>
                    </a:cubicBezTo>
                    <a:cubicBezTo>
                      <a:pt x="291" y="178"/>
                      <a:pt x="291" y="178"/>
                      <a:pt x="291" y="178"/>
                    </a:cubicBezTo>
                    <a:cubicBezTo>
                      <a:pt x="291" y="178"/>
                      <a:pt x="291" y="178"/>
                      <a:pt x="292" y="177"/>
                    </a:cubicBezTo>
                    <a:cubicBezTo>
                      <a:pt x="292" y="177"/>
                      <a:pt x="292" y="177"/>
                      <a:pt x="293" y="177"/>
                    </a:cubicBezTo>
                    <a:cubicBezTo>
                      <a:pt x="293" y="177"/>
                      <a:pt x="293" y="177"/>
                      <a:pt x="293" y="177"/>
                    </a:cubicBezTo>
                    <a:cubicBezTo>
                      <a:pt x="294" y="176"/>
                      <a:pt x="294" y="176"/>
                      <a:pt x="294" y="176"/>
                    </a:cubicBezTo>
                    <a:cubicBezTo>
                      <a:pt x="294" y="176"/>
                      <a:pt x="294" y="176"/>
                      <a:pt x="294" y="176"/>
                    </a:cubicBezTo>
                    <a:cubicBezTo>
                      <a:pt x="294" y="176"/>
                      <a:pt x="294" y="175"/>
                      <a:pt x="294" y="175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294" y="173"/>
                      <a:pt x="294" y="173"/>
                      <a:pt x="294" y="173"/>
                    </a:cubicBezTo>
                    <a:cubicBezTo>
                      <a:pt x="294" y="173"/>
                      <a:pt x="294" y="173"/>
                      <a:pt x="294" y="173"/>
                    </a:cubicBezTo>
                    <a:cubicBezTo>
                      <a:pt x="294" y="173"/>
                      <a:pt x="293" y="173"/>
                      <a:pt x="293" y="173"/>
                    </a:cubicBezTo>
                    <a:cubicBezTo>
                      <a:pt x="293" y="173"/>
                      <a:pt x="293" y="173"/>
                      <a:pt x="293" y="173"/>
                    </a:cubicBezTo>
                    <a:cubicBezTo>
                      <a:pt x="293" y="173"/>
                      <a:pt x="293" y="172"/>
                      <a:pt x="293" y="172"/>
                    </a:cubicBezTo>
                    <a:cubicBezTo>
                      <a:pt x="293" y="172"/>
                      <a:pt x="293" y="171"/>
                      <a:pt x="293" y="170"/>
                    </a:cubicBezTo>
                    <a:cubicBezTo>
                      <a:pt x="293" y="170"/>
                      <a:pt x="293" y="170"/>
                      <a:pt x="293" y="170"/>
                    </a:cubicBezTo>
                    <a:cubicBezTo>
                      <a:pt x="293" y="170"/>
                      <a:pt x="293" y="169"/>
                      <a:pt x="293" y="169"/>
                    </a:cubicBezTo>
                    <a:cubicBezTo>
                      <a:pt x="293" y="169"/>
                      <a:pt x="292" y="169"/>
                      <a:pt x="292" y="169"/>
                    </a:cubicBezTo>
                    <a:cubicBezTo>
                      <a:pt x="292" y="169"/>
                      <a:pt x="292" y="169"/>
                      <a:pt x="292" y="169"/>
                    </a:cubicBezTo>
                    <a:cubicBezTo>
                      <a:pt x="292" y="169"/>
                      <a:pt x="292" y="168"/>
                      <a:pt x="291" y="168"/>
                    </a:cubicBezTo>
                    <a:cubicBezTo>
                      <a:pt x="291" y="168"/>
                      <a:pt x="291" y="168"/>
                      <a:pt x="291" y="168"/>
                    </a:cubicBezTo>
                    <a:cubicBezTo>
                      <a:pt x="291" y="167"/>
                      <a:pt x="290" y="167"/>
                      <a:pt x="290" y="167"/>
                    </a:cubicBezTo>
                    <a:cubicBezTo>
                      <a:pt x="290" y="167"/>
                      <a:pt x="291" y="167"/>
                      <a:pt x="291" y="167"/>
                    </a:cubicBezTo>
                    <a:cubicBezTo>
                      <a:pt x="291" y="167"/>
                      <a:pt x="291" y="167"/>
                      <a:pt x="291" y="167"/>
                    </a:cubicBezTo>
                    <a:cubicBezTo>
                      <a:pt x="292" y="168"/>
                      <a:pt x="292" y="168"/>
                      <a:pt x="292" y="168"/>
                    </a:cubicBezTo>
                    <a:cubicBezTo>
                      <a:pt x="292" y="168"/>
                      <a:pt x="292" y="168"/>
                      <a:pt x="292" y="168"/>
                    </a:cubicBezTo>
                    <a:cubicBezTo>
                      <a:pt x="292" y="167"/>
                      <a:pt x="292" y="167"/>
                      <a:pt x="292" y="166"/>
                    </a:cubicBezTo>
                    <a:cubicBezTo>
                      <a:pt x="292" y="166"/>
                      <a:pt x="292" y="166"/>
                      <a:pt x="292" y="166"/>
                    </a:cubicBezTo>
                    <a:cubicBezTo>
                      <a:pt x="292" y="166"/>
                      <a:pt x="292" y="164"/>
                      <a:pt x="292" y="164"/>
                    </a:cubicBezTo>
                    <a:cubicBezTo>
                      <a:pt x="292" y="163"/>
                      <a:pt x="293" y="163"/>
                      <a:pt x="293" y="163"/>
                    </a:cubicBezTo>
                    <a:cubicBezTo>
                      <a:pt x="293" y="162"/>
                      <a:pt x="294" y="162"/>
                      <a:pt x="294" y="162"/>
                    </a:cubicBezTo>
                    <a:cubicBezTo>
                      <a:pt x="294" y="162"/>
                      <a:pt x="294" y="162"/>
                      <a:pt x="294" y="163"/>
                    </a:cubicBezTo>
                    <a:cubicBezTo>
                      <a:pt x="294" y="163"/>
                      <a:pt x="294" y="163"/>
                      <a:pt x="293" y="164"/>
                    </a:cubicBezTo>
                    <a:cubicBezTo>
                      <a:pt x="293" y="165"/>
                      <a:pt x="293" y="165"/>
                      <a:pt x="293" y="166"/>
                    </a:cubicBezTo>
                    <a:cubicBezTo>
                      <a:pt x="293" y="167"/>
                      <a:pt x="293" y="167"/>
                      <a:pt x="294" y="167"/>
                    </a:cubicBezTo>
                    <a:cubicBezTo>
                      <a:pt x="294" y="168"/>
                      <a:pt x="294" y="168"/>
                      <a:pt x="295" y="169"/>
                    </a:cubicBezTo>
                    <a:cubicBezTo>
                      <a:pt x="295" y="169"/>
                      <a:pt x="295" y="170"/>
                      <a:pt x="295" y="170"/>
                    </a:cubicBezTo>
                    <a:cubicBezTo>
                      <a:pt x="295" y="169"/>
                      <a:pt x="296" y="169"/>
                      <a:pt x="296" y="169"/>
                    </a:cubicBezTo>
                    <a:cubicBezTo>
                      <a:pt x="296" y="168"/>
                      <a:pt x="296" y="168"/>
                      <a:pt x="297" y="167"/>
                    </a:cubicBezTo>
                    <a:cubicBezTo>
                      <a:pt x="297" y="166"/>
                      <a:pt x="297" y="166"/>
                      <a:pt x="297" y="166"/>
                    </a:cubicBezTo>
                    <a:cubicBezTo>
                      <a:pt x="297" y="165"/>
                      <a:pt x="296" y="165"/>
                      <a:pt x="296" y="164"/>
                    </a:cubicBezTo>
                    <a:cubicBezTo>
                      <a:pt x="296" y="164"/>
                      <a:pt x="296" y="163"/>
                      <a:pt x="296" y="163"/>
                    </a:cubicBezTo>
                    <a:cubicBezTo>
                      <a:pt x="296" y="163"/>
                      <a:pt x="296" y="163"/>
                      <a:pt x="296" y="163"/>
                    </a:cubicBezTo>
                    <a:cubicBezTo>
                      <a:pt x="295" y="163"/>
                      <a:pt x="295" y="162"/>
                      <a:pt x="296" y="162"/>
                    </a:cubicBezTo>
                    <a:cubicBezTo>
                      <a:pt x="296" y="163"/>
                      <a:pt x="296" y="163"/>
                      <a:pt x="296" y="163"/>
                    </a:cubicBezTo>
                    <a:cubicBezTo>
                      <a:pt x="296" y="163"/>
                      <a:pt x="296" y="163"/>
                      <a:pt x="297" y="163"/>
                    </a:cubicBezTo>
                    <a:cubicBezTo>
                      <a:pt x="297" y="164"/>
                      <a:pt x="297" y="163"/>
                      <a:pt x="297" y="164"/>
                    </a:cubicBezTo>
                    <a:cubicBezTo>
                      <a:pt x="298" y="164"/>
                      <a:pt x="298" y="164"/>
                      <a:pt x="298" y="164"/>
                    </a:cubicBezTo>
                    <a:cubicBezTo>
                      <a:pt x="298" y="165"/>
                      <a:pt x="298" y="164"/>
                      <a:pt x="298" y="163"/>
                    </a:cubicBezTo>
                    <a:cubicBezTo>
                      <a:pt x="299" y="163"/>
                      <a:pt x="299" y="163"/>
                      <a:pt x="299" y="162"/>
                    </a:cubicBezTo>
                    <a:cubicBezTo>
                      <a:pt x="300" y="162"/>
                      <a:pt x="300" y="161"/>
                      <a:pt x="300" y="160"/>
                    </a:cubicBezTo>
                    <a:cubicBezTo>
                      <a:pt x="300" y="159"/>
                      <a:pt x="300" y="159"/>
                      <a:pt x="300" y="159"/>
                    </a:cubicBezTo>
                    <a:cubicBezTo>
                      <a:pt x="300" y="159"/>
                      <a:pt x="300" y="159"/>
                      <a:pt x="300" y="159"/>
                    </a:cubicBezTo>
                    <a:cubicBezTo>
                      <a:pt x="300" y="159"/>
                      <a:pt x="300" y="158"/>
                      <a:pt x="300" y="158"/>
                    </a:cubicBezTo>
                    <a:cubicBezTo>
                      <a:pt x="300" y="157"/>
                      <a:pt x="300" y="157"/>
                      <a:pt x="300" y="157"/>
                    </a:cubicBezTo>
                    <a:cubicBezTo>
                      <a:pt x="300" y="157"/>
                      <a:pt x="301" y="157"/>
                      <a:pt x="301" y="156"/>
                    </a:cubicBezTo>
                    <a:cubicBezTo>
                      <a:pt x="302" y="156"/>
                      <a:pt x="302" y="155"/>
                      <a:pt x="303" y="155"/>
                    </a:cubicBezTo>
                    <a:cubicBezTo>
                      <a:pt x="303" y="155"/>
                      <a:pt x="305" y="155"/>
                      <a:pt x="306" y="154"/>
                    </a:cubicBezTo>
                    <a:cubicBezTo>
                      <a:pt x="308" y="154"/>
                      <a:pt x="308" y="154"/>
                      <a:pt x="308" y="154"/>
                    </a:cubicBezTo>
                    <a:cubicBezTo>
                      <a:pt x="308" y="154"/>
                      <a:pt x="308" y="154"/>
                      <a:pt x="308" y="154"/>
                    </a:cubicBezTo>
                    <a:cubicBezTo>
                      <a:pt x="308" y="154"/>
                      <a:pt x="308" y="153"/>
                      <a:pt x="308" y="153"/>
                    </a:cubicBezTo>
                    <a:cubicBezTo>
                      <a:pt x="308" y="153"/>
                      <a:pt x="309" y="152"/>
                      <a:pt x="309" y="152"/>
                    </a:cubicBezTo>
                    <a:cubicBezTo>
                      <a:pt x="309" y="153"/>
                      <a:pt x="309" y="153"/>
                      <a:pt x="309" y="153"/>
                    </a:cubicBezTo>
                    <a:cubicBezTo>
                      <a:pt x="310" y="153"/>
                      <a:pt x="310" y="153"/>
                      <a:pt x="310" y="153"/>
                    </a:cubicBezTo>
                    <a:cubicBezTo>
                      <a:pt x="310" y="153"/>
                      <a:pt x="310" y="153"/>
                      <a:pt x="310" y="153"/>
                    </a:cubicBezTo>
                    <a:cubicBezTo>
                      <a:pt x="310" y="153"/>
                      <a:pt x="311" y="153"/>
                      <a:pt x="311" y="153"/>
                    </a:cubicBezTo>
                    <a:cubicBezTo>
                      <a:pt x="311" y="153"/>
                      <a:pt x="312" y="153"/>
                      <a:pt x="312" y="153"/>
                    </a:cubicBezTo>
                    <a:cubicBezTo>
                      <a:pt x="313" y="153"/>
                      <a:pt x="313" y="153"/>
                      <a:pt x="313" y="152"/>
                    </a:cubicBezTo>
                    <a:cubicBezTo>
                      <a:pt x="313" y="152"/>
                      <a:pt x="313" y="152"/>
                      <a:pt x="313" y="152"/>
                    </a:cubicBezTo>
                    <a:cubicBezTo>
                      <a:pt x="313" y="152"/>
                      <a:pt x="313" y="152"/>
                      <a:pt x="312" y="152"/>
                    </a:cubicBezTo>
                    <a:cubicBezTo>
                      <a:pt x="312" y="152"/>
                      <a:pt x="312" y="152"/>
                      <a:pt x="312" y="152"/>
                    </a:cubicBezTo>
                    <a:cubicBezTo>
                      <a:pt x="311" y="152"/>
                      <a:pt x="311" y="152"/>
                      <a:pt x="311" y="152"/>
                    </a:cubicBezTo>
                    <a:cubicBezTo>
                      <a:pt x="311" y="152"/>
                      <a:pt x="311" y="152"/>
                      <a:pt x="311" y="151"/>
                    </a:cubicBezTo>
                    <a:cubicBezTo>
                      <a:pt x="311" y="151"/>
                      <a:pt x="311" y="151"/>
                      <a:pt x="311" y="151"/>
                    </a:cubicBezTo>
                    <a:cubicBezTo>
                      <a:pt x="311" y="151"/>
                      <a:pt x="310" y="150"/>
                      <a:pt x="310" y="149"/>
                    </a:cubicBezTo>
                    <a:cubicBezTo>
                      <a:pt x="311" y="148"/>
                      <a:pt x="311" y="148"/>
                      <a:pt x="311" y="148"/>
                    </a:cubicBezTo>
                    <a:cubicBezTo>
                      <a:pt x="311" y="148"/>
                      <a:pt x="310" y="147"/>
                      <a:pt x="310" y="147"/>
                    </a:cubicBezTo>
                    <a:cubicBezTo>
                      <a:pt x="311" y="146"/>
                      <a:pt x="311" y="146"/>
                      <a:pt x="312" y="145"/>
                    </a:cubicBezTo>
                    <a:cubicBezTo>
                      <a:pt x="312" y="144"/>
                      <a:pt x="312" y="144"/>
                      <a:pt x="312" y="144"/>
                    </a:cubicBezTo>
                    <a:cubicBezTo>
                      <a:pt x="312" y="144"/>
                      <a:pt x="313" y="144"/>
                      <a:pt x="313" y="143"/>
                    </a:cubicBezTo>
                    <a:cubicBezTo>
                      <a:pt x="313" y="143"/>
                      <a:pt x="313" y="143"/>
                      <a:pt x="314" y="143"/>
                    </a:cubicBezTo>
                    <a:cubicBezTo>
                      <a:pt x="314" y="143"/>
                      <a:pt x="314" y="143"/>
                      <a:pt x="314" y="143"/>
                    </a:cubicBezTo>
                    <a:cubicBezTo>
                      <a:pt x="314" y="142"/>
                      <a:pt x="314" y="142"/>
                      <a:pt x="314" y="142"/>
                    </a:cubicBezTo>
                    <a:cubicBezTo>
                      <a:pt x="314" y="142"/>
                      <a:pt x="315" y="142"/>
                      <a:pt x="315" y="142"/>
                    </a:cubicBezTo>
                    <a:cubicBezTo>
                      <a:pt x="315" y="142"/>
                      <a:pt x="315" y="142"/>
                      <a:pt x="315" y="142"/>
                    </a:cubicBezTo>
                    <a:cubicBezTo>
                      <a:pt x="315" y="142"/>
                      <a:pt x="315" y="142"/>
                      <a:pt x="315" y="142"/>
                    </a:cubicBezTo>
                    <a:cubicBezTo>
                      <a:pt x="316" y="142"/>
                      <a:pt x="316" y="142"/>
                      <a:pt x="316" y="142"/>
                    </a:cubicBezTo>
                    <a:cubicBezTo>
                      <a:pt x="316" y="141"/>
                      <a:pt x="316" y="141"/>
                      <a:pt x="316" y="141"/>
                    </a:cubicBezTo>
                    <a:cubicBezTo>
                      <a:pt x="316" y="141"/>
                      <a:pt x="317" y="141"/>
                      <a:pt x="317" y="141"/>
                    </a:cubicBezTo>
                    <a:cubicBezTo>
                      <a:pt x="317" y="141"/>
                      <a:pt x="317" y="141"/>
                      <a:pt x="317" y="141"/>
                    </a:cubicBezTo>
                    <a:cubicBezTo>
                      <a:pt x="318" y="141"/>
                      <a:pt x="318" y="140"/>
                      <a:pt x="318" y="140"/>
                    </a:cubicBezTo>
                    <a:cubicBezTo>
                      <a:pt x="319" y="140"/>
                      <a:pt x="319" y="140"/>
                      <a:pt x="320" y="140"/>
                    </a:cubicBezTo>
                    <a:cubicBezTo>
                      <a:pt x="320" y="140"/>
                      <a:pt x="320" y="140"/>
                      <a:pt x="320" y="140"/>
                    </a:cubicBezTo>
                    <a:cubicBezTo>
                      <a:pt x="320" y="140"/>
                      <a:pt x="320" y="140"/>
                      <a:pt x="320" y="140"/>
                    </a:cubicBezTo>
                    <a:cubicBezTo>
                      <a:pt x="320" y="140"/>
                      <a:pt x="321" y="140"/>
                      <a:pt x="321" y="140"/>
                    </a:cubicBezTo>
                    <a:cubicBezTo>
                      <a:pt x="322" y="140"/>
                      <a:pt x="322" y="140"/>
                      <a:pt x="322" y="140"/>
                    </a:cubicBezTo>
                    <a:cubicBezTo>
                      <a:pt x="322" y="139"/>
                      <a:pt x="322" y="139"/>
                      <a:pt x="322" y="139"/>
                    </a:cubicBezTo>
                    <a:cubicBezTo>
                      <a:pt x="323" y="138"/>
                      <a:pt x="322" y="138"/>
                      <a:pt x="322" y="138"/>
                    </a:cubicBezTo>
                    <a:cubicBezTo>
                      <a:pt x="322" y="138"/>
                      <a:pt x="322" y="138"/>
                      <a:pt x="322" y="138"/>
                    </a:cubicBezTo>
                    <a:cubicBezTo>
                      <a:pt x="322" y="137"/>
                      <a:pt x="322" y="137"/>
                      <a:pt x="322" y="137"/>
                    </a:cubicBezTo>
                    <a:cubicBezTo>
                      <a:pt x="321" y="138"/>
                      <a:pt x="321" y="138"/>
                      <a:pt x="321" y="138"/>
                    </a:cubicBezTo>
                    <a:cubicBezTo>
                      <a:pt x="321" y="138"/>
                      <a:pt x="321" y="138"/>
                      <a:pt x="321" y="138"/>
                    </a:cubicBezTo>
                    <a:cubicBezTo>
                      <a:pt x="322" y="137"/>
                      <a:pt x="322" y="137"/>
                      <a:pt x="322" y="137"/>
                    </a:cubicBezTo>
                    <a:cubicBezTo>
                      <a:pt x="322" y="137"/>
                      <a:pt x="322" y="137"/>
                      <a:pt x="322" y="137"/>
                    </a:cubicBezTo>
                    <a:cubicBezTo>
                      <a:pt x="323" y="137"/>
                      <a:pt x="323" y="137"/>
                      <a:pt x="323" y="137"/>
                    </a:cubicBezTo>
                    <a:cubicBezTo>
                      <a:pt x="324" y="138"/>
                      <a:pt x="323" y="137"/>
                      <a:pt x="324" y="137"/>
                    </a:cubicBezTo>
                    <a:cubicBezTo>
                      <a:pt x="325" y="137"/>
                      <a:pt x="325" y="137"/>
                      <a:pt x="325" y="137"/>
                    </a:cubicBezTo>
                    <a:cubicBezTo>
                      <a:pt x="325" y="137"/>
                      <a:pt x="325" y="137"/>
                      <a:pt x="325" y="136"/>
                    </a:cubicBezTo>
                    <a:cubicBezTo>
                      <a:pt x="325" y="136"/>
                      <a:pt x="325" y="136"/>
                      <a:pt x="325" y="136"/>
                    </a:cubicBezTo>
                    <a:cubicBezTo>
                      <a:pt x="325" y="137"/>
                      <a:pt x="326" y="137"/>
                      <a:pt x="327" y="137"/>
                    </a:cubicBezTo>
                    <a:cubicBezTo>
                      <a:pt x="327" y="136"/>
                      <a:pt x="328" y="136"/>
                      <a:pt x="328" y="136"/>
                    </a:cubicBezTo>
                    <a:cubicBezTo>
                      <a:pt x="328" y="136"/>
                      <a:pt x="329" y="135"/>
                      <a:pt x="330" y="135"/>
                    </a:cubicBezTo>
                    <a:cubicBezTo>
                      <a:pt x="330" y="134"/>
                      <a:pt x="330" y="134"/>
                      <a:pt x="330" y="134"/>
                    </a:cubicBezTo>
                    <a:cubicBezTo>
                      <a:pt x="330" y="134"/>
                      <a:pt x="330" y="134"/>
                      <a:pt x="330" y="134"/>
                    </a:cubicBezTo>
                    <a:cubicBezTo>
                      <a:pt x="330" y="134"/>
                      <a:pt x="330" y="134"/>
                      <a:pt x="330" y="133"/>
                    </a:cubicBezTo>
                    <a:cubicBezTo>
                      <a:pt x="330" y="133"/>
                      <a:pt x="330" y="133"/>
                      <a:pt x="330" y="133"/>
                    </a:cubicBezTo>
                    <a:cubicBezTo>
                      <a:pt x="330" y="134"/>
                      <a:pt x="331" y="134"/>
                      <a:pt x="331" y="134"/>
                    </a:cubicBezTo>
                    <a:cubicBezTo>
                      <a:pt x="331" y="134"/>
                      <a:pt x="331" y="134"/>
                      <a:pt x="331" y="134"/>
                    </a:cubicBezTo>
                    <a:cubicBezTo>
                      <a:pt x="331" y="134"/>
                      <a:pt x="331" y="134"/>
                      <a:pt x="331" y="135"/>
                    </a:cubicBezTo>
                    <a:cubicBezTo>
                      <a:pt x="330" y="135"/>
                      <a:pt x="330" y="135"/>
                      <a:pt x="330" y="135"/>
                    </a:cubicBezTo>
                    <a:cubicBezTo>
                      <a:pt x="330" y="136"/>
                      <a:pt x="330" y="136"/>
                      <a:pt x="330" y="136"/>
                    </a:cubicBezTo>
                    <a:cubicBezTo>
                      <a:pt x="330" y="136"/>
                      <a:pt x="330" y="136"/>
                      <a:pt x="330" y="136"/>
                    </a:cubicBezTo>
                    <a:cubicBezTo>
                      <a:pt x="330" y="136"/>
                      <a:pt x="330" y="136"/>
                      <a:pt x="330" y="136"/>
                    </a:cubicBezTo>
                    <a:cubicBezTo>
                      <a:pt x="330" y="136"/>
                      <a:pt x="331" y="136"/>
                      <a:pt x="331" y="136"/>
                    </a:cubicBezTo>
                    <a:cubicBezTo>
                      <a:pt x="332" y="136"/>
                      <a:pt x="332" y="136"/>
                      <a:pt x="332" y="136"/>
                    </a:cubicBezTo>
                    <a:cubicBezTo>
                      <a:pt x="333" y="136"/>
                      <a:pt x="333" y="136"/>
                      <a:pt x="334" y="136"/>
                    </a:cubicBezTo>
                    <a:cubicBezTo>
                      <a:pt x="334" y="136"/>
                      <a:pt x="335" y="136"/>
                      <a:pt x="334" y="136"/>
                    </a:cubicBezTo>
                    <a:cubicBezTo>
                      <a:pt x="334" y="137"/>
                      <a:pt x="334" y="136"/>
                      <a:pt x="333" y="136"/>
                    </a:cubicBezTo>
                    <a:cubicBezTo>
                      <a:pt x="333" y="136"/>
                      <a:pt x="333" y="137"/>
                      <a:pt x="332" y="137"/>
                    </a:cubicBezTo>
                    <a:cubicBezTo>
                      <a:pt x="332" y="137"/>
                      <a:pt x="332" y="137"/>
                      <a:pt x="332" y="137"/>
                    </a:cubicBezTo>
                    <a:cubicBezTo>
                      <a:pt x="331" y="137"/>
                      <a:pt x="331" y="137"/>
                      <a:pt x="331" y="137"/>
                    </a:cubicBezTo>
                    <a:cubicBezTo>
                      <a:pt x="331" y="137"/>
                      <a:pt x="331" y="137"/>
                      <a:pt x="331" y="137"/>
                    </a:cubicBezTo>
                    <a:cubicBezTo>
                      <a:pt x="331" y="137"/>
                      <a:pt x="331" y="137"/>
                      <a:pt x="330" y="137"/>
                    </a:cubicBezTo>
                    <a:cubicBezTo>
                      <a:pt x="329" y="138"/>
                      <a:pt x="329" y="138"/>
                      <a:pt x="329" y="138"/>
                    </a:cubicBezTo>
                    <a:cubicBezTo>
                      <a:pt x="327" y="138"/>
                      <a:pt x="327" y="139"/>
                      <a:pt x="326" y="139"/>
                    </a:cubicBezTo>
                    <a:cubicBezTo>
                      <a:pt x="326" y="140"/>
                      <a:pt x="326" y="141"/>
                      <a:pt x="325" y="142"/>
                    </a:cubicBezTo>
                    <a:cubicBezTo>
                      <a:pt x="325" y="142"/>
                      <a:pt x="326" y="143"/>
                      <a:pt x="326" y="143"/>
                    </a:cubicBezTo>
                    <a:cubicBezTo>
                      <a:pt x="326" y="144"/>
                      <a:pt x="326" y="143"/>
                      <a:pt x="326" y="143"/>
                    </a:cubicBezTo>
                    <a:cubicBezTo>
                      <a:pt x="327" y="143"/>
                      <a:pt x="327" y="144"/>
                      <a:pt x="327" y="144"/>
                    </a:cubicBezTo>
                    <a:cubicBezTo>
                      <a:pt x="327" y="145"/>
                      <a:pt x="327" y="145"/>
                      <a:pt x="328" y="144"/>
                    </a:cubicBezTo>
                    <a:cubicBezTo>
                      <a:pt x="328" y="144"/>
                      <a:pt x="328" y="144"/>
                      <a:pt x="328" y="144"/>
                    </a:cubicBezTo>
                    <a:cubicBezTo>
                      <a:pt x="328" y="144"/>
                      <a:pt x="328" y="143"/>
                      <a:pt x="328" y="143"/>
                    </a:cubicBezTo>
                    <a:cubicBezTo>
                      <a:pt x="329" y="143"/>
                      <a:pt x="329" y="143"/>
                      <a:pt x="329" y="143"/>
                    </a:cubicBezTo>
                    <a:cubicBezTo>
                      <a:pt x="330" y="143"/>
                      <a:pt x="330" y="142"/>
                      <a:pt x="330" y="142"/>
                    </a:cubicBezTo>
                    <a:cubicBezTo>
                      <a:pt x="330" y="142"/>
                      <a:pt x="330" y="142"/>
                      <a:pt x="330" y="142"/>
                    </a:cubicBezTo>
                    <a:cubicBezTo>
                      <a:pt x="331" y="142"/>
                      <a:pt x="331" y="141"/>
                      <a:pt x="331" y="140"/>
                    </a:cubicBezTo>
                    <a:cubicBezTo>
                      <a:pt x="331" y="140"/>
                      <a:pt x="331" y="140"/>
                      <a:pt x="331" y="140"/>
                    </a:cubicBezTo>
                    <a:cubicBezTo>
                      <a:pt x="331" y="140"/>
                      <a:pt x="332" y="140"/>
                      <a:pt x="332" y="140"/>
                    </a:cubicBezTo>
                    <a:cubicBezTo>
                      <a:pt x="332" y="139"/>
                      <a:pt x="332" y="140"/>
                      <a:pt x="333" y="140"/>
                    </a:cubicBezTo>
                    <a:cubicBezTo>
                      <a:pt x="333" y="140"/>
                      <a:pt x="333" y="140"/>
                      <a:pt x="334" y="140"/>
                    </a:cubicBezTo>
                    <a:cubicBezTo>
                      <a:pt x="334" y="140"/>
                      <a:pt x="333" y="140"/>
                      <a:pt x="333" y="139"/>
                    </a:cubicBezTo>
                    <a:cubicBezTo>
                      <a:pt x="333" y="139"/>
                      <a:pt x="334" y="139"/>
                      <a:pt x="334" y="139"/>
                    </a:cubicBezTo>
                    <a:cubicBezTo>
                      <a:pt x="334" y="140"/>
                      <a:pt x="335" y="139"/>
                      <a:pt x="335" y="139"/>
                    </a:cubicBezTo>
                    <a:cubicBezTo>
                      <a:pt x="336" y="139"/>
                      <a:pt x="336" y="139"/>
                      <a:pt x="336" y="139"/>
                    </a:cubicBezTo>
                    <a:cubicBezTo>
                      <a:pt x="337" y="139"/>
                      <a:pt x="338" y="138"/>
                      <a:pt x="338" y="138"/>
                    </a:cubicBezTo>
                    <a:cubicBezTo>
                      <a:pt x="339" y="138"/>
                      <a:pt x="339" y="138"/>
                      <a:pt x="339" y="138"/>
                    </a:cubicBezTo>
                    <a:cubicBezTo>
                      <a:pt x="340" y="137"/>
                      <a:pt x="341" y="137"/>
                      <a:pt x="341" y="137"/>
                    </a:cubicBezTo>
                    <a:cubicBezTo>
                      <a:pt x="342" y="137"/>
                      <a:pt x="342" y="137"/>
                      <a:pt x="341" y="136"/>
                    </a:cubicBezTo>
                    <a:cubicBezTo>
                      <a:pt x="341" y="136"/>
                      <a:pt x="341" y="136"/>
                      <a:pt x="341" y="136"/>
                    </a:cubicBezTo>
                    <a:cubicBezTo>
                      <a:pt x="341" y="136"/>
                      <a:pt x="341" y="136"/>
                      <a:pt x="341" y="136"/>
                    </a:cubicBezTo>
                    <a:cubicBezTo>
                      <a:pt x="341" y="136"/>
                      <a:pt x="341" y="136"/>
                      <a:pt x="341" y="136"/>
                    </a:cubicBezTo>
                    <a:cubicBezTo>
                      <a:pt x="341" y="135"/>
                      <a:pt x="341" y="135"/>
                      <a:pt x="341" y="135"/>
                    </a:cubicBezTo>
                    <a:cubicBezTo>
                      <a:pt x="341" y="135"/>
                      <a:pt x="340" y="135"/>
                      <a:pt x="340" y="135"/>
                    </a:cubicBezTo>
                    <a:cubicBezTo>
                      <a:pt x="339" y="135"/>
                      <a:pt x="339" y="135"/>
                      <a:pt x="339" y="135"/>
                    </a:cubicBezTo>
                    <a:cubicBezTo>
                      <a:pt x="339" y="135"/>
                      <a:pt x="339" y="134"/>
                      <a:pt x="339" y="134"/>
                    </a:cubicBezTo>
                    <a:cubicBezTo>
                      <a:pt x="339" y="134"/>
                      <a:pt x="339" y="134"/>
                      <a:pt x="339" y="134"/>
                    </a:cubicBezTo>
                    <a:cubicBezTo>
                      <a:pt x="339" y="134"/>
                      <a:pt x="338" y="134"/>
                      <a:pt x="338" y="134"/>
                    </a:cubicBezTo>
                    <a:cubicBezTo>
                      <a:pt x="338" y="134"/>
                      <a:pt x="337" y="135"/>
                      <a:pt x="337" y="135"/>
                    </a:cubicBezTo>
                    <a:cubicBezTo>
                      <a:pt x="337" y="135"/>
                      <a:pt x="337" y="135"/>
                      <a:pt x="337" y="135"/>
                    </a:cubicBezTo>
                    <a:cubicBezTo>
                      <a:pt x="337" y="135"/>
                      <a:pt x="337" y="135"/>
                      <a:pt x="337" y="135"/>
                    </a:cubicBezTo>
                    <a:cubicBezTo>
                      <a:pt x="336" y="135"/>
                      <a:pt x="336" y="134"/>
                      <a:pt x="336" y="134"/>
                    </a:cubicBezTo>
                    <a:cubicBezTo>
                      <a:pt x="335" y="134"/>
                      <a:pt x="335" y="134"/>
                      <a:pt x="334" y="134"/>
                    </a:cubicBezTo>
                    <a:cubicBezTo>
                      <a:pt x="334" y="134"/>
                      <a:pt x="334" y="134"/>
                      <a:pt x="334" y="134"/>
                    </a:cubicBezTo>
                    <a:cubicBezTo>
                      <a:pt x="334" y="134"/>
                      <a:pt x="333" y="134"/>
                      <a:pt x="333" y="134"/>
                    </a:cubicBezTo>
                    <a:cubicBezTo>
                      <a:pt x="333" y="133"/>
                      <a:pt x="333" y="133"/>
                      <a:pt x="333" y="133"/>
                    </a:cubicBezTo>
                    <a:cubicBezTo>
                      <a:pt x="333" y="133"/>
                      <a:pt x="333" y="133"/>
                      <a:pt x="333" y="133"/>
                    </a:cubicBezTo>
                    <a:cubicBezTo>
                      <a:pt x="333" y="133"/>
                      <a:pt x="332" y="132"/>
                      <a:pt x="332" y="132"/>
                    </a:cubicBezTo>
                    <a:cubicBezTo>
                      <a:pt x="331" y="132"/>
                      <a:pt x="331" y="132"/>
                      <a:pt x="331" y="132"/>
                    </a:cubicBezTo>
                    <a:cubicBezTo>
                      <a:pt x="330" y="132"/>
                      <a:pt x="331" y="132"/>
                      <a:pt x="331" y="132"/>
                    </a:cubicBezTo>
                    <a:cubicBezTo>
                      <a:pt x="331" y="132"/>
                      <a:pt x="331" y="132"/>
                      <a:pt x="331" y="132"/>
                    </a:cubicBezTo>
                    <a:cubicBezTo>
                      <a:pt x="331" y="131"/>
                      <a:pt x="330" y="131"/>
                      <a:pt x="330" y="130"/>
                    </a:cubicBezTo>
                    <a:cubicBezTo>
                      <a:pt x="330" y="130"/>
                      <a:pt x="330" y="130"/>
                      <a:pt x="330" y="130"/>
                    </a:cubicBezTo>
                    <a:cubicBezTo>
                      <a:pt x="330" y="130"/>
                      <a:pt x="330" y="130"/>
                      <a:pt x="330" y="130"/>
                    </a:cubicBezTo>
                    <a:cubicBezTo>
                      <a:pt x="329" y="130"/>
                      <a:pt x="330" y="130"/>
                      <a:pt x="330" y="129"/>
                    </a:cubicBezTo>
                    <a:cubicBezTo>
                      <a:pt x="330" y="129"/>
                      <a:pt x="330" y="129"/>
                      <a:pt x="330" y="128"/>
                    </a:cubicBezTo>
                    <a:cubicBezTo>
                      <a:pt x="330" y="128"/>
                      <a:pt x="329" y="128"/>
                      <a:pt x="329" y="128"/>
                    </a:cubicBezTo>
                    <a:cubicBezTo>
                      <a:pt x="329" y="128"/>
                      <a:pt x="328" y="128"/>
                      <a:pt x="328" y="128"/>
                    </a:cubicBezTo>
                    <a:cubicBezTo>
                      <a:pt x="328" y="128"/>
                      <a:pt x="328" y="128"/>
                      <a:pt x="329" y="128"/>
                    </a:cubicBezTo>
                    <a:cubicBezTo>
                      <a:pt x="329" y="128"/>
                      <a:pt x="329" y="127"/>
                      <a:pt x="329" y="127"/>
                    </a:cubicBezTo>
                    <a:cubicBezTo>
                      <a:pt x="330" y="127"/>
                      <a:pt x="329" y="127"/>
                      <a:pt x="329" y="126"/>
                    </a:cubicBezTo>
                    <a:cubicBezTo>
                      <a:pt x="329" y="126"/>
                      <a:pt x="330" y="126"/>
                      <a:pt x="330" y="126"/>
                    </a:cubicBezTo>
                    <a:cubicBezTo>
                      <a:pt x="330" y="126"/>
                      <a:pt x="330" y="126"/>
                      <a:pt x="330" y="125"/>
                    </a:cubicBezTo>
                    <a:cubicBezTo>
                      <a:pt x="330" y="125"/>
                      <a:pt x="330" y="125"/>
                      <a:pt x="329" y="125"/>
                    </a:cubicBezTo>
                    <a:cubicBezTo>
                      <a:pt x="328" y="125"/>
                      <a:pt x="329" y="125"/>
                      <a:pt x="329" y="125"/>
                    </a:cubicBezTo>
                    <a:cubicBezTo>
                      <a:pt x="328" y="125"/>
                      <a:pt x="328" y="125"/>
                      <a:pt x="328" y="125"/>
                    </a:cubicBezTo>
                    <a:cubicBezTo>
                      <a:pt x="327" y="125"/>
                      <a:pt x="327" y="126"/>
                      <a:pt x="327" y="126"/>
                    </a:cubicBezTo>
                    <a:cubicBezTo>
                      <a:pt x="327" y="126"/>
                      <a:pt x="327" y="125"/>
                      <a:pt x="327" y="125"/>
                    </a:cubicBezTo>
                    <a:cubicBezTo>
                      <a:pt x="327" y="125"/>
                      <a:pt x="327" y="125"/>
                      <a:pt x="327" y="125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3"/>
                    </a:cubicBezTo>
                    <a:cubicBezTo>
                      <a:pt x="326" y="123"/>
                      <a:pt x="326" y="123"/>
                      <a:pt x="326" y="123"/>
                    </a:cubicBezTo>
                    <a:cubicBezTo>
                      <a:pt x="326" y="123"/>
                      <a:pt x="326" y="123"/>
                      <a:pt x="326" y="123"/>
                    </a:cubicBezTo>
                    <a:cubicBezTo>
                      <a:pt x="326" y="123"/>
                      <a:pt x="326" y="123"/>
                      <a:pt x="327" y="124"/>
                    </a:cubicBezTo>
                    <a:cubicBezTo>
                      <a:pt x="327" y="124"/>
                      <a:pt x="327" y="124"/>
                      <a:pt x="327" y="124"/>
                    </a:cubicBezTo>
                    <a:cubicBezTo>
                      <a:pt x="327" y="124"/>
                      <a:pt x="328" y="124"/>
                      <a:pt x="328" y="124"/>
                    </a:cubicBezTo>
                    <a:cubicBezTo>
                      <a:pt x="329" y="124"/>
                      <a:pt x="329" y="124"/>
                      <a:pt x="329" y="124"/>
                    </a:cubicBezTo>
                    <a:cubicBezTo>
                      <a:pt x="329" y="123"/>
                      <a:pt x="329" y="123"/>
                      <a:pt x="329" y="123"/>
                    </a:cubicBezTo>
                    <a:cubicBezTo>
                      <a:pt x="329" y="123"/>
                      <a:pt x="329" y="123"/>
                      <a:pt x="330" y="123"/>
                    </a:cubicBezTo>
                    <a:cubicBezTo>
                      <a:pt x="330" y="123"/>
                      <a:pt x="330" y="123"/>
                      <a:pt x="330" y="123"/>
                    </a:cubicBezTo>
                    <a:cubicBezTo>
                      <a:pt x="331" y="123"/>
                      <a:pt x="331" y="123"/>
                      <a:pt x="331" y="123"/>
                    </a:cubicBezTo>
                    <a:cubicBezTo>
                      <a:pt x="331" y="123"/>
                      <a:pt x="332" y="122"/>
                      <a:pt x="332" y="121"/>
                    </a:cubicBezTo>
                    <a:cubicBezTo>
                      <a:pt x="332" y="120"/>
                      <a:pt x="332" y="120"/>
                      <a:pt x="332" y="120"/>
                    </a:cubicBezTo>
                    <a:cubicBezTo>
                      <a:pt x="332" y="120"/>
                      <a:pt x="330" y="119"/>
                      <a:pt x="327" y="118"/>
                    </a:cubicBezTo>
                    <a:cubicBezTo>
                      <a:pt x="325" y="118"/>
                      <a:pt x="320" y="121"/>
                      <a:pt x="319" y="121"/>
                    </a:cubicBezTo>
                    <a:cubicBezTo>
                      <a:pt x="318" y="122"/>
                      <a:pt x="315" y="124"/>
                      <a:pt x="315" y="124"/>
                    </a:cubicBezTo>
                    <a:cubicBezTo>
                      <a:pt x="315" y="124"/>
                      <a:pt x="314" y="126"/>
                      <a:pt x="313" y="127"/>
                    </a:cubicBezTo>
                    <a:cubicBezTo>
                      <a:pt x="312" y="129"/>
                      <a:pt x="311" y="129"/>
                      <a:pt x="310" y="129"/>
                    </a:cubicBezTo>
                    <a:cubicBezTo>
                      <a:pt x="310" y="129"/>
                      <a:pt x="310" y="130"/>
                      <a:pt x="310" y="130"/>
                    </a:cubicBezTo>
                    <a:cubicBezTo>
                      <a:pt x="309" y="130"/>
                      <a:pt x="309" y="130"/>
                      <a:pt x="309" y="130"/>
                    </a:cubicBezTo>
                    <a:cubicBezTo>
                      <a:pt x="309" y="130"/>
                      <a:pt x="309" y="129"/>
                      <a:pt x="310" y="129"/>
                    </a:cubicBezTo>
                    <a:cubicBezTo>
                      <a:pt x="310" y="129"/>
                      <a:pt x="311" y="128"/>
                      <a:pt x="311" y="128"/>
                    </a:cubicBezTo>
                    <a:cubicBezTo>
                      <a:pt x="311" y="127"/>
                      <a:pt x="312" y="127"/>
                      <a:pt x="312" y="127"/>
                    </a:cubicBezTo>
                    <a:cubicBezTo>
                      <a:pt x="312" y="126"/>
                      <a:pt x="313" y="126"/>
                      <a:pt x="313" y="125"/>
                    </a:cubicBezTo>
                    <a:cubicBezTo>
                      <a:pt x="314" y="125"/>
                      <a:pt x="314" y="124"/>
                      <a:pt x="314" y="124"/>
                    </a:cubicBezTo>
                    <a:cubicBezTo>
                      <a:pt x="314" y="123"/>
                      <a:pt x="315" y="122"/>
                      <a:pt x="315" y="122"/>
                    </a:cubicBezTo>
                    <a:cubicBezTo>
                      <a:pt x="315" y="122"/>
                      <a:pt x="315" y="122"/>
                      <a:pt x="316" y="121"/>
                    </a:cubicBezTo>
                    <a:cubicBezTo>
                      <a:pt x="316" y="121"/>
                      <a:pt x="316" y="121"/>
                      <a:pt x="316" y="121"/>
                    </a:cubicBezTo>
                    <a:cubicBezTo>
                      <a:pt x="317" y="120"/>
                      <a:pt x="318" y="119"/>
                      <a:pt x="318" y="119"/>
                    </a:cubicBezTo>
                    <a:cubicBezTo>
                      <a:pt x="318" y="119"/>
                      <a:pt x="318" y="119"/>
                      <a:pt x="318" y="119"/>
                    </a:cubicBezTo>
                    <a:cubicBezTo>
                      <a:pt x="318" y="119"/>
                      <a:pt x="319" y="119"/>
                      <a:pt x="319" y="119"/>
                    </a:cubicBezTo>
                    <a:cubicBezTo>
                      <a:pt x="319" y="119"/>
                      <a:pt x="319" y="119"/>
                      <a:pt x="319" y="119"/>
                    </a:cubicBezTo>
                    <a:cubicBezTo>
                      <a:pt x="319" y="119"/>
                      <a:pt x="319" y="118"/>
                      <a:pt x="320" y="118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118"/>
                      <a:pt x="320" y="118"/>
                      <a:pt x="321" y="118"/>
                    </a:cubicBezTo>
                    <a:cubicBezTo>
                      <a:pt x="322" y="118"/>
                      <a:pt x="322" y="116"/>
                      <a:pt x="322" y="116"/>
                    </a:cubicBezTo>
                    <a:cubicBezTo>
                      <a:pt x="323" y="115"/>
                      <a:pt x="323" y="115"/>
                      <a:pt x="323" y="115"/>
                    </a:cubicBezTo>
                    <a:cubicBezTo>
                      <a:pt x="323" y="115"/>
                      <a:pt x="323" y="115"/>
                      <a:pt x="324" y="114"/>
                    </a:cubicBezTo>
                    <a:cubicBezTo>
                      <a:pt x="324" y="114"/>
                      <a:pt x="324" y="114"/>
                      <a:pt x="324" y="114"/>
                    </a:cubicBezTo>
                    <a:cubicBezTo>
                      <a:pt x="324" y="114"/>
                      <a:pt x="325" y="114"/>
                      <a:pt x="325" y="114"/>
                    </a:cubicBezTo>
                    <a:cubicBezTo>
                      <a:pt x="325" y="114"/>
                      <a:pt x="326" y="114"/>
                      <a:pt x="326" y="114"/>
                    </a:cubicBezTo>
                    <a:cubicBezTo>
                      <a:pt x="326" y="114"/>
                      <a:pt x="329" y="113"/>
                      <a:pt x="329" y="113"/>
                    </a:cubicBezTo>
                    <a:cubicBezTo>
                      <a:pt x="330" y="113"/>
                      <a:pt x="331" y="113"/>
                      <a:pt x="331" y="113"/>
                    </a:cubicBezTo>
                    <a:cubicBezTo>
                      <a:pt x="332" y="114"/>
                      <a:pt x="333" y="113"/>
                      <a:pt x="333" y="113"/>
                    </a:cubicBezTo>
                    <a:cubicBezTo>
                      <a:pt x="333" y="113"/>
                      <a:pt x="334" y="113"/>
                      <a:pt x="334" y="114"/>
                    </a:cubicBezTo>
                    <a:cubicBezTo>
                      <a:pt x="334" y="114"/>
                      <a:pt x="334" y="114"/>
                      <a:pt x="334" y="114"/>
                    </a:cubicBezTo>
                    <a:cubicBezTo>
                      <a:pt x="335" y="114"/>
                      <a:pt x="337" y="113"/>
                      <a:pt x="337" y="114"/>
                    </a:cubicBezTo>
                    <a:cubicBezTo>
                      <a:pt x="337" y="114"/>
                      <a:pt x="338" y="114"/>
                      <a:pt x="339" y="114"/>
                    </a:cubicBezTo>
                    <a:cubicBezTo>
                      <a:pt x="340" y="114"/>
                      <a:pt x="339" y="114"/>
                      <a:pt x="340" y="114"/>
                    </a:cubicBezTo>
                    <a:cubicBezTo>
                      <a:pt x="340" y="115"/>
                      <a:pt x="341" y="114"/>
                      <a:pt x="341" y="114"/>
                    </a:cubicBezTo>
                    <a:cubicBezTo>
                      <a:pt x="342" y="114"/>
                      <a:pt x="343" y="114"/>
                      <a:pt x="344" y="114"/>
                    </a:cubicBezTo>
                    <a:cubicBezTo>
                      <a:pt x="344" y="114"/>
                      <a:pt x="345" y="114"/>
                      <a:pt x="346" y="114"/>
                    </a:cubicBezTo>
                    <a:cubicBezTo>
                      <a:pt x="346" y="113"/>
                      <a:pt x="346" y="113"/>
                      <a:pt x="346" y="113"/>
                    </a:cubicBezTo>
                    <a:cubicBezTo>
                      <a:pt x="346" y="113"/>
                      <a:pt x="346" y="113"/>
                      <a:pt x="346" y="112"/>
                    </a:cubicBezTo>
                    <a:cubicBezTo>
                      <a:pt x="346" y="112"/>
                      <a:pt x="346" y="112"/>
                      <a:pt x="346" y="112"/>
                    </a:cubicBezTo>
                    <a:cubicBezTo>
                      <a:pt x="347" y="112"/>
                      <a:pt x="347" y="112"/>
                      <a:pt x="347" y="111"/>
                    </a:cubicBezTo>
                    <a:cubicBezTo>
                      <a:pt x="348" y="111"/>
                      <a:pt x="348" y="111"/>
                      <a:pt x="348" y="111"/>
                    </a:cubicBezTo>
                    <a:cubicBezTo>
                      <a:pt x="348" y="111"/>
                      <a:pt x="348" y="111"/>
                      <a:pt x="349" y="111"/>
                    </a:cubicBezTo>
                    <a:cubicBezTo>
                      <a:pt x="349" y="110"/>
                      <a:pt x="349" y="110"/>
                      <a:pt x="349" y="110"/>
                    </a:cubicBezTo>
                    <a:cubicBezTo>
                      <a:pt x="349" y="110"/>
                      <a:pt x="349" y="109"/>
                      <a:pt x="349" y="109"/>
                    </a:cubicBezTo>
                    <a:cubicBezTo>
                      <a:pt x="349" y="109"/>
                      <a:pt x="350" y="109"/>
                      <a:pt x="350" y="109"/>
                    </a:cubicBezTo>
                    <a:cubicBezTo>
                      <a:pt x="350" y="109"/>
                      <a:pt x="350" y="109"/>
                      <a:pt x="350" y="109"/>
                    </a:cubicBezTo>
                    <a:cubicBezTo>
                      <a:pt x="350" y="109"/>
                      <a:pt x="351" y="109"/>
                      <a:pt x="351" y="108"/>
                    </a:cubicBezTo>
                    <a:cubicBezTo>
                      <a:pt x="352" y="108"/>
                      <a:pt x="352" y="108"/>
                      <a:pt x="352" y="108"/>
                    </a:cubicBezTo>
                    <a:cubicBezTo>
                      <a:pt x="352" y="108"/>
                      <a:pt x="353" y="108"/>
                      <a:pt x="353" y="108"/>
                    </a:cubicBezTo>
                    <a:cubicBezTo>
                      <a:pt x="354" y="108"/>
                      <a:pt x="354" y="108"/>
                      <a:pt x="354" y="108"/>
                    </a:cubicBezTo>
                    <a:cubicBezTo>
                      <a:pt x="354" y="108"/>
                      <a:pt x="354" y="108"/>
                      <a:pt x="354" y="108"/>
                    </a:cubicBezTo>
                    <a:cubicBezTo>
                      <a:pt x="355" y="108"/>
                      <a:pt x="355" y="108"/>
                      <a:pt x="355" y="108"/>
                    </a:cubicBezTo>
                    <a:cubicBezTo>
                      <a:pt x="355" y="108"/>
                      <a:pt x="356" y="107"/>
                      <a:pt x="357" y="107"/>
                    </a:cubicBezTo>
                    <a:cubicBezTo>
                      <a:pt x="357" y="106"/>
                      <a:pt x="358" y="106"/>
                      <a:pt x="358" y="106"/>
                    </a:cubicBezTo>
                    <a:cubicBezTo>
                      <a:pt x="358" y="105"/>
                      <a:pt x="358" y="105"/>
                      <a:pt x="358" y="105"/>
                    </a:cubicBezTo>
                    <a:cubicBezTo>
                      <a:pt x="358" y="105"/>
                      <a:pt x="358" y="105"/>
                      <a:pt x="359" y="105"/>
                    </a:cubicBezTo>
                    <a:cubicBezTo>
                      <a:pt x="359" y="105"/>
                      <a:pt x="359" y="105"/>
                      <a:pt x="359" y="105"/>
                    </a:cubicBezTo>
                    <a:cubicBezTo>
                      <a:pt x="359" y="105"/>
                      <a:pt x="359" y="105"/>
                      <a:pt x="359" y="105"/>
                    </a:cubicBezTo>
                    <a:cubicBezTo>
                      <a:pt x="359" y="104"/>
                      <a:pt x="359" y="104"/>
                      <a:pt x="359" y="103"/>
                    </a:cubicBezTo>
                    <a:cubicBezTo>
                      <a:pt x="359" y="103"/>
                      <a:pt x="359" y="103"/>
                      <a:pt x="359" y="103"/>
                    </a:cubicBezTo>
                    <a:cubicBezTo>
                      <a:pt x="359" y="103"/>
                      <a:pt x="359" y="103"/>
                      <a:pt x="359" y="103"/>
                    </a:cubicBezTo>
                    <a:cubicBezTo>
                      <a:pt x="358" y="103"/>
                      <a:pt x="358" y="103"/>
                      <a:pt x="359" y="102"/>
                    </a:cubicBezTo>
                    <a:cubicBezTo>
                      <a:pt x="359" y="102"/>
                      <a:pt x="359" y="102"/>
                      <a:pt x="359" y="102"/>
                    </a:cubicBezTo>
                    <a:cubicBezTo>
                      <a:pt x="359" y="102"/>
                      <a:pt x="359" y="102"/>
                      <a:pt x="359" y="102"/>
                    </a:cubicBezTo>
                    <a:cubicBezTo>
                      <a:pt x="358" y="102"/>
                      <a:pt x="358" y="102"/>
                      <a:pt x="358" y="101"/>
                    </a:cubicBezTo>
                    <a:cubicBezTo>
                      <a:pt x="358" y="101"/>
                      <a:pt x="358" y="101"/>
                      <a:pt x="358" y="101"/>
                    </a:cubicBezTo>
                    <a:cubicBezTo>
                      <a:pt x="358" y="101"/>
                      <a:pt x="359" y="101"/>
                      <a:pt x="359" y="101"/>
                    </a:cubicBezTo>
                    <a:cubicBezTo>
                      <a:pt x="359" y="101"/>
                      <a:pt x="359" y="101"/>
                      <a:pt x="359" y="101"/>
                    </a:cubicBezTo>
                    <a:cubicBezTo>
                      <a:pt x="358" y="101"/>
                      <a:pt x="358" y="100"/>
                      <a:pt x="358" y="100"/>
                    </a:cubicBezTo>
                    <a:cubicBezTo>
                      <a:pt x="358" y="100"/>
                      <a:pt x="358" y="100"/>
                      <a:pt x="359" y="100"/>
                    </a:cubicBezTo>
                    <a:cubicBezTo>
                      <a:pt x="359" y="100"/>
                      <a:pt x="359" y="100"/>
                      <a:pt x="359" y="100"/>
                    </a:cubicBezTo>
                    <a:cubicBezTo>
                      <a:pt x="359" y="99"/>
                      <a:pt x="359" y="99"/>
                      <a:pt x="358" y="99"/>
                    </a:cubicBezTo>
                    <a:cubicBezTo>
                      <a:pt x="358" y="99"/>
                      <a:pt x="358" y="98"/>
                      <a:pt x="358" y="98"/>
                    </a:cubicBezTo>
                    <a:cubicBezTo>
                      <a:pt x="358" y="98"/>
                      <a:pt x="357" y="97"/>
                      <a:pt x="357" y="97"/>
                    </a:cubicBezTo>
                    <a:cubicBezTo>
                      <a:pt x="357" y="97"/>
                      <a:pt x="357" y="97"/>
                      <a:pt x="357" y="97"/>
                    </a:cubicBezTo>
                    <a:cubicBezTo>
                      <a:pt x="356" y="97"/>
                      <a:pt x="356" y="97"/>
                      <a:pt x="355" y="97"/>
                    </a:cubicBezTo>
                    <a:cubicBezTo>
                      <a:pt x="355" y="97"/>
                      <a:pt x="355" y="97"/>
                      <a:pt x="355" y="97"/>
                    </a:cubicBezTo>
                    <a:cubicBezTo>
                      <a:pt x="355" y="97"/>
                      <a:pt x="355" y="97"/>
                      <a:pt x="355" y="97"/>
                    </a:cubicBezTo>
                    <a:cubicBezTo>
                      <a:pt x="355" y="97"/>
                      <a:pt x="354" y="98"/>
                      <a:pt x="354" y="98"/>
                    </a:cubicBezTo>
                    <a:cubicBezTo>
                      <a:pt x="354" y="98"/>
                      <a:pt x="354" y="98"/>
                      <a:pt x="354" y="98"/>
                    </a:cubicBezTo>
                    <a:cubicBezTo>
                      <a:pt x="353" y="98"/>
                      <a:pt x="353" y="98"/>
                      <a:pt x="353" y="98"/>
                    </a:cubicBezTo>
                    <a:cubicBezTo>
                      <a:pt x="353" y="98"/>
                      <a:pt x="353" y="97"/>
                      <a:pt x="354" y="97"/>
                    </a:cubicBezTo>
                    <a:cubicBezTo>
                      <a:pt x="354" y="97"/>
                      <a:pt x="354" y="97"/>
                      <a:pt x="354" y="97"/>
                    </a:cubicBezTo>
                    <a:cubicBezTo>
                      <a:pt x="354" y="97"/>
                      <a:pt x="354" y="96"/>
                      <a:pt x="354" y="96"/>
                    </a:cubicBezTo>
                    <a:cubicBezTo>
                      <a:pt x="354" y="96"/>
                      <a:pt x="354" y="96"/>
                      <a:pt x="354" y="96"/>
                    </a:cubicBezTo>
                    <a:cubicBezTo>
                      <a:pt x="354" y="95"/>
                      <a:pt x="353" y="95"/>
                      <a:pt x="353" y="95"/>
                    </a:cubicBezTo>
                    <a:cubicBezTo>
                      <a:pt x="353" y="95"/>
                      <a:pt x="353" y="95"/>
                      <a:pt x="353" y="95"/>
                    </a:cubicBezTo>
                    <a:cubicBezTo>
                      <a:pt x="353" y="95"/>
                      <a:pt x="352" y="95"/>
                      <a:pt x="352" y="95"/>
                    </a:cubicBezTo>
                    <a:cubicBezTo>
                      <a:pt x="351" y="95"/>
                      <a:pt x="351" y="95"/>
                      <a:pt x="351" y="95"/>
                    </a:cubicBezTo>
                    <a:cubicBezTo>
                      <a:pt x="351" y="95"/>
                      <a:pt x="351" y="95"/>
                      <a:pt x="352" y="95"/>
                    </a:cubicBezTo>
                    <a:cubicBezTo>
                      <a:pt x="352" y="95"/>
                      <a:pt x="352" y="95"/>
                      <a:pt x="352" y="95"/>
                    </a:cubicBezTo>
                    <a:cubicBezTo>
                      <a:pt x="351" y="95"/>
                      <a:pt x="350" y="96"/>
                      <a:pt x="349" y="96"/>
                    </a:cubicBezTo>
                    <a:cubicBezTo>
                      <a:pt x="348" y="97"/>
                      <a:pt x="349" y="96"/>
                      <a:pt x="348" y="97"/>
                    </a:cubicBezTo>
                    <a:cubicBezTo>
                      <a:pt x="348" y="97"/>
                      <a:pt x="348" y="97"/>
                      <a:pt x="348" y="97"/>
                    </a:cubicBezTo>
                    <a:cubicBezTo>
                      <a:pt x="348" y="97"/>
                      <a:pt x="348" y="97"/>
                      <a:pt x="347" y="97"/>
                    </a:cubicBezTo>
                    <a:cubicBezTo>
                      <a:pt x="347" y="97"/>
                      <a:pt x="347" y="98"/>
                      <a:pt x="346" y="98"/>
                    </a:cubicBezTo>
                    <a:cubicBezTo>
                      <a:pt x="346" y="98"/>
                      <a:pt x="346" y="98"/>
                      <a:pt x="346" y="98"/>
                    </a:cubicBezTo>
                    <a:cubicBezTo>
                      <a:pt x="345" y="98"/>
                      <a:pt x="346" y="98"/>
                      <a:pt x="345" y="99"/>
                    </a:cubicBezTo>
                    <a:cubicBezTo>
                      <a:pt x="345" y="99"/>
                      <a:pt x="345" y="99"/>
                      <a:pt x="344" y="99"/>
                    </a:cubicBezTo>
                    <a:cubicBezTo>
                      <a:pt x="344" y="100"/>
                      <a:pt x="344" y="100"/>
                      <a:pt x="344" y="100"/>
                    </a:cubicBezTo>
                    <a:cubicBezTo>
                      <a:pt x="344" y="99"/>
                      <a:pt x="344" y="99"/>
                      <a:pt x="344" y="99"/>
                    </a:cubicBezTo>
                    <a:cubicBezTo>
                      <a:pt x="344" y="98"/>
                      <a:pt x="345" y="98"/>
                      <a:pt x="345" y="98"/>
                    </a:cubicBezTo>
                    <a:cubicBezTo>
                      <a:pt x="345" y="98"/>
                      <a:pt x="345" y="97"/>
                      <a:pt x="345" y="97"/>
                    </a:cubicBezTo>
                    <a:cubicBezTo>
                      <a:pt x="345" y="97"/>
                      <a:pt x="345" y="97"/>
                      <a:pt x="345" y="97"/>
                    </a:cubicBezTo>
                    <a:cubicBezTo>
                      <a:pt x="345" y="97"/>
                      <a:pt x="345" y="97"/>
                      <a:pt x="345" y="97"/>
                    </a:cubicBezTo>
                    <a:cubicBezTo>
                      <a:pt x="346" y="97"/>
                      <a:pt x="347" y="97"/>
                      <a:pt x="348" y="96"/>
                    </a:cubicBezTo>
                    <a:cubicBezTo>
                      <a:pt x="348" y="96"/>
                      <a:pt x="348" y="96"/>
                      <a:pt x="348" y="96"/>
                    </a:cubicBezTo>
                    <a:cubicBezTo>
                      <a:pt x="348" y="96"/>
                      <a:pt x="348" y="96"/>
                      <a:pt x="348" y="96"/>
                    </a:cubicBezTo>
                    <a:cubicBezTo>
                      <a:pt x="348" y="96"/>
                      <a:pt x="349" y="95"/>
                      <a:pt x="350" y="94"/>
                    </a:cubicBezTo>
                    <a:cubicBezTo>
                      <a:pt x="350" y="94"/>
                      <a:pt x="350" y="94"/>
                      <a:pt x="350" y="94"/>
                    </a:cubicBezTo>
                    <a:cubicBezTo>
                      <a:pt x="351" y="94"/>
                      <a:pt x="351" y="94"/>
                      <a:pt x="351" y="94"/>
                    </a:cubicBezTo>
                    <a:cubicBezTo>
                      <a:pt x="351" y="94"/>
                      <a:pt x="352" y="94"/>
                      <a:pt x="352" y="94"/>
                    </a:cubicBezTo>
                    <a:cubicBezTo>
                      <a:pt x="353" y="94"/>
                      <a:pt x="353" y="94"/>
                      <a:pt x="353" y="94"/>
                    </a:cubicBezTo>
                    <a:cubicBezTo>
                      <a:pt x="353" y="93"/>
                      <a:pt x="353" y="93"/>
                      <a:pt x="353" y="93"/>
                    </a:cubicBezTo>
                    <a:cubicBezTo>
                      <a:pt x="353" y="93"/>
                      <a:pt x="353" y="93"/>
                      <a:pt x="353" y="93"/>
                    </a:cubicBezTo>
                    <a:cubicBezTo>
                      <a:pt x="353" y="92"/>
                      <a:pt x="353" y="92"/>
                      <a:pt x="353" y="92"/>
                    </a:cubicBezTo>
                    <a:cubicBezTo>
                      <a:pt x="352" y="92"/>
                      <a:pt x="351" y="92"/>
                      <a:pt x="351" y="92"/>
                    </a:cubicBezTo>
                    <a:cubicBezTo>
                      <a:pt x="351" y="92"/>
                      <a:pt x="350" y="92"/>
                      <a:pt x="349" y="92"/>
                    </a:cubicBezTo>
                    <a:cubicBezTo>
                      <a:pt x="349" y="92"/>
                      <a:pt x="349" y="92"/>
                      <a:pt x="349" y="92"/>
                    </a:cubicBezTo>
                    <a:cubicBezTo>
                      <a:pt x="349" y="91"/>
                      <a:pt x="348" y="91"/>
                      <a:pt x="348" y="90"/>
                    </a:cubicBezTo>
                    <a:cubicBezTo>
                      <a:pt x="348" y="90"/>
                      <a:pt x="348" y="90"/>
                      <a:pt x="348" y="90"/>
                    </a:cubicBezTo>
                    <a:cubicBezTo>
                      <a:pt x="348" y="90"/>
                      <a:pt x="346" y="90"/>
                      <a:pt x="346" y="90"/>
                    </a:cubicBezTo>
                    <a:cubicBezTo>
                      <a:pt x="346" y="90"/>
                      <a:pt x="345" y="90"/>
                      <a:pt x="345" y="90"/>
                    </a:cubicBezTo>
                    <a:cubicBezTo>
                      <a:pt x="345" y="90"/>
                      <a:pt x="344" y="89"/>
                      <a:pt x="344" y="89"/>
                    </a:cubicBezTo>
                    <a:cubicBezTo>
                      <a:pt x="344" y="89"/>
                      <a:pt x="344" y="89"/>
                      <a:pt x="344" y="89"/>
                    </a:cubicBezTo>
                    <a:cubicBezTo>
                      <a:pt x="344" y="89"/>
                      <a:pt x="344" y="88"/>
                      <a:pt x="344" y="88"/>
                    </a:cubicBezTo>
                    <a:cubicBezTo>
                      <a:pt x="344" y="87"/>
                      <a:pt x="344" y="87"/>
                      <a:pt x="344" y="87"/>
                    </a:cubicBezTo>
                    <a:cubicBezTo>
                      <a:pt x="344" y="87"/>
                      <a:pt x="343" y="87"/>
                      <a:pt x="343" y="87"/>
                    </a:cubicBezTo>
                    <a:cubicBezTo>
                      <a:pt x="342" y="87"/>
                      <a:pt x="341" y="86"/>
                      <a:pt x="341" y="86"/>
                    </a:cubicBezTo>
                    <a:cubicBezTo>
                      <a:pt x="341" y="85"/>
                      <a:pt x="341" y="85"/>
                      <a:pt x="341" y="85"/>
                    </a:cubicBezTo>
                    <a:cubicBezTo>
                      <a:pt x="340" y="85"/>
                      <a:pt x="340" y="84"/>
                      <a:pt x="340" y="84"/>
                    </a:cubicBezTo>
                    <a:cubicBezTo>
                      <a:pt x="339" y="82"/>
                      <a:pt x="339" y="82"/>
                      <a:pt x="339" y="82"/>
                    </a:cubicBezTo>
                    <a:cubicBezTo>
                      <a:pt x="339" y="80"/>
                      <a:pt x="339" y="82"/>
                      <a:pt x="339" y="82"/>
                    </a:cubicBezTo>
                    <a:cubicBezTo>
                      <a:pt x="339" y="82"/>
                      <a:pt x="339" y="82"/>
                      <a:pt x="339" y="82"/>
                    </a:cubicBezTo>
                    <a:cubicBezTo>
                      <a:pt x="340" y="81"/>
                      <a:pt x="340" y="81"/>
                      <a:pt x="340" y="81"/>
                    </a:cubicBezTo>
                    <a:cubicBezTo>
                      <a:pt x="341" y="81"/>
                      <a:pt x="341" y="81"/>
                      <a:pt x="341" y="80"/>
                    </a:cubicBezTo>
                    <a:cubicBezTo>
                      <a:pt x="340" y="80"/>
                      <a:pt x="340" y="80"/>
                      <a:pt x="340" y="80"/>
                    </a:cubicBezTo>
                    <a:cubicBezTo>
                      <a:pt x="340" y="80"/>
                      <a:pt x="339" y="80"/>
                      <a:pt x="339" y="80"/>
                    </a:cubicBezTo>
                    <a:cubicBezTo>
                      <a:pt x="339" y="80"/>
                      <a:pt x="339" y="80"/>
                      <a:pt x="339" y="80"/>
                    </a:cubicBezTo>
                    <a:cubicBezTo>
                      <a:pt x="339" y="80"/>
                      <a:pt x="339" y="80"/>
                      <a:pt x="339" y="79"/>
                    </a:cubicBezTo>
                    <a:cubicBezTo>
                      <a:pt x="339" y="79"/>
                      <a:pt x="339" y="79"/>
                      <a:pt x="339" y="79"/>
                    </a:cubicBezTo>
                    <a:cubicBezTo>
                      <a:pt x="339" y="79"/>
                      <a:pt x="339" y="79"/>
                      <a:pt x="338" y="79"/>
                    </a:cubicBezTo>
                    <a:cubicBezTo>
                      <a:pt x="338" y="79"/>
                      <a:pt x="337" y="78"/>
                      <a:pt x="338" y="78"/>
                    </a:cubicBezTo>
                    <a:cubicBezTo>
                      <a:pt x="338" y="78"/>
                      <a:pt x="339" y="78"/>
                      <a:pt x="339" y="78"/>
                    </a:cubicBezTo>
                    <a:cubicBezTo>
                      <a:pt x="339" y="78"/>
                      <a:pt x="339" y="78"/>
                      <a:pt x="339" y="77"/>
                    </a:cubicBezTo>
                    <a:cubicBezTo>
                      <a:pt x="339" y="77"/>
                      <a:pt x="338" y="77"/>
                      <a:pt x="338" y="76"/>
                    </a:cubicBezTo>
                    <a:cubicBezTo>
                      <a:pt x="338" y="76"/>
                      <a:pt x="338" y="76"/>
                      <a:pt x="338" y="76"/>
                    </a:cubicBezTo>
                    <a:cubicBezTo>
                      <a:pt x="338" y="76"/>
                      <a:pt x="337" y="75"/>
                      <a:pt x="337" y="75"/>
                    </a:cubicBezTo>
                    <a:cubicBezTo>
                      <a:pt x="337" y="74"/>
                      <a:pt x="337" y="74"/>
                      <a:pt x="337" y="74"/>
                    </a:cubicBezTo>
                    <a:cubicBezTo>
                      <a:pt x="337" y="73"/>
                      <a:pt x="337" y="73"/>
                      <a:pt x="337" y="73"/>
                    </a:cubicBezTo>
                    <a:cubicBezTo>
                      <a:pt x="337" y="73"/>
                      <a:pt x="336" y="73"/>
                      <a:pt x="336" y="73"/>
                    </a:cubicBezTo>
                    <a:cubicBezTo>
                      <a:pt x="335" y="73"/>
                      <a:pt x="335" y="73"/>
                      <a:pt x="335" y="73"/>
                    </a:cubicBezTo>
                    <a:cubicBezTo>
                      <a:pt x="335" y="73"/>
                      <a:pt x="335" y="73"/>
                      <a:pt x="335" y="73"/>
                    </a:cubicBezTo>
                    <a:cubicBezTo>
                      <a:pt x="335" y="73"/>
                      <a:pt x="336" y="73"/>
                      <a:pt x="336" y="72"/>
                    </a:cubicBezTo>
                    <a:cubicBezTo>
                      <a:pt x="336" y="72"/>
                      <a:pt x="336" y="72"/>
                      <a:pt x="335" y="72"/>
                    </a:cubicBezTo>
                    <a:cubicBezTo>
                      <a:pt x="335" y="71"/>
                      <a:pt x="335" y="70"/>
                      <a:pt x="335" y="70"/>
                    </a:cubicBezTo>
                    <a:cubicBezTo>
                      <a:pt x="335" y="69"/>
                      <a:pt x="335" y="69"/>
                      <a:pt x="334" y="69"/>
                    </a:cubicBezTo>
                    <a:cubicBezTo>
                      <a:pt x="334" y="69"/>
                      <a:pt x="334" y="69"/>
                      <a:pt x="334" y="69"/>
                    </a:cubicBezTo>
                    <a:cubicBezTo>
                      <a:pt x="333" y="68"/>
                      <a:pt x="333" y="68"/>
                      <a:pt x="333" y="68"/>
                    </a:cubicBezTo>
                    <a:cubicBezTo>
                      <a:pt x="333" y="67"/>
                      <a:pt x="333" y="67"/>
                      <a:pt x="333" y="67"/>
                    </a:cubicBezTo>
                    <a:cubicBezTo>
                      <a:pt x="332" y="67"/>
                      <a:pt x="332" y="66"/>
                      <a:pt x="332" y="66"/>
                    </a:cubicBezTo>
                    <a:cubicBezTo>
                      <a:pt x="331" y="65"/>
                      <a:pt x="331" y="65"/>
                      <a:pt x="331" y="65"/>
                    </a:cubicBezTo>
                    <a:cubicBezTo>
                      <a:pt x="331" y="65"/>
                      <a:pt x="331" y="65"/>
                      <a:pt x="331" y="64"/>
                    </a:cubicBezTo>
                    <a:cubicBezTo>
                      <a:pt x="330" y="64"/>
                      <a:pt x="330" y="64"/>
                      <a:pt x="330" y="64"/>
                    </a:cubicBezTo>
                    <a:cubicBezTo>
                      <a:pt x="330" y="64"/>
                      <a:pt x="330" y="64"/>
                      <a:pt x="329" y="65"/>
                    </a:cubicBezTo>
                    <a:cubicBezTo>
                      <a:pt x="329" y="65"/>
                      <a:pt x="329" y="65"/>
                      <a:pt x="329" y="65"/>
                    </a:cubicBezTo>
                    <a:cubicBezTo>
                      <a:pt x="329" y="65"/>
                      <a:pt x="329" y="65"/>
                      <a:pt x="329" y="66"/>
                    </a:cubicBezTo>
                    <a:cubicBezTo>
                      <a:pt x="329" y="66"/>
                      <a:pt x="329" y="67"/>
                      <a:pt x="329" y="67"/>
                    </a:cubicBezTo>
                    <a:cubicBezTo>
                      <a:pt x="329" y="67"/>
                      <a:pt x="328" y="67"/>
                      <a:pt x="327" y="67"/>
                    </a:cubicBezTo>
                    <a:cubicBezTo>
                      <a:pt x="327" y="67"/>
                      <a:pt x="328" y="68"/>
                      <a:pt x="328" y="68"/>
                    </a:cubicBezTo>
                    <a:cubicBezTo>
                      <a:pt x="328" y="68"/>
                      <a:pt x="327" y="69"/>
                      <a:pt x="327" y="69"/>
                    </a:cubicBezTo>
                    <a:cubicBezTo>
                      <a:pt x="327" y="69"/>
                      <a:pt x="327" y="69"/>
                      <a:pt x="327" y="69"/>
                    </a:cubicBezTo>
                    <a:cubicBezTo>
                      <a:pt x="327" y="69"/>
                      <a:pt x="327" y="70"/>
                      <a:pt x="327" y="70"/>
                    </a:cubicBezTo>
                    <a:cubicBezTo>
                      <a:pt x="328" y="70"/>
                      <a:pt x="328" y="70"/>
                      <a:pt x="327" y="71"/>
                    </a:cubicBezTo>
                    <a:cubicBezTo>
                      <a:pt x="327" y="71"/>
                      <a:pt x="327" y="71"/>
                      <a:pt x="327" y="71"/>
                    </a:cubicBezTo>
                    <a:cubicBezTo>
                      <a:pt x="327" y="71"/>
                      <a:pt x="327" y="71"/>
                      <a:pt x="327" y="71"/>
                    </a:cubicBezTo>
                    <a:cubicBezTo>
                      <a:pt x="327" y="71"/>
                      <a:pt x="326" y="71"/>
                      <a:pt x="326" y="71"/>
                    </a:cubicBezTo>
                    <a:cubicBezTo>
                      <a:pt x="326" y="71"/>
                      <a:pt x="326" y="72"/>
                      <a:pt x="326" y="72"/>
                    </a:cubicBezTo>
                    <a:cubicBezTo>
                      <a:pt x="325" y="72"/>
                      <a:pt x="325" y="72"/>
                      <a:pt x="325" y="72"/>
                    </a:cubicBezTo>
                    <a:cubicBezTo>
                      <a:pt x="325" y="72"/>
                      <a:pt x="325" y="72"/>
                      <a:pt x="325" y="71"/>
                    </a:cubicBezTo>
                    <a:cubicBezTo>
                      <a:pt x="325" y="71"/>
                      <a:pt x="325" y="72"/>
                      <a:pt x="325" y="72"/>
                    </a:cubicBezTo>
                    <a:cubicBezTo>
                      <a:pt x="325" y="72"/>
                      <a:pt x="324" y="73"/>
                      <a:pt x="324" y="73"/>
                    </a:cubicBezTo>
                    <a:cubicBezTo>
                      <a:pt x="324" y="73"/>
                      <a:pt x="324" y="73"/>
                      <a:pt x="323" y="73"/>
                    </a:cubicBezTo>
                    <a:cubicBezTo>
                      <a:pt x="323" y="73"/>
                      <a:pt x="323" y="73"/>
                      <a:pt x="323" y="73"/>
                    </a:cubicBezTo>
                    <a:cubicBezTo>
                      <a:pt x="323" y="73"/>
                      <a:pt x="322" y="74"/>
                      <a:pt x="322" y="74"/>
                    </a:cubicBezTo>
                    <a:cubicBezTo>
                      <a:pt x="322" y="74"/>
                      <a:pt x="322" y="74"/>
                      <a:pt x="322" y="74"/>
                    </a:cubicBezTo>
                    <a:cubicBezTo>
                      <a:pt x="322" y="74"/>
                      <a:pt x="322" y="74"/>
                      <a:pt x="322" y="74"/>
                    </a:cubicBezTo>
                    <a:cubicBezTo>
                      <a:pt x="321" y="74"/>
                      <a:pt x="321" y="75"/>
                      <a:pt x="321" y="75"/>
                    </a:cubicBezTo>
                    <a:cubicBezTo>
                      <a:pt x="321" y="74"/>
                      <a:pt x="321" y="74"/>
                      <a:pt x="321" y="74"/>
                    </a:cubicBezTo>
                    <a:cubicBezTo>
                      <a:pt x="321" y="74"/>
                      <a:pt x="321" y="74"/>
                      <a:pt x="321" y="74"/>
                    </a:cubicBezTo>
                    <a:cubicBezTo>
                      <a:pt x="321" y="74"/>
                      <a:pt x="321" y="74"/>
                      <a:pt x="320" y="74"/>
                    </a:cubicBezTo>
                    <a:cubicBezTo>
                      <a:pt x="320" y="73"/>
                      <a:pt x="320" y="73"/>
                      <a:pt x="320" y="73"/>
                    </a:cubicBezTo>
                    <a:cubicBezTo>
                      <a:pt x="320" y="74"/>
                      <a:pt x="320" y="73"/>
                      <a:pt x="320" y="73"/>
                    </a:cubicBezTo>
                    <a:cubicBezTo>
                      <a:pt x="320" y="73"/>
                      <a:pt x="320" y="73"/>
                      <a:pt x="320" y="73"/>
                    </a:cubicBezTo>
                    <a:cubicBezTo>
                      <a:pt x="320" y="73"/>
                      <a:pt x="320" y="73"/>
                      <a:pt x="320" y="73"/>
                    </a:cubicBezTo>
                    <a:cubicBezTo>
                      <a:pt x="320" y="73"/>
                      <a:pt x="320" y="73"/>
                      <a:pt x="319" y="73"/>
                    </a:cubicBezTo>
                    <a:cubicBezTo>
                      <a:pt x="319" y="73"/>
                      <a:pt x="319" y="73"/>
                      <a:pt x="319" y="73"/>
                    </a:cubicBezTo>
                    <a:cubicBezTo>
                      <a:pt x="319" y="73"/>
                      <a:pt x="319" y="73"/>
                      <a:pt x="319" y="73"/>
                    </a:cubicBezTo>
                    <a:cubicBezTo>
                      <a:pt x="319" y="73"/>
                      <a:pt x="319" y="72"/>
                      <a:pt x="319" y="72"/>
                    </a:cubicBezTo>
                    <a:cubicBezTo>
                      <a:pt x="318" y="71"/>
                      <a:pt x="318" y="71"/>
                      <a:pt x="318" y="71"/>
                    </a:cubicBezTo>
                    <a:cubicBezTo>
                      <a:pt x="317" y="71"/>
                      <a:pt x="317" y="71"/>
                      <a:pt x="317" y="71"/>
                    </a:cubicBezTo>
                    <a:cubicBezTo>
                      <a:pt x="316" y="71"/>
                      <a:pt x="315" y="71"/>
                      <a:pt x="315" y="71"/>
                    </a:cubicBezTo>
                    <a:cubicBezTo>
                      <a:pt x="315" y="71"/>
                      <a:pt x="315" y="71"/>
                      <a:pt x="315" y="71"/>
                    </a:cubicBezTo>
                    <a:cubicBezTo>
                      <a:pt x="315" y="71"/>
                      <a:pt x="315" y="71"/>
                      <a:pt x="315" y="70"/>
                    </a:cubicBezTo>
                    <a:cubicBezTo>
                      <a:pt x="315" y="70"/>
                      <a:pt x="315" y="70"/>
                      <a:pt x="315" y="70"/>
                    </a:cubicBezTo>
                    <a:cubicBezTo>
                      <a:pt x="315" y="70"/>
                      <a:pt x="315" y="70"/>
                      <a:pt x="315" y="70"/>
                    </a:cubicBezTo>
                    <a:cubicBezTo>
                      <a:pt x="315" y="70"/>
                      <a:pt x="315" y="69"/>
                      <a:pt x="315" y="69"/>
                    </a:cubicBezTo>
                    <a:cubicBezTo>
                      <a:pt x="315" y="69"/>
                      <a:pt x="315" y="69"/>
                      <a:pt x="315" y="69"/>
                    </a:cubicBezTo>
                    <a:cubicBezTo>
                      <a:pt x="315" y="69"/>
                      <a:pt x="314" y="69"/>
                      <a:pt x="314" y="69"/>
                    </a:cubicBezTo>
                    <a:cubicBezTo>
                      <a:pt x="314" y="68"/>
                      <a:pt x="314" y="68"/>
                      <a:pt x="314" y="68"/>
                    </a:cubicBezTo>
                    <a:cubicBezTo>
                      <a:pt x="314" y="68"/>
                      <a:pt x="314" y="68"/>
                      <a:pt x="315" y="68"/>
                    </a:cubicBezTo>
                    <a:cubicBezTo>
                      <a:pt x="315" y="68"/>
                      <a:pt x="315" y="67"/>
                      <a:pt x="315" y="67"/>
                    </a:cubicBezTo>
                    <a:cubicBezTo>
                      <a:pt x="314" y="67"/>
                      <a:pt x="314" y="67"/>
                      <a:pt x="314" y="67"/>
                    </a:cubicBezTo>
                    <a:cubicBezTo>
                      <a:pt x="315" y="66"/>
                      <a:pt x="315" y="66"/>
                      <a:pt x="315" y="66"/>
                    </a:cubicBezTo>
                    <a:cubicBezTo>
                      <a:pt x="315" y="66"/>
                      <a:pt x="315" y="66"/>
                      <a:pt x="315" y="66"/>
                    </a:cubicBezTo>
                    <a:cubicBezTo>
                      <a:pt x="315" y="66"/>
                      <a:pt x="314" y="66"/>
                      <a:pt x="314" y="66"/>
                    </a:cubicBezTo>
                    <a:cubicBezTo>
                      <a:pt x="314" y="66"/>
                      <a:pt x="314" y="65"/>
                      <a:pt x="314" y="65"/>
                    </a:cubicBezTo>
                    <a:cubicBezTo>
                      <a:pt x="314" y="65"/>
                      <a:pt x="314" y="65"/>
                      <a:pt x="314" y="65"/>
                    </a:cubicBezTo>
                    <a:cubicBezTo>
                      <a:pt x="315" y="65"/>
                      <a:pt x="315" y="65"/>
                      <a:pt x="315" y="65"/>
                    </a:cubicBezTo>
                    <a:cubicBezTo>
                      <a:pt x="315" y="64"/>
                      <a:pt x="314" y="64"/>
                      <a:pt x="314" y="64"/>
                    </a:cubicBezTo>
                    <a:cubicBezTo>
                      <a:pt x="314" y="64"/>
                      <a:pt x="314" y="64"/>
                      <a:pt x="314" y="64"/>
                    </a:cubicBezTo>
                    <a:cubicBezTo>
                      <a:pt x="314" y="63"/>
                      <a:pt x="314" y="63"/>
                      <a:pt x="314" y="63"/>
                    </a:cubicBezTo>
                    <a:cubicBezTo>
                      <a:pt x="314" y="63"/>
                      <a:pt x="314" y="63"/>
                      <a:pt x="314" y="63"/>
                    </a:cubicBezTo>
                    <a:cubicBezTo>
                      <a:pt x="314" y="63"/>
                      <a:pt x="314" y="62"/>
                      <a:pt x="314" y="62"/>
                    </a:cubicBezTo>
                    <a:cubicBezTo>
                      <a:pt x="314" y="62"/>
                      <a:pt x="315" y="62"/>
                      <a:pt x="315" y="62"/>
                    </a:cubicBezTo>
                    <a:cubicBezTo>
                      <a:pt x="315" y="62"/>
                      <a:pt x="315" y="62"/>
                      <a:pt x="315" y="61"/>
                    </a:cubicBezTo>
                    <a:cubicBezTo>
                      <a:pt x="315" y="61"/>
                      <a:pt x="315" y="61"/>
                      <a:pt x="315" y="60"/>
                    </a:cubicBezTo>
                    <a:cubicBezTo>
                      <a:pt x="315" y="60"/>
                      <a:pt x="314" y="60"/>
                      <a:pt x="314" y="60"/>
                    </a:cubicBezTo>
                    <a:cubicBezTo>
                      <a:pt x="314" y="60"/>
                      <a:pt x="314" y="61"/>
                      <a:pt x="314" y="61"/>
                    </a:cubicBezTo>
                    <a:cubicBezTo>
                      <a:pt x="314" y="61"/>
                      <a:pt x="313" y="61"/>
                      <a:pt x="313" y="61"/>
                    </a:cubicBezTo>
                    <a:cubicBezTo>
                      <a:pt x="313" y="61"/>
                      <a:pt x="313" y="61"/>
                      <a:pt x="313" y="60"/>
                    </a:cubicBezTo>
                    <a:cubicBezTo>
                      <a:pt x="313" y="60"/>
                      <a:pt x="312" y="60"/>
                      <a:pt x="312" y="60"/>
                    </a:cubicBezTo>
                    <a:cubicBezTo>
                      <a:pt x="312" y="60"/>
                      <a:pt x="312" y="60"/>
                      <a:pt x="311" y="60"/>
                    </a:cubicBezTo>
                    <a:cubicBezTo>
                      <a:pt x="311" y="60"/>
                      <a:pt x="311" y="60"/>
                      <a:pt x="311" y="60"/>
                    </a:cubicBezTo>
                    <a:cubicBezTo>
                      <a:pt x="310" y="60"/>
                      <a:pt x="309" y="60"/>
                      <a:pt x="308" y="60"/>
                    </a:cubicBezTo>
                    <a:cubicBezTo>
                      <a:pt x="308" y="59"/>
                      <a:pt x="308" y="59"/>
                      <a:pt x="308" y="59"/>
                    </a:cubicBezTo>
                    <a:cubicBezTo>
                      <a:pt x="308" y="59"/>
                      <a:pt x="308" y="59"/>
                      <a:pt x="308" y="58"/>
                    </a:cubicBezTo>
                    <a:cubicBezTo>
                      <a:pt x="307" y="58"/>
                      <a:pt x="307" y="58"/>
                      <a:pt x="307" y="58"/>
                    </a:cubicBezTo>
                    <a:cubicBezTo>
                      <a:pt x="307" y="58"/>
                      <a:pt x="308" y="58"/>
                      <a:pt x="308" y="58"/>
                    </a:cubicBezTo>
                    <a:cubicBezTo>
                      <a:pt x="308" y="57"/>
                      <a:pt x="308" y="57"/>
                      <a:pt x="308" y="57"/>
                    </a:cubicBezTo>
                    <a:cubicBezTo>
                      <a:pt x="309" y="57"/>
                      <a:pt x="309" y="57"/>
                      <a:pt x="309" y="57"/>
                    </a:cubicBezTo>
                    <a:cubicBezTo>
                      <a:pt x="308" y="57"/>
                      <a:pt x="308" y="57"/>
                      <a:pt x="308" y="57"/>
                    </a:cubicBezTo>
                    <a:cubicBezTo>
                      <a:pt x="308" y="57"/>
                      <a:pt x="307" y="57"/>
                      <a:pt x="307" y="57"/>
                    </a:cubicBezTo>
                    <a:cubicBezTo>
                      <a:pt x="307" y="57"/>
                      <a:pt x="307" y="57"/>
                      <a:pt x="307" y="57"/>
                    </a:cubicBezTo>
                    <a:cubicBezTo>
                      <a:pt x="307" y="57"/>
                      <a:pt x="307" y="57"/>
                      <a:pt x="307" y="57"/>
                    </a:cubicBezTo>
                    <a:cubicBezTo>
                      <a:pt x="307" y="56"/>
                      <a:pt x="305" y="56"/>
                      <a:pt x="305" y="56"/>
                    </a:cubicBezTo>
                    <a:cubicBezTo>
                      <a:pt x="305" y="55"/>
                      <a:pt x="305" y="55"/>
                      <a:pt x="305" y="55"/>
                    </a:cubicBezTo>
                    <a:cubicBezTo>
                      <a:pt x="305" y="55"/>
                      <a:pt x="305" y="55"/>
                      <a:pt x="305" y="55"/>
                    </a:cubicBezTo>
                    <a:cubicBezTo>
                      <a:pt x="305" y="54"/>
                      <a:pt x="305" y="55"/>
                      <a:pt x="304" y="55"/>
                    </a:cubicBezTo>
                    <a:cubicBezTo>
                      <a:pt x="304" y="55"/>
                      <a:pt x="304" y="55"/>
                      <a:pt x="304" y="55"/>
                    </a:cubicBezTo>
                    <a:cubicBezTo>
                      <a:pt x="304" y="55"/>
                      <a:pt x="302" y="53"/>
                      <a:pt x="302" y="53"/>
                    </a:cubicBezTo>
                    <a:cubicBezTo>
                      <a:pt x="302" y="53"/>
                      <a:pt x="302" y="53"/>
                      <a:pt x="301" y="53"/>
                    </a:cubicBezTo>
                    <a:cubicBezTo>
                      <a:pt x="301" y="53"/>
                      <a:pt x="300" y="53"/>
                      <a:pt x="300" y="53"/>
                    </a:cubicBezTo>
                    <a:cubicBezTo>
                      <a:pt x="299" y="54"/>
                      <a:pt x="299" y="54"/>
                      <a:pt x="299" y="54"/>
                    </a:cubicBezTo>
                    <a:cubicBezTo>
                      <a:pt x="298" y="54"/>
                      <a:pt x="298" y="54"/>
                      <a:pt x="298" y="54"/>
                    </a:cubicBezTo>
                    <a:cubicBezTo>
                      <a:pt x="297" y="54"/>
                      <a:pt x="297" y="55"/>
                      <a:pt x="297" y="54"/>
                    </a:cubicBezTo>
                    <a:cubicBezTo>
                      <a:pt x="297" y="53"/>
                      <a:pt x="297" y="53"/>
                      <a:pt x="297" y="53"/>
                    </a:cubicBezTo>
                    <a:cubicBezTo>
                      <a:pt x="296" y="53"/>
                      <a:pt x="296" y="54"/>
                      <a:pt x="295" y="54"/>
                    </a:cubicBezTo>
                    <a:cubicBezTo>
                      <a:pt x="295" y="54"/>
                      <a:pt x="295" y="54"/>
                      <a:pt x="295" y="54"/>
                    </a:cubicBezTo>
                    <a:cubicBezTo>
                      <a:pt x="295" y="54"/>
                      <a:pt x="293" y="53"/>
                      <a:pt x="293" y="53"/>
                    </a:cubicBezTo>
                    <a:cubicBezTo>
                      <a:pt x="291" y="53"/>
                      <a:pt x="289" y="52"/>
                      <a:pt x="289" y="52"/>
                    </a:cubicBezTo>
                    <a:cubicBezTo>
                      <a:pt x="289" y="53"/>
                      <a:pt x="289" y="53"/>
                      <a:pt x="289" y="53"/>
                    </a:cubicBezTo>
                    <a:cubicBezTo>
                      <a:pt x="288" y="53"/>
                      <a:pt x="288" y="53"/>
                      <a:pt x="287" y="53"/>
                    </a:cubicBezTo>
                    <a:cubicBezTo>
                      <a:pt x="287" y="54"/>
                      <a:pt x="287" y="54"/>
                      <a:pt x="287" y="54"/>
                    </a:cubicBezTo>
                    <a:cubicBezTo>
                      <a:pt x="287" y="54"/>
                      <a:pt x="287" y="55"/>
                      <a:pt x="287" y="56"/>
                    </a:cubicBezTo>
                    <a:cubicBezTo>
                      <a:pt x="287" y="57"/>
                      <a:pt x="287" y="57"/>
                      <a:pt x="287" y="57"/>
                    </a:cubicBezTo>
                    <a:cubicBezTo>
                      <a:pt x="287" y="57"/>
                      <a:pt x="288" y="57"/>
                      <a:pt x="288" y="57"/>
                    </a:cubicBezTo>
                    <a:cubicBezTo>
                      <a:pt x="289" y="57"/>
                      <a:pt x="289" y="57"/>
                      <a:pt x="289" y="58"/>
                    </a:cubicBezTo>
                    <a:cubicBezTo>
                      <a:pt x="289" y="58"/>
                      <a:pt x="289" y="58"/>
                      <a:pt x="289" y="58"/>
                    </a:cubicBezTo>
                    <a:cubicBezTo>
                      <a:pt x="289" y="58"/>
                      <a:pt x="288" y="58"/>
                      <a:pt x="288" y="59"/>
                    </a:cubicBezTo>
                    <a:cubicBezTo>
                      <a:pt x="288" y="59"/>
                      <a:pt x="288" y="59"/>
                      <a:pt x="288" y="60"/>
                    </a:cubicBezTo>
                    <a:cubicBezTo>
                      <a:pt x="288" y="60"/>
                      <a:pt x="287" y="61"/>
                      <a:pt x="287" y="61"/>
                    </a:cubicBezTo>
                    <a:cubicBezTo>
                      <a:pt x="287" y="61"/>
                      <a:pt x="287" y="61"/>
                      <a:pt x="287" y="61"/>
                    </a:cubicBezTo>
                    <a:cubicBezTo>
                      <a:pt x="287" y="61"/>
                      <a:pt x="288" y="61"/>
                      <a:pt x="288" y="61"/>
                    </a:cubicBezTo>
                    <a:cubicBezTo>
                      <a:pt x="289" y="61"/>
                      <a:pt x="289" y="61"/>
                      <a:pt x="289" y="61"/>
                    </a:cubicBezTo>
                    <a:cubicBezTo>
                      <a:pt x="289" y="61"/>
                      <a:pt x="289" y="62"/>
                      <a:pt x="288" y="62"/>
                    </a:cubicBezTo>
                    <a:cubicBezTo>
                      <a:pt x="288" y="62"/>
                      <a:pt x="289" y="63"/>
                      <a:pt x="289" y="63"/>
                    </a:cubicBezTo>
                    <a:cubicBezTo>
                      <a:pt x="289" y="64"/>
                      <a:pt x="289" y="65"/>
                      <a:pt x="290" y="65"/>
                    </a:cubicBezTo>
                    <a:cubicBezTo>
                      <a:pt x="290" y="66"/>
                      <a:pt x="289" y="67"/>
                      <a:pt x="289" y="67"/>
                    </a:cubicBezTo>
                    <a:cubicBezTo>
                      <a:pt x="289" y="67"/>
                      <a:pt x="289" y="67"/>
                      <a:pt x="289" y="67"/>
                    </a:cubicBezTo>
                    <a:cubicBezTo>
                      <a:pt x="289" y="67"/>
                      <a:pt x="289" y="67"/>
                      <a:pt x="288" y="68"/>
                    </a:cubicBezTo>
                    <a:cubicBezTo>
                      <a:pt x="288" y="68"/>
                      <a:pt x="288" y="68"/>
                      <a:pt x="288" y="69"/>
                    </a:cubicBezTo>
                    <a:cubicBezTo>
                      <a:pt x="288" y="69"/>
                      <a:pt x="287" y="69"/>
                      <a:pt x="287" y="69"/>
                    </a:cubicBezTo>
                    <a:cubicBezTo>
                      <a:pt x="287" y="69"/>
                      <a:pt x="287" y="70"/>
                      <a:pt x="287" y="71"/>
                    </a:cubicBezTo>
                    <a:cubicBezTo>
                      <a:pt x="287" y="71"/>
                      <a:pt x="286" y="71"/>
                      <a:pt x="286" y="71"/>
                    </a:cubicBezTo>
                    <a:cubicBezTo>
                      <a:pt x="286" y="71"/>
                      <a:pt x="286" y="71"/>
                      <a:pt x="286" y="71"/>
                    </a:cubicBezTo>
                    <a:cubicBezTo>
                      <a:pt x="286" y="72"/>
                      <a:pt x="286" y="72"/>
                      <a:pt x="286" y="73"/>
                    </a:cubicBezTo>
                    <a:cubicBezTo>
                      <a:pt x="286" y="73"/>
                      <a:pt x="287" y="74"/>
                      <a:pt x="288" y="74"/>
                    </a:cubicBezTo>
                    <a:cubicBezTo>
                      <a:pt x="288" y="74"/>
                      <a:pt x="289" y="75"/>
                      <a:pt x="290" y="75"/>
                    </a:cubicBezTo>
                    <a:cubicBezTo>
                      <a:pt x="290" y="75"/>
                      <a:pt x="291" y="76"/>
                      <a:pt x="292" y="78"/>
                    </a:cubicBezTo>
                    <a:cubicBezTo>
                      <a:pt x="293" y="81"/>
                      <a:pt x="292" y="84"/>
                      <a:pt x="292" y="85"/>
                    </a:cubicBezTo>
                    <a:cubicBezTo>
                      <a:pt x="292" y="86"/>
                      <a:pt x="289" y="88"/>
                      <a:pt x="289" y="89"/>
                    </a:cubicBezTo>
                    <a:cubicBezTo>
                      <a:pt x="288" y="90"/>
                      <a:pt x="287" y="91"/>
                      <a:pt x="287" y="91"/>
                    </a:cubicBezTo>
                    <a:cubicBezTo>
                      <a:pt x="284" y="91"/>
                      <a:pt x="282" y="92"/>
                      <a:pt x="282" y="92"/>
                    </a:cubicBezTo>
                    <a:cubicBezTo>
                      <a:pt x="282" y="92"/>
                      <a:pt x="282" y="92"/>
                      <a:pt x="282" y="92"/>
                    </a:cubicBezTo>
                    <a:cubicBezTo>
                      <a:pt x="282" y="92"/>
                      <a:pt x="283" y="93"/>
                      <a:pt x="283" y="93"/>
                    </a:cubicBezTo>
                    <a:cubicBezTo>
                      <a:pt x="283" y="94"/>
                      <a:pt x="283" y="94"/>
                      <a:pt x="283" y="95"/>
                    </a:cubicBezTo>
                    <a:cubicBezTo>
                      <a:pt x="284" y="95"/>
                      <a:pt x="284" y="95"/>
                      <a:pt x="284" y="96"/>
                    </a:cubicBezTo>
                    <a:cubicBezTo>
                      <a:pt x="284" y="96"/>
                      <a:pt x="284" y="96"/>
                      <a:pt x="284" y="97"/>
                    </a:cubicBezTo>
                    <a:cubicBezTo>
                      <a:pt x="284" y="97"/>
                      <a:pt x="284" y="97"/>
                      <a:pt x="284" y="97"/>
                    </a:cubicBezTo>
                    <a:cubicBezTo>
                      <a:pt x="284" y="98"/>
                      <a:pt x="284" y="99"/>
                      <a:pt x="285" y="99"/>
                    </a:cubicBezTo>
                    <a:cubicBezTo>
                      <a:pt x="285" y="99"/>
                      <a:pt x="285" y="99"/>
                      <a:pt x="285" y="99"/>
                    </a:cubicBezTo>
                    <a:cubicBezTo>
                      <a:pt x="285" y="100"/>
                      <a:pt x="285" y="100"/>
                      <a:pt x="285" y="100"/>
                    </a:cubicBezTo>
                    <a:cubicBezTo>
                      <a:pt x="285" y="100"/>
                      <a:pt x="285" y="100"/>
                      <a:pt x="285" y="101"/>
                    </a:cubicBezTo>
                    <a:cubicBezTo>
                      <a:pt x="285" y="101"/>
                      <a:pt x="285" y="101"/>
                      <a:pt x="285" y="101"/>
                    </a:cubicBezTo>
                    <a:cubicBezTo>
                      <a:pt x="285" y="101"/>
                      <a:pt x="285" y="101"/>
                      <a:pt x="285" y="101"/>
                    </a:cubicBezTo>
                    <a:cubicBezTo>
                      <a:pt x="285" y="101"/>
                      <a:pt x="286" y="101"/>
                      <a:pt x="285" y="101"/>
                    </a:cubicBezTo>
                    <a:cubicBezTo>
                      <a:pt x="285" y="101"/>
                      <a:pt x="285" y="102"/>
                      <a:pt x="285" y="102"/>
                    </a:cubicBezTo>
                    <a:cubicBezTo>
                      <a:pt x="285" y="102"/>
                      <a:pt x="286" y="103"/>
                      <a:pt x="286" y="103"/>
                    </a:cubicBezTo>
                    <a:cubicBezTo>
                      <a:pt x="286" y="104"/>
                      <a:pt x="286" y="104"/>
                      <a:pt x="286" y="104"/>
                    </a:cubicBezTo>
                    <a:cubicBezTo>
                      <a:pt x="286" y="104"/>
                      <a:pt x="286" y="104"/>
                      <a:pt x="286" y="104"/>
                    </a:cubicBezTo>
                    <a:cubicBezTo>
                      <a:pt x="286" y="105"/>
                      <a:pt x="286" y="105"/>
                      <a:pt x="286" y="105"/>
                    </a:cubicBezTo>
                    <a:cubicBezTo>
                      <a:pt x="286" y="105"/>
                      <a:pt x="286" y="105"/>
                      <a:pt x="285" y="105"/>
                    </a:cubicBezTo>
                    <a:cubicBezTo>
                      <a:pt x="285" y="105"/>
                      <a:pt x="285" y="106"/>
                      <a:pt x="285" y="106"/>
                    </a:cubicBezTo>
                    <a:cubicBezTo>
                      <a:pt x="285" y="106"/>
                      <a:pt x="285" y="106"/>
                      <a:pt x="285" y="106"/>
                    </a:cubicBezTo>
                    <a:cubicBezTo>
                      <a:pt x="285" y="106"/>
                      <a:pt x="285" y="106"/>
                      <a:pt x="285" y="106"/>
                    </a:cubicBezTo>
                    <a:cubicBezTo>
                      <a:pt x="285" y="106"/>
                      <a:pt x="284" y="106"/>
                      <a:pt x="284" y="107"/>
                    </a:cubicBezTo>
                    <a:cubicBezTo>
                      <a:pt x="285" y="107"/>
                      <a:pt x="285" y="107"/>
                      <a:pt x="285" y="107"/>
                    </a:cubicBezTo>
                    <a:cubicBezTo>
                      <a:pt x="285" y="107"/>
                      <a:pt x="285" y="108"/>
                      <a:pt x="285" y="108"/>
                    </a:cubicBezTo>
                    <a:cubicBezTo>
                      <a:pt x="285" y="109"/>
                      <a:pt x="285" y="109"/>
                      <a:pt x="284" y="108"/>
                    </a:cubicBezTo>
                    <a:cubicBezTo>
                      <a:pt x="284" y="108"/>
                      <a:pt x="284" y="108"/>
                      <a:pt x="284" y="108"/>
                    </a:cubicBezTo>
                    <a:cubicBezTo>
                      <a:pt x="284" y="108"/>
                      <a:pt x="284" y="108"/>
                      <a:pt x="284" y="108"/>
                    </a:cubicBezTo>
                    <a:cubicBezTo>
                      <a:pt x="283" y="107"/>
                      <a:pt x="284" y="107"/>
                      <a:pt x="284" y="107"/>
                    </a:cubicBezTo>
                    <a:cubicBezTo>
                      <a:pt x="284" y="107"/>
                      <a:pt x="283" y="107"/>
                      <a:pt x="283" y="107"/>
                    </a:cubicBezTo>
                    <a:cubicBezTo>
                      <a:pt x="283" y="107"/>
                      <a:pt x="283" y="107"/>
                      <a:pt x="283" y="107"/>
                    </a:cubicBezTo>
                    <a:cubicBezTo>
                      <a:pt x="283" y="107"/>
                      <a:pt x="283" y="107"/>
                      <a:pt x="283" y="107"/>
                    </a:cubicBezTo>
                    <a:cubicBezTo>
                      <a:pt x="283" y="107"/>
                      <a:pt x="282" y="108"/>
                      <a:pt x="283" y="108"/>
                    </a:cubicBezTo>
                    <a:cubicBezTo>
                      <a:pt x="282" y="108"/>
                      <a:pt x="282" y="108"/>
                      <a:pt x="282" y="108"/>
                    </a:cubicBezTo>
                    <a:cubicBezTo>
                      <a:pt x="282" y="108"/>
                      <a:pt x="282" y="108"/>
                      <a:pt x="282" y="108"/>
                    </a:cubicBezTo>
                    <a:cubicBezTo>
                      <a:pt x="282" y="108"/>
                      <a:pt x="282" y="109"/>
                      <a:pt x="282" y="109"/>
                    </a:cubicBezTo>
                    <a:cubicBezTo>
                      <a:pt x="282" y="109"/>
                      <a:pt x="282" y="109"/>
                      <a:pt x="281" y="109"/>
                    </a:cubicBezTo>
                    <a:cubicBezTo>
                      <a:pt x="281" y="109"/>
                      <a:pt x="281" y="109"/>
                      <a:pt x="281" y="109"/>
                    </a:cubicBezTo>
                    <a:cubicBezTo>
                      <a:pt x="281" y="109"/>
                      <a:pt x="281" y="109"/>
                      <a:pt x="280" y="109"/>
                    </a:cubicBezTo>
                    <a:cubicBezTo>
                      <a:pt x="280" y="108"/>
                      <a:pt x="280" y="108"/>
                      <a:pt x="280" y="108"/>
                    </a:cubicBezTo>
                    <a:cubicBezTo>
                      <a:pt x="280" y="108"/>
                      <a:pt x="280" y="108"/>
                      <a:pt x="280" y="108"/>
                    </a:cubicBezTo>
                    <a:cubicBezTo>
                      <a:pt x="280" y="108"/>
                      <a:pt x="280" y="108"/>
                      <a:pt x="280" y="108"/>
                    </a:cubicBezTo>
                    <a:cubicBezTo>
                      <a:pt x="280" y="108"/>
                      <a:pt x="279" y="107"/>
                      <a:pt x="279" y="107"/>
                    </a:cubicBezTo>
                    <a:cubicBezTo>
                      <a:pt x="279" y="107"/>
                      <a:pt x="279" y="106"/>
                      <a:pt x="279" y="106"/>
                    </a:cubicBezTo>
                    <a:cubicBezTo>
                      <a:pt x="279" y="106"/>
                      <a:pt x="279" y="106"/>
                      <a:pt x="279" y="106"/>
                    </a:cubicBezTo>
                    <a:cubicBezTo>
                      <a:pt x="278" y="105"/>
                      <a:pt x="278" y="105"/>
                      <a:pt x="277" y="105"/>
                    </a:cubicBezTo>
                    <a:cubicBezTo>
                      <a:pt x="277" y="105"/>
                      <a:pt x="277" y="105"/>
                      <a:pt x="277" y="105"/>
                    </a:cubicBezTo>
                    <a:cubicBezTo>
                      <a:pt x="276" y="105"/>
                      <a:pt x="276" y="105"/>
                      <a:pt x="276" y="105"/>
                    </a:cubicBezTo>
                    <a:cubicBezTo>
                      <a:pt x="276" y="104"/>
                      <a:pt x="276" y="104"/>
                      <a:pt x="276" y="104"/>
                    </a:cubicBezTo>
                    <a:cubicBezTo>
                      <a:pt x="276" y="103"/>
                      <a:pt x="276" y="103"/>
                      <a:pt x="276" y="103"/>
                    </a:cubicBezTo>
                    <a:cubicBezTo>
                      <a:pt x="276" y="103"/>
                      <a:pt x="276" y="103"/>
                      <a:pt x="275" y="102"/>
                    </a:cubicBezTo>
                    <a:cubicBezTo>
                      <a:pt x="275" y="101"/>
                      <a:pt x="274" y="101"/>
                      <a:pt x="274" y="100"/>
                    </a:cubicBezTo>
                    <a:cubicBezTo>
                      <a:pt x="274" y="99"/>
                      <a:pt x="274" y="100"/>
                      <a:pt x="274" y="99"/>
                    </a:cubicBezTo>
                    <a:cubicBezTo>
                      <a:pt x="274" y="98"/>
                      <a:pt x="274" y="98"/>
                      <a:pt x="274" y="97"/>
                    </a:cubicBezTo>
                    <a:cubicBezTo>
                      <a:pt x="274" y="97"/>
                      <a:pt x="274" y="96"/>
                      <a:pt x="274" y="96"/>
                    </a:cubicBezTo>
                    <a:cubicBezTo>
                      <a:pt x="274" y="95"/>
                      <a:pt x="274" y="94"/>
                      <a:pt x="273" y="94"/>
                    </a:cubicBezTo>
                    <a:cubicBezTo>
                      <a:pt x="273" y="93"/>
                      <a:pt x="273" y="94"/>
                      <a:pt x="274" y="93"/>
                    </a:cubicBezTo>
                    <a:cubicBezTo>
                      <a:pt x="274" y="93"/>
                      <a:pt x="274" y="91"/>
                      <a:pt x="274" y="91"/>
                    </a:cubicBezTo>
                    <a:cubicBezTo>
                      <a:pt x="274" y="90"/>
                      <a:pt x="274" y="90"/>
                      <a:pt x="273" y="90"/>
                    </a:cubicBezTo>
                    <a:cubicBezTo>
                      <a:pt x="273" y="90"/>
                      <a:pt x="273" y="90"/>
                      <a:pt x="273" y="90"/>
                    </a:cubicBezTo>
                    <a:cubicBezTo>
                      <a:pt x="272" y="90"/>
                      <a:pt x="272" y="90"/>
                      <a:pt x="272" y="90"/>
                    </a:cubicBezTo>
                    <a:cubicBezTo>
                      <a:pt x="272" y="90"/>
                      <a:pt x="272" y="90"/>
                      <a:pt x="272" y="90"/>
                    </a:cubicBezTo>
                    <a:cubicBezTo>
                      <a:pt x="272" y="90"/>
                      <a:pt x="272" y="90"/>
                      <a:pt x="272" y="90"/>
                    </a:cubicBezTo>
                    <a:cubicBezTo>
                      <a:pt x="272" y="89"/>
                      <a:pt x="271" y="90"/>
                      <a:pt x="270" y="90"/>
                    </a:cubicBezTo>
                    <a:cubicBezTo>
                      <a:pt x="270" y="89"/>
                      <a:pt x="270" y="90"/>
                      <a:pt x="270" y="90"/>
                    </a:cubicBezTo>
                    <a:cubicBezTo>
                      <a:pt x="270" y="90"/>
                      <a:pt x="269" y="90"/>
                      <a:pt x="269" y="89"/>
                    </a:cubicBezTo>
                    <a:cubicBezTo>
                      <a:pt x="269" y="89"/>
                      <a:pt x="269" y="89"/>
                      <a:pt x="268" y="89"/>
                    </a:cubicBezTo>
                    <a:cubicBezTo>
                      <a:pt x="267" y="89"/>
                      <a:pt x="267" y="89"/>
                      <a:pt x="266" y="90"/>
                    </a:cubicBezTo>
                    <a:cubicBezTo>
                      <a:pt x="265" y="90"/>
                      <a:pt x="266" y="89"/>
                      <a:pt x="265" y="89"/>
                    </a:cubicBezTo>
                    <a:cubicBezTo>
                      <a:pt x="265" y="89"/>
                      <a:pt x="265" y="89"/>
                      <a:pt x="265" y="89"/>
                    </a:cubicBezTo>
                    <a:cubicBezTo>
                      <a:pt x="265" y="89"/>
                      <a:pt x="265" y="89"/>
                      <a:pt x="264" y="89"/>
                    </a:cubicBezTo>
                    <a:cubicBezTo>
                      <a:pt x="263" y="89"/>
                      <a:pt x="264" y="89"/>
                      <a:pt x="264" y="88"/>
                    </a:cubicBezTo>
                    <a:cubicBezTo>
                      <a:pt x="263" y="88"/>
                      <a:pt x="263" y="88"/>
                      <a:pt x="262" y="88"/>
                    </a:cubicBezTo>
                    <a:cubicBezTo>
                      <a:pt x="262" y="87"/>
                      <a:pt x="262" y="87"/>
                      <a:pt x="261" y="87"/>
                    </a:cubicBezTo>
                    <a:cubicBezTo>
                      <a:pt x="260" y="87"/>
                      <a:pt x="260" y="87"/>
                      <a:pt x="259" y="87"/>
                    </a:cubicBezTo>
                    <a:cubicBezTo>
                      <a:pt x="259" y="86"/>
                      <a:pt x="259" y="86"/>
                      <a:pt x="258" y="86"/>
                    </a:cubicBezTo>
                    <a:cubicBezTo>
                      <a:pt x="258" y="86"/>
                      <a:pt x="258" y="86"/>
                      <a:pt x="258" y="86"/>
                    </a:cubicBezTo>
                    <a:cubicBezTo>
                      <a:pt x="258" y="86"/>
                      <a:pt x="258" y="86"/>
                      <a:pt x="258" y="86"/>
                    </a:cubicBezTo>
                    <a:cubicBezTo>
                      <a:pt x="258" y="86"/>
                      <a:pt x="258" y="86"/>
                      <a:pt x="258" y="86"/>
                    </a:cubicBezTo>
                    <a:cubicBezTo>
                      <a:pt x="258" y="86"/>
                      <a:pt x="257" y="86"/>
                      <a:pt x="257" y="86"/>
                    </a:cubicBezTo>
                    <a:cubicBezTo>
                      <a:pt x="257" y="86"/>
                      <a:pt x="257" y="85"/>
                      <a:pt x="257" y="85"/>
                    </a:cubicBezTo>
                    <a:cubicBezTo>
                      <a:pt x="256" y="84"/>
                      <a:pt x="256" y="84"/>
                      <a:pt x="256" y="84"/>
                    </a:cubicBezTo>
                    <a:cubicBezTo>
                      <a:pt x="256" y="83"/>
                      <a:pt x="256" y="83"/>
                      <a:pt x="256" y="83"/>
                    </a:cubicBezTo>
                    <a:cubicBezTo>
                      <a:pt x="256" y="84"/>
                      <a:pt x="255" y="84"/>
                      <a:pt x="254" y="83"/>
                    </a:cubicBezTo>
                    <a:cubicBezTo>
                      <a:pt x="254" y="83"/>
                      <a:pt x="254" y="83"/>
                      <a:pt x="254" y="83"/>
                    </a:cubicBezTo>
                    <a:cubicBezTo>
                      <a:pt x="254" y="82"/>
                      <a:pt x="253" y="82"/>
                      <a:pt x="253" y="82"/>
                    </a:cubicBezTo>
                    <a:cubicBezTo>
                      <a:pt x="252" y="81"/>
                      <a:pt x="253" y="82"/>
                      <a:pt x="252" y="82"/>
                    </a:cubicBezTo>
                    <a:cubicBezTo>
                      <a:pt x="252" y="82"/>
                      <a:pt x="252" y="82"/>
                      <a:pt x="252" y="82"/>
                    </a:cubicBezTo>
                    <a:cubicBezTo>
                      <a:pt x="251" y="82"/>
                      <a:pt x="251" y="82"/>
                      <a:pt x="251" y="81"/>
                    </a:cubicBezTo>
                    <a:cubicBezTo>
                      <a:pt x="249" y="81"/>
                      <a:pt x="249" y="81"/>
                      <a:pt x="248" y="80"/>
                    </a:cubicBezTo>
                    <a:cubicBezTo>
                      <a:pt x="247" y="79"/>
                      <a:pt x="247" y="80"/>
                      <a:pt x="246" y="80"/>
                    </a:cubicBezTo>
                    <a:cubicBezTo>
                      <a:pt x="245" y="79"/>
                      <a:pt x="245" y="79"/>
                      <a:pt x="245" y="79"/>
                    </a:cubicBezTo>
                    <a:cubicBezTo>
                      <a:pt x="244" y="80"/>
                      <a:pt x="244" y="80"/>
                      <a:pt x="243" y="80"/>
                    </a:cubicBezTo>
                    <a:cubicBezTo>
                      <a:pt x="243" y="81"/>
                      <a:pt x="242" y="81"/>
                      <a:pt x="242" y="81"/>
                    </a:cubicBezTo>
                    <a:cubicBezTo>
                      <a:pt x="242" y="81"/>
                      <a:pt x="242" y="81"/>
                      <a:pt x="242" y="81"/>
                    </a:cubicBezTo>
                    <a:cubicBezTo>
                      <a:pt x="242" y="81"/>
                      <a:pt x="242" y="81"/>
                      <a:pt x="242" y="81"/>
                    </a:cubicBezTo>
                    <a:cubicBezTo>
                      <a:pt x="241" y="81"/>
                      <a:pt x="241" y="81"/>
                      <a:pt x="241" y="81"/>
                    </a:cubicBezTo>
                    <a:cubicBezTo>
                      <a:pt x="241" y="80"/>
                      <a:pt x="241" y="80"/>
                      <a:pt x="241" y="80"/>
                    </a:cubicBezTo>
                    <a:cubicBezTo>
                      <a:pt x="241" y="80"/>
                      <a:pt x="241" y="80"/>
                      <a:pt x="241" y="79"/>
                    </a:cubicBezTo>
                    <a:cubicBezTo>
                      <a:pt x="241" y="79"/>
                      <a:pt x="241" y="79"/>
                      <a:pt x="241" y="78"/>
                    </a:cubicBezTo>
                    <a:cubicBezTo>
                      <a:pt x="241" y="78"/>
                      <a:pt x="241" y="77"/>
                      <a:pt x="241" y="77"/>
                    </a:cubicBezTo>
                    <a:cubicBezTo>
                      <a:pt x="241" y="76"/>
                      <a:pt x="240" y="76"/>
                      <a:pt x="240" y="75"/>
                    </a:cubicBezTo>
                    <a:cubicBezTo>
                      <a:pt x="239" y="74"/>
                      <a:pt x="240" y="75"/>
                      <a:pt x="239" y="74"/>
                    </a:cubicBezTo>
                    <a:cubicBezTo>
                      <a:pt x="239" y="73"/>
                      <a:pt x="239" y="72"/>
                      <a:pt x="239" y="72"/>
                    </a:cubicBezTo>
                    <a:cubicBezTo>
                      <a:pt x="238" y="72"/>
                      <a:pt x="239" y="72"/>
                      <a:pt x="238" y="72"/>
                    </a:cubicBezTo>
                    <a:cubicBezTo>
                      <a:pt x="238" y="72"/>
                      <a:pt x="238" y="72"/>
                      <a:pt x="238" y="72"/>
                    </a:cubicBezTo>
                    <a:cubicBezTo>
                      <a:pt x="238" y="72"/>
                      <a:pt x="238" y="72"/>
                      <a:pt x="237" y="72"/>
                    </a:cubicBezTo>
                    <a:cubicBezTo>
                      <a:pt x="237" y="72"/>
                      <a:pt x="237" y="72"/>
                      <a:pt x="237" y="72"/>
                    </a:cubicBezTo>
                    <a:cubicBezTo>
                      <a:pt x="236" y="72"/>
                      <a:pt x="236" y="72"/>
                      <a:pt x="236" y="72"/>
                    </a:cubicBezTo>
                    <a:cubicBezTo>
                      <a:pt x="236" y="72"/>
                      <a:pt x="236" y="72"/>
                      <a:pt x="235" y="72"/>
                    </a:cubicBezTo>
                    <a:cubicBezTo>
                      <a:pt x="234" y="72"/>
                      <a:pt x="235" y="72"/>
                      <a:pt x="234" y="72"/>
                    </a:cubicBezTo>
                    <a:cubicBezTo>
                      <a:pt x="234" y="71"/>
                      <a:pt x="234" y="71"/>
                      <a:pt x="234" y="71"/>
                    </a:cubicBezTo>
                    <a:cubicBezTo>
                      <a:pt x="234" y="71"/>
                      <a:pt x="234" y="71"/>
                      <a:pt x="234" y="71"/>
                    </a:cubicBezTo>
                    <a:cubicBezTo>
                      <a:pt x="234" y="71"/>
                      <a:pt x="234" y="71"/>
                      <a:pt x="234" y="71"/>
                    </a:cubicBezTo>
                    <a:cubicBezTo>
                      <a:pt x="234" y="71"/>
                      <a:pt x="234" y="71"/>
                      <a:pt x="234" y="70"/>
                    </a:cubicBezTo>
                    <a:cubicBezTo>
                      <a:pt x="234" y="70"/>
                      <a:pt x="234" y="70"/>
                      <a:pt x="234" y="70"/>
                    </a:cubicBezTo>
                    <a:cubicBezTo>
                      <a:pt x="234" y="70"/>
                      <a:pt x="234" y="70"/>
                      <a:pt x="234" y="70"/>
                    </a:cubicBezTo>
                    <a:cubicBezTo>
                      <a:pt x="234" y="70"/>
                      <a:pt x="234" y="70"/>
                      <a:pt x="234" y="70"/>
                    </a:cubicBezTo>
                    <a:cubicBezTo>
                      <a:pt x="234" y="70"/>
                      <a:pt x="234" y="70"/>
                      <a:pt x="234" y="69"/>
                    </a:cubicBezTo>
                    <a:cubicBezTo>
                      <a:pt x="234" y="69"/>
                      <a:pt x="234" y="69"/>
                      <a:pt x="234" y="68"/>
                    </a:cubicBezTo>
                    <a:cubicBezTo>
                      <a:pt x="234" y="68"/>
                      <a:pt x="234" y="66"/>
                      <a:pt x="234" y="66"/>
                    </a:cubicBezTo>
                    <a:cubicBezTo>
                      <a:pt x="234" y="66"/>
                      <a:pt x="234" y="65"/>
                      <a:pt x="234" y="64"/>
                    </a:cubicBezTo>
                    <a:cubicBezTo>
                      <a:pt x="235" y="63"/>
                      <a:pt x="235" y="63"/>
                      <a:pt x="235" y="63"/>
                    </a:cubicBezTo>
                    <a:cubicBezTo>
                      <a:pt x="234" y="63"/>
                      <a:pt x="234" y="63"/>
                      <a:pt x="234" y="63"/>
                    </a:cubicBezTo>
                    <a:cubicBezTo>
                      <a:pt x="234" y="63"/>
                      <a:pt x="234" y="63"/>
                      <a:pt x="234" y="63"/>
                    </a:cubicBezTo>
                    <a:cubicBezTo>
                      <a:pt x="234" y="63"/>
                      <a:pt x="234" y="63"/>
                      <a:pt x="235" y="63"/>
                    </a:cubicBezTo>
                    <a:cubicBezTo>
                      <a:pt x="235" y="63"/>
                      <a:pt x="235" y="63"/>
                      <a:pt x="235" y="62"/>
                    </a:cubicBezTo>
                    <a:cubicBezTo>
                      <a:pt x="235" y="62"/>
                      <a:pt x="235" y="62"/>
                      <a:pt x="235" y="61"/>
                    </a:cubicBezTo>
                    <a:cubicBezTo>
                      <a:pt x="236" y="61"/>
                      <a:pt x="236" y="60"/>
                      <a:pt x="236" y="59"/>
                    </a:cubicBezTo>
                    <a:cubicBezTo>
                      <a:pt x="236" y="59"/>
                      <a:pt x="236" y="59"/>
                      <a:pt x="236" y="59"/>
                    </a:cubicBezTo>
                    <a:cubicBezTo>
                      <a:pt x="236" y="59"/>
                      <a:pt x="236" y="59"/>
                      <a:pt x="237" y="59"/>
                    </a:cubicBezTo>
                    <a:cubicBezTo>
                      <a:pt x="237" y="59"/>
                      <a:pt x="237" y="59"/>
                      <a:pt x="237" y="58"/>
                    </a:cubicBezTo>
                    <a:cubicBezTo>
                      <a:pt x="237" y="58"/>
                      <a:pt x="237" y="58"/>
                      <a:pt x="237" y="58"/>
                    </a:cubicBezTo>
                    <a:cubicBezTo>
                      <a:pt x="237" y="58"/>
                      <a:pt x="237" y="58"/>
                      <a:pt x="237" y="57"/>
                    </a:cubicBezTo>
                    <a:cubicBezTo>
                      <a:pt x="238" y="57"/>
                      <a:pt x="238" y="57"/>
                      <a:pt x="238" y="57"/>
                    </a:cubicBezTo>
                    <a:cubicBezTo>
                      <a:pt x="238" y="57"/>
                      <a:pt x="238" y="57"/>
                      <a:pt x="238" y="57"/>
                    </a:cubicBezTo>
                    <a:cubicBezTo>
                      <a:pt x="238" y="57"/>
                      <a:pt x="238" y="56"/>
                      <a:pt x="239" y="56"/>
                    </a:cubicBezTo>
                    <a:cubicBezTo>
                      <a:pt x="239" y="55"/>
                      <a:pt x="240" y="55"/>
                      <a:pt x="240" y="54"/>
                    </a:cubicBezTo>
                    <a:cubicBezTo>
                      <a:pt x="241" y="53"/>
                      <a:pt x="241" y="53"/>
                      <a:pt x="241" y="53"/>
                    </a:cubicBezTo>
                    <a:cubicBezTo>
                      <a:pt x="241" y="53"/>
                      <a:pt x="241" y="52"/>
                      <a:pt x="241" y="52"/>
                    </a:cubicBezTo>
                    <a:cubicBezTo>
                      <a:pt x="241" y="52"/>
                      <a:pt x="241" y="52"/>
                      <a:pt x="242" y="52"/>
                    </a:cubicBezTo>
                    <a:cubicBezTo>
                      <a:pt x="242" y="52"/>
                      <a:pt x="242" y="52"/>
                      <a:pt x="243" y="52"/>
                    </a:cubicBezTo>
                    <a:cubicBezTo>
                      <a:pt x="243" y="53"/>
                      <a:pt x="243" y="52"/>
                      <a:pt x="243" y="52"/>
                    </a:cubicBezTo>
                    <a:cubicBezTo>
                      <a:pt x="242" y="52"/>
                      <a:pt x="242" y="52"/>
                      <a:pt x="242" y="51"/>
                    </a:cubicBezTo>
                    <a:cubicBezTo>
                      <a:pt x="241" y="51"/>
                      <a:pt x="241" y="51"/>
                      <a:pt x="241" y="51"/>
                    </a:cubicBezTo>
                    <a:cubicBezTo>
                      <a:pt x="241" y="51"/>
                      <a:pt x="242" y="51"/>
                      <a:pt x="242" y="51"/>
                    </a:cubicBezTo>
                    <a:cubicBezTo>
                      <a:pt x="242" y="51"/>
                      <a:pt x="243" y="51"/>
                      <a:pt x="243" y="51"/>
                    </a:cubicBezTo>
                    <a:cubicBezTo>
                      <a:pt x="244" y="51"/>
                      <a:pt x="244" y="51"/>
                      <a:pt x="244" y="51"/>
                    </a:cubicBezTo>
                    <a:cubicBezTo>
                      <a:pt x="245" y="51"/>
                      <a:pt x="245" y="51"/>
                      <a:pt x="245" y="51"/>
                    </a:cubicBezTo>
                    <a:cubicBezTo>
                      <a:pt x="245" y="51"/>
                      <a:pt x="245" y="51"/>
                      <a:pt x="246" y="50"/>
                    </a:cubicBezTo>
                    <a:cubicBezTo>
                      <a:pt x="246" y="50"/>
                      <a:pt x="246" y="50"/>
                      <a:pt x="247" y="50"/>
                    </a:cubicBezTo>
                    <a:cubicBezTo>
                      <a:pt x="247" y="50"/>
                      <a:pt x="247" y="50"/>
                      <a:pt x="247" y="50"/>
                    </a:cubicBezTo>
                    <a:cubicBezTo>
                      <a:pt x="247" y="49"/>
                      <a:pt x="247" y="49"/>
                      <a:pt x="247" y="48"/>
                    </a:cubicBezTo>
                    <a:cubicBezTo>
                      <a:pt x="247" y="48"/>
                      <a:pt x="247" y="48"/>
                      <a:pt x="246" y="48"/>
                    </a:cubicBezTo>
                    <a:cubicBezTo>
                      <a:pt x="246" y="48"/>
                      <a:pt x="245" y="48"/>
                      <a:pt x="245" y="48"/>
                    </a:cubicBezTo>
                    <a:cubicBezTo>
                      <a:pt x="244" y="47"/>
                      <a:pt x="244" y="47"/>
                      <a:pt x="244" y="47"/>
                    </a:cubicBezTo>
                    <a:cubicBezTo>
                      <a:pt x="244" y="47"/>
                      <a:pt x="244" y="47"/>
                      <a:pt x="243" y="46"/>
                    </a:cubicBezTo>
                    <a:cubicBezTo>
                      <a:pt x="243" y="46"/>
                      <a:pt x="243" y="46"/>
                      <a:pt x="242" y="46"/>
                    </a:cubicBezTo>
                    <a:cubicBezTo>
                      <a:pt x="242" y="46"/>
                      <a:pt x="240" y="46"/>
                      <a:pt x="240" y="46"/>
                    </a:cubicBezTo>
                    <a:cubicBezTo>
                      <a:pt x="239" y="45"/>
                      <a:pt x="239" y="45"/>
                      <a:pt x="239" y="45"/>
                    </a:cubicBezTo>
                    <a:cubicBezTo>
                      <a:pt x="239" y="45"/>
                      <a:pt x="239" y="45"/>
                      <a:pt x="239" y="45"/>
                    </a:cubicBezTo>
                    <a:cubicBezTo>
                      <a:pt x="239" y="45"/>
                      <a:pt x="239" y="45"/>
                      <a:pt x="239" y="45"/>
                    </a:cubicBezTo>
                    <a:cubicBezTo>
                      <a:pt x="239" y="45"/>
                      <a:pt x="239" y="45"/>
                      <a:pt x="240" y="45"/>
                    </a:cubicBezTo>
                    <a:cubicBezTo>
                      <a:pt x="240" y="45"/>
                      <a:pt x="241" y="46"/>
                      <a:pt x="241" y="46"/>
                    </a:cubicBezTo>
                    <a:cubicBezTo>
                      <a:pt x="242" y="46"/>
                      <a:pt x="243" y="46"/>
                      <a:pt x="244" y="46"/>
                    </a:cubicBezTo>
                    <a:cubicBezTo>
                      <a:pt x="244" y="46"/>
                      <a:pt x="244" y="46"/>
                      <a:pt x="245" y="47"/>
                    </a:cubicBezTo>
                    <a:cubicBezTo>
                      <a:pt x="246" y="47"/>
                      <a:pt x="246" y="47"/>
                      <a:pt x="247" y="47"/>
                    </a:cubicBezTo>
                    <a:cubicBezTo>
                      <a:pt x="247" y="47"/>
                      <a:pt x="248" y="47"/>
                      <a:pt x="248" y="47"/>
                    </a:cubicBezTo>
                    <a:cubicBezTo>
                      <a:pt x="249" y="46"/>
                      <a:pt x="249" y="46"/>
                      <a:pt x="249" y="46"/>
                    </a:cubicBezTo>
                    <a:cubicBezTo>
                      <a:pt x="249" y="45"/>
                      <a:pt x="249" y="45"/>
                      <a:pt x="249" y="45"/>
                    </a:cubicBezTo>
                    <a:cubicBezTo>
                      <a:pt x="249" y="45"/>
                      <a:pt x="249" y="45"/>
                      <a:pt x="249" y="45"/>
                    </a:cubicBezTo>
                    <a:cubicBezTo>
                      <a:pt x="249" y="45"/>
                      <a:pt x="249" y="45"/>
                      <a:pt x="249" y="45"/>
                    </a:cubicBezTo>
                    <a:cubicBezTo>
                      <a:pt x="249" y="45"/>
                      <a:pt x="249" y="45"/>
                      <a:pt x="250" y="45"/>
                    </a:cubicBezTo>
                    <a:cubicBezTo>
                      <a:pt x="250" y="45"/>
                      <a:pt x="250" y="45"/>
                      <a:pt x="250" y="45"/>
                    </a:cubicBezTo>
                    <a:cubicBezTo>
                      <a:pt x="250" y="44"/>
                      <a:pt x="250" y="44"/>
                      <a:pt x="249" y="44"/>
                    </a:cubicBezTo>
                    <a:cubicBezTo>
                      <a:pt x="249" y="44"/>
                      <a:pt x="249" y="44"/>
                      <a:pt x="249" y="44"/>
                    </a:cubicBezTo>
                    <a:cubicBezTo>
                      <a:pt x="249" y="44"/>
                      <a:pt x="249" y="44"/>
                      <a:pt x="249" y="44"/>
                    </a:cubicBezTo>
                    <a:cubicBezTo>
                      <a:pt x="250" y="44"/>
                      <a:pt x="250" y="44"/>
                      <a:pt x="250" y="44"/>
                    </a:cubicBezTo>
                    <a:cubicBezTo>
                      <a:pt x="250" y="44"/>
                      <a:pt x="250" y="44"/>
                      <a:pt x="251" y="44"/>
                    </a:cubicBezTo>
                    <a:cubicBezTo>
                      <a:pt x="251" y="44"/>
                      <a:pt x="252" y="45"/>
                      <a:pt x="252" y="45"/>
                    </a:cubicBezTo>
                    <a:cubicBezTo>
                      <a:pt x="253" y="45"/>
                      <a:pt x="254" y="45"/>
                      <a:pt x="254" y="44"/>
                    </a:cubicBezTo>
                    <a:cubicBezTo>
                      <a:pt x="255" y="44"/>
                      <a:pt x="255" y="44"/>
                      <a:pt x="256" y="43"/>
                    </a:cubicBezTo>
                    <a:cubicBezTo>
                      <a:pt x="256" y="43"/>
                      <a:pt x="256" y="43"/>
                      <a:pt x="256" y="42"/>
                    </a:cubicBezTo>
                    <a:cubicBezTo>
                      <a:pt x="256" y="42"/>
                      <a:pt x="258" y="40"/>
                      <a:pt x="258" y="40"/>
                    </a:cubicBezTo>
                    <a:cubicBezTo>
                      <a:pt x="258" y="40"/>
                      <a:pt x="258" y="40"/>
                      <a:pt x="258" y="39"/>
                    </a:cubicBezTo>
                    <a:cubicBezTo>
                      <a:pt x="259" y="38"/>
                      <a:pt x="259" y="38"/>
                      <a:pt x="259" y="38"/>
                    </a:cubicBezTo>
                    <a:cubicBezTo>
                      <a:pt x="259" y="38"/>
                      <a:pt x="259" y="38"/>
                      <a:pt x="259" y="38"/>
                    </a:cubicBezTo>
                    <a:cubicBezTo>
                      <a:pt x="258" y="38"/>
                      <a:pt x="258" y="38"/>
                      <a:pt x="258" y="38"/>
                    </a:cubicBezTo>
                    <a:cubicBezTo>
                      <a:pt x="256" y="38"/>
                      <a:pt x="255" y="38"/>
                      <a:pt x="255" y="38"/>
                    </a:cubicBezTo>
                    <a:cubicBezTo>
                      <a:pt x="254" y="38"/>
                      <a:pt x="253" y="38"/>
                      <a:pt x="253" y="38"/>
                    </a:cubicBezTo>
                    <a:cubicBezTo>
                      <a:pt x="252" y="38"/>
                      <a:pt x="252" y="37"/>
                      <a:pt x="252" y="37"/>
                    </a:cubicBezTo>
                    <a:cubicBezTo>
                      <a:pt x="252" y="37"/>
                      <a:pt x="251" y="37"/>
                      <a:pt x="251" y="36"/>
                    </a:cubicBezTo>
                    <a:cubicBezTo>
                      <a:pt x="251" y="36"/>
                      <a:pt x="251" y="36"/>
                      <a:pt x="250" y="36"/>
                    </a:cubicBezTo>
                    <a:cubicBezTo>
                      <a:pt x="250" y="35"/>
                      <a:pt x="249" y="35"/>
                      <a:pt x="248" y="35"/>
                    </a:cubicBezTo>
                    <a:cubicBezTo>
                      <a:pt x="248" y="35"/>
                      <a:pt x="248" y="35"/>
                      <a:pt x="248" y="35"/>
                    </a:cubicBezTo>
                    <a:cubicBezTo>
                      <a:pt x="248" y="35"/>
                      <a:pt x="248" y="34"/>
                      <a:pt x="248" y="34"/>
                    </a:cubicBezTo>
                    <a:cubicBezTo>
                      <a:pt x="248" y="34"/>
                      <a:pt x="248" y="34"/>
                      <a:pt x="248" y="34"/>
                    </a:cubicBezTo>
                    <a:cubicBezTo>
                      <a:pt x="248" y="34"/>
                      <a:pt x="248" y="34"/>
                      <a:pt x="249" y="34"/>
                    </a:cubicBezTo>
                    <a:cubicBezTo>
                      <a:pt x="249" y="34"/>
                      <a:pt x="249" y="34"/>
                      <a:pt x="250" y="34"/>
                    </a:cubicBezTo>
                    <a:cubicBezTo>
                      <a:pt x="250" y="34"/>
                      <a:pt x="250" y="34"/>
                      <a:pt x="250" y="34"/>
                    </a:cubicBezTo>
                    <a:cubicBezTo>
                      <a:pt x="250" y="34"/>
                      <a:pt x="251" y="35"/>
                      <a:pt x="252" y="35"/>
                    </a:cubicBezTo>
                    <a:cubicBezTo>
                      <a:pt x="252" y="35"/>
                      <a:pt x="252" y="35"/>
                      <a:pt x="252" y="35"/>
                    </a:cubicBezTo>
                    <a:cubicBezTo>
                      <a:pt x="252" y="35"/>
                      <a:pt x="252" y="34"/>
                      <a:pt x="254" y="36"/>
                    </a:cubicBezTo>
                    <a:cubicBezTo>
                      <a:pt x="256" y="38"/>
                      <a:pt x="258" y="37"/>
                      <a:pt x="258" y="37"/>
                    </a:cubicBezTo>
                    <a:cubicBezTo>
                      <a:pt x="258" y="37"/>
                      <a:pt x="259" y="37"/>
                      <a:pt x="259" y="37"/>
                    </a:cubicBezTo>
                    <a:cubicBezTo>
                      <a:pt x="259" y="36"/>
                      <a:pt x="259" y="36"/>
                      <a:pt x="259" y="36"/>
                    </a:cubicBezTo>
                    <a:cubicBezTo>
                      <a:pt x="260" y="36"/>
                      <a:pt x="261" y="35"/>
                      <a:pt x="261" y="35"/>
                    </a:cubicBezTo>
                    <a:cubicBezTo>
                      <a:pt x="260" y="35"/>
                      <a:pt x="260" y="34"/>
                      <a:pt x="260" y="34"/>
                    </a:cubicBezTo>
                    <a:cubicBezTo>
                      <a:pt x="261" y="34"/>
                      <a:pt x="261" y="34"/>
                      <a:pt x="262" y="34"/>
                    </a:cubicBezTo>
                    <a:cubicBezTo>
                      <a:pt x="262" y="34"/>
                      <a:pt x="262" y="33"/>
                      <a:pt x="262" y="33"/>
                    </a:cubicBezTo>
                    <a:cubicBezTo>
                      <a:pt x="262" y="33"/>
                      <a:pt x="262" y="33"/>
                      <a:pt x="262" y="33"/>
                    </a:cubicBezTo>
                    <a:cubicBezTo>
                      <a:pt x="262" y="32"/>
                      <a:pt x="261" y="32"/>
                      <a:pt x="261" y="32"/>
                    </a:cubicBezTo>
                    <a:cubicBezTo>
                      <a:pt x="261" y="32"/>
                      <a:pt x="260" y="32"/>
                      <a:pt x="260" y="31"/>
                    </a:cubicBezTo>
                    <a:cubicBezTo>
                      <a:pt x="260" y="31"/>
                      <a:pt x="259" y="31"/>
                      <a:pt x="259" y="31"/>
                    </a:cubicBezTo>
                    <a:cubicBezTo>
                      <a:pt x="259" y="31"/>
                      <a:pt x="260" y="31"/>
                      <a:pt x="260" y="31"/>
                    </a:cubicBezTo>
                    <a:cubicBezTo>
                      <a:pt x="260" y="31"/>
                      <a:pt x="260" y="31"/>
                      <a:pt x="262" y="31"/>
                    </a:cubicBezTo>
                    <a:cubicBezTo>
                      <a:pt x="263" y="31"/>
                      <a:pt x="263" y="31"/>
                      <a:pt x="263" y="31"/>
                    </a:cubicBezTo>
                    <a:cubicBezTo>
                      <a:pt x="263" y="31"/>
                      <a:pt x="264" y="31"/>
                      <a:pt x="264" y="31"/>
                    </a:cubicBezTo>
                    <a:cubicBezTo>
                      <a:pt x="264" y="31"/>
                      <a:pt x="264" y="31"/>
                      <a:pt x="264" y="32"/>
                    </a:cubicBezTo>
                    <a:cubicBezTo>
                      <a:pt x="265" y="32"/>
                      <a:pt x="265" y="32"/>
                      <a:pt x="265" y="32"/>
                    </a:cubicBezTo>
                    <a:cubicBezTo>
                      <a:pt x="265" y="32"/>
                      <a:pt x="265" y="32"/>
                      <a:pt x="265" y="32"/>
                    </a:cubicBezTo>
                    <a:cubicBezTo>
                      <a:pt x="265" y="32"/>
                      <a:pt x="265" y="32"/>
                      <a:pt x="265" y="32"/>
                    </a:cubicBezTo>
                    <a:cubicBezTo>
                      <a:pt x="266" y="32"/>
                      <a:pt x="266" y="32"/>
                      <a:pt x="266" y="32"/>
                    </a:cubicBezTo>
                    <a:cubicBezTo>
                      <a:pt x="266" y="32"/>
                      <a:pt x="267" y="32"/>
                      <a:pt x="267" y="32"/>
                    </a:cubicBezTo>
                    <a:cubicBezTo>
                      <a:pt x="267" y="32"/>
                      <a:pt x="266" y="32"/>
                      <a:pt x="266" y="32"/>
                    </a:cubicBezTo>
                    <a:cubicBezTo>
                      <a:pt x="266" y="32"/>
                      <a:pt x="266" y="32"/>
                      <a:pt x="267" y="32"/>
                    </a:cubicBezTo>
                    <a:cubicBezTo>
                      <a:pt x="267" y="32"/>
                      <a:pt x="267" y="32"/>
                      <a:pt x="267" y="32"/>
                    </a:cubicBezTo>
                    <a:cubicBezTo>
                      <a:pt x="267" y="32"/>
                      <a:pt x="267" y="32"/>
                      <a:pt x="267" y="32"/>
                    </a:cubicBezTo>
                    <a:cubicBezTo>
                      <a:pt x="268" y="32"/>
                      <a:pt x="268" y="32"/>
                      <a:pt x="268" y="33"/>
                    </a:cubicBezTo>
                    <a:cubicBezTo>
                      <a:pt x="269" y="33"/>
                      <a:pt x="269" y="33"/>
                      <a:pt x="269" y="33"/>
                    </a:cubicBezTo>
                    <a:cubicBezTo>
                      <a:pt x="269" y="33"/>
                      <a:pt x="269" y="32"/>
                      <a:pt x="269" y="32"/>
                    </a:cubicBezTo>
                    <a:cubicBezTo>
                      <a:pt x="269" y="32"/>
                      <a:pt x="269" y="32"/>
                      <a:pt x="269" y="32"/>
                    </a:cubicBezTo>
                    <a:cubicBezTo>
                      <a:pt x="269" y="32"/>
                      <a:pt x="268" y="31"/>
                      <a:pt x="268" y="31"/>
                    </a:cubicBezTo>
                    <a:cubicBezTo>
                      <a:pt x="268" y="31"/>
                      <a:pt x="268" y="31"/>
                      <a:pt x="268" y="31"/>
                    </a:cubicBezTo>
                    <a:cubicBezTo>
                      <a:pt x="268" y="31"/>
                      <a:pt x="267" y="30"/>
                      <a:pt x="267" y="30"/>
                    </a:cubicBezTo>
                    <a:cubicBezTo>
                      <a:pt x="267" y="30"/>
                      <a:pt x="267" y="30"/>
                      <a:pt x="267" y="30"/>
                    </a:cubicBezTo>
                    <a:cubicBezTo>
                      <a:pt x="266" y="29"/>
                      <a:pt x="267" y="29"/>
                      <a:pt x="267" y="30"/>
                    </a:cubicBezTo>
                    <a:cubicBezTo>
                      <a:pt x="267" y="30"/>
                      <a:pt x="267" y="30"/>
                      <a:pt x="268" y="30"/>
                    </a:cubicBezTo>
                    <a:cubicBezTo>
                      <a:pt x="269" y="30"/>
                      <a:pt x="268" y="30"/>
                      <a:pt x="268" y="30"/>
                    </a:cubicBezTo>
                    <a:cubicBezTo>
                      <a:pt x="268" y="30"/>
                      <a:pt x="268" y="31"/>
                      <a:pt x="269" y="31"/>
                    </a:cubicBezTo>
                    <a:cubicBezTo>
                      <a:pt x="269" y="31"/>
                      <a:pt x="269" y="31"/>
                      <a:pt x="270" y="32"/>
                    </a:cubicBezTo>
                    <a:cubicBezTo>
                      <a:pt x="270" y="32"/>
                      <a:pt x="270" y="32"/>
                      <a:pt x="270" y="32"/>
                    </a:cubicBezTo>
                    <a:cubicBezTo>
                      <a:pt x="271" y="32"/>
                      <a:pt x="271" y="32"/>
                      <a:pt x="271" y="31"/>
                    </a:cubicBezTo>
                    <a:cubicBezTo>
                      <a:pt x="271" y="31"/>
                      <a:pt x="272" y="31"/>
                      <a:pt x="272" y="31"/>
                    </a:cubicBezTo>
                    <a:cubicBezTo>
                      <a:pt x="272" y="30"/>
                      <a:pt x="272" y="31"/>
                      <a:pt x="273" y="31"/>
                    </a:cubicBezTo>
                    <a:cubicBezTo>
                      <a:pt x="273" y="31"/>
                      <a:pt x="273" y="31"/>
                      <a:pt x="273" y="31"/>
                    </a:cubicBezTo>
                    <a:cubicBezTo>
                      <a:pt x="273" y="31"/>
                      <a:pt x="273" y="30"/>
                      <a:pt x="274" y="30"/>
                    </a:cubicBezTo>
                    <a:cubicBezTo>
                      <a:pt x="274" y="30"/>
                      <a:pt x="274" y="30"/>
                      <a:pt x="274" y="30"/>
                    </a:cubicBezTo>
                    <a:cubicBezTo>
                      <a:pt x="274" y="30"/>
                      <a:pt x="274" y="30"/>
                      <a:pt x="274" y="29"/>
                    </a:cubicBezTo>
                    <a:cubicBezTo>
                      <a:pt x="274" y="29"/>
                      <a:pt x="275" y="28"/>
                      <a:pt x="276" y="28"/>
                    </a:cubicBezTo>
                    <a:cubicBezTo>
                      <a:pt x="276" y="28"/>
                      <a:pt x="276" y="28"/>
                      <a:pt x="276" y="28"/>
                    </a:cubicBezTo>
                    <a:cubicBezTo>
                      <a:pt x="277" y="28"/>
                      <a:pt x="277" y="27"/>
                      <a:pt x="277" y="26"/>
                    </a:cubicBezTo>
                    <a:cubicBezTo>
                      <a:pt x="277" y="25"/>
                      <a:pt x="277" y="25"/>
                      <a:pt x="277" y="25"/>
                    </a:cubicBezTo>
                    <a:cubicBezTo>
                      <a:pt x="276" y="24"/>
                      <a:pt x="276" y="24"/>
                      <a:pt x="275" y="24"/>
                    </a:cubicBezTo>
                    <a:cubicBezTo>
                      <a:pt x="275" y="24"/>
                      <a:pt x="275" y="24"/>
                      <a:pt x="275" y="23"/>
                    </a:cubicBezTo>
                    <a:cubicBezTo>
                      <a:pt x="274" y="23"/>
                      <a:pt x="274" y="23"/>
                      <a:pt x="275" y="22"/>
                    </a:cubicBezTo>
                    <a:cubicBezTo>
                      <a:pt x="275" y="22"/>
                      <a:pt x="275" y="22"/>
                      <a:pt x="275" y="21"/>
                    </a:cubicBezTo>
                    <a:cubicBezTo>
                      <a:pt x="274" y="21"/>
                      <a:pt x="274" y="21"/>
                      <a:pt x="274" y="21"/>
                    </a:cubicBezTo>
                    <a:cubicBezTo>
                      <a:pt x="274" y="22"/>
                      <a:pt x="274" y="22"/>
                      <a:pt x="274" y="21"/>
                    </a:cubicBezTo>
                    <a:cubicBezTo>
                      <a:pt x="274" y="21"/>
                      <a:pt x="274" y="21"/>
                      <a:pt x="274" y="21"/>
                    </a:cubicBezTo>
                    <a:cubicBezTo>
                      <a:pt x="273" y="21"/>
                      <a:pt x="273" y="21"/>
                      <a:pt x="273" y="21"/>
                    </a:cubicBezTo>
                    <a:cubicBezTo>
                      <a:pt x="273" y="21"/>
                      <a:pt x="273" y="21"/>
                      <a:pt x="273" y="20"/>
                    </a:cubicBezTo>
                    <a:cubicBezTo>
                      <a:pt x="273" y="20"/>
                      <a:pt x="273" y="20"/>
                      <a:pt x="273" y="20"/>
                    </a:cubicBezTo>
                    <a:cubicBezTo>
                      <a:pt x="273" y="20"/>
                      <a:pt x="273" y="20"/>
                      <a:pt x="273" y="20"/>
                    </a:cubicBezTo>
                    <a:cubicBezTo>
                      <a:pt x="273" y="19"/>
                      <a:pt x="273" y="20"/>
                      <a:pt x="274" y="20"/>
                    </a:cubicBezTo>
                    <a:cubicBezTo>
                      <a:pt x="274" y="20"/>
                      <a:pt x="274" y="20"/>
                      <a:pt x="274" y="20"/>
                    </a:cubicBezTo>
                    <a:cubicBezTo>
                      <a:pt x="274" y="20"/>
                      <a:pt x="274" y="20"/>
                      <a:pt x="275" y="20"/>
                    </a:cubicBezTo>
                    <a:cubicBezTo>
                      <a:pt x="275" y="20"/>
                      <a:pt x="275" y="20"/>
                      <a:pt x="275" y="20"/>
                    </a:cubicBezTo>
                    <a:cubicBezTo>
                      <a:pt x="275" y="20"/>
                      <a:pt x="275" y="20"/>
                      <a:pt x="275" y="20"/>
                    </a:cubicBezTo>
                    <a:cubicBezTo>
                      <a:pt x="275" y="20"/>
                      <a:pt x="275" y="20"/>
                      <a:pt x="275" y="20"/>
                    </a:cubicBezTo>
                    <a:cubicBezTo>
                      <a:pt x="276" y="20"/>
                      <a:pt x="276" y="20"/>
                      <a:pt x="276" y="20"/>
                    </a:cubicBezTo>
                    <a:cubicBezTo>
                      <a:pt x="276" y="20"/>
                      <a:pt x="277" y="19"/>
                      <a:pt x="277" y="19"/>
                    </a:cubicBezTo>
                    <a:cubicBezTo>
                      <a:pt x="277" y="19"/>
                      <a:pt x="277" y="18"/>
                      <a:pt x="277" y="18"/>
                    </a:cubicBezTo>
                    <a:cubicBezTo>
                      <a:pt x="277" y="17"/>
                      <a:pt x="277" y="17"/>
                      <a:pt x="277" y="17"/>
                    </a:cubicBezTo>
                    <a:cubicBezTo>
                      <a:pt x="277" y="18"/>
                      <a:pt x="276" y="18"/>
                      <a:pt x="276" y="18"/>
                    </a:cubicBezTo>
                    <a:cubicBezTo>
                      <a:pt x="276" y="18"/>
                      <a:pt x="276" y="18"/>
                      <a:pt x="276" y="18"/>
                    </a:cubicBezTo>
                    <a:cubicBezTo>
                      <a:pt x="276" y="17"/>
                      <a:pt x="276" y="17"/>
                      <a:pt x="276" y="17"/>
                    </a:cubicBezTo>
                    <a:cubicBezTo>
                      <a:pt x="275" y="18"/>
                      <a:pt x="275" y="17"/>
                      <a:pt x="276" y="17"/>
                    </a:cubicBezTo>
                    <a:cubicBezTo>
                      <a:pt x="276" y="17"/>
                      <a:pt x="276" y="17"/>
                      <a:pt x="276" y="17"/>
                    </a:cubicBezTo>
                    <a:cubicBezTo>
                      <a:pt x="276" y="17"/>
                      <a:pt x="276" y="17"/>
                      <a:pt x="276" y="17"/>
                    </a:cubicBezTo>
                    <a:cubicBezTo>
                      <a:pt x="277" y="17"/>
                      <a:pt x="277" y="17"/>
                      <a:pt x="277" y="17"/>
                    </a:cubicBezTo>
                    <a:cubicBezTo>
                      <a:pt x="277" y="16"/>
                      <a:pt x="277" y="16"/>
                      <a:pt x="277" y="16"/>
                    </a:cubicBezTo>
                    <a:cubicBezTo>
                      <a:pt x="277" y="16"/>
                      <a:pt x="277" y="16"/>
                      <a:pt x="277" y="16"/>
                    </a:cubicBezTo>
                    <a:cubicBezTo>
                      <a:pt x="277" y="16"/>
                      <a:pt x="277" y="16"/>
                      <a:pt x="276" y="16"/>
                    </a:cubicBezTo>
                    <a:cubicBezTo>
                      <a:pt x="275" y="15"/>
                      <a:pt x="275" y="15"/>
                      <a:pt x="275" y="15"/>
                    </a:cubicBezTo>
                    <a:cubicBezTo>
                      <a:pt x="275" y="15"/>
                      <a:pt x="274" y="16"/>
                      <a:pt x="274" y="15"/>
                    </a:cubicBezTo>
                    <a:cubicBezTo>
                      <a:pt x="274" y="15"/>
                      <a:pt x="274" y="15"/>
                      <a:pt x="274" y="15"/>
                    </a:cubicBezTo>
                    <a:cubicBezTo>
                      <a:pt x="274" y="15"/>
                      <a:pt x="273" y="14"/>
                      <a:pt x="273" y="14"/>
                    </a:cubicBezTo>
                    <a:cubicBezTo>
                      <a:pt x="273" y="14"/>
                      <a:pt x="273" y="14"/>
                      <a:pt x="273" y="14"/>
                    </a:cubicBezTo>
                    <a:cubicBezTo>
                      <a:pt x="273" y="14"/>
                      <a:pt x="273" y="14"/>
                      <a:pt x="273" y="14"/>
                    </a:cubicBezTo>
                    <a:cubicBezTo>
                      <a:pt x="273" y="14"/>
                      <a:pt x="273" y="13"/>
                      <a:pt x="273" y="13"/>
                    </a:cubicBezTo>
                    <a:cubicBezTo>
                      <a:pt x="273" y="13"/>
                      <a:pt x="273" y="13"/>
                      <a:pt x="273" y="13"/>
                    </a:cubicBezTo>
                    <a:cubicBezTo>
                      <a:pt x="273" y="13"/>
                      <a:pt x="272" y="13"/>
                      <a:pt x="271" y="13"/>
                    </a:cubicBezTo>
                    <a:cubicBezTo>
                      <a:pt x="271" y="13"/>
                      <a:pt x="270" y="13"/>
                      <a:pt x="269" y="13"/>
                    </a:cubicBezTo>
                    <a:cubicBezTo>
                      <a:pt x="269" y="13"/>
                      <a:pt x="268" y="12"/>
                      <a:pt x="267" y="12"/>
                    </a:cubicBezTo>
                    <a:cubicBezTo>
                      <a:pt x="267" y="12"/>
                      <a:pt x="266" y="12"/>
                      <a:pt x="265" y="12"/>
                    </a:cubicBezTo>
                    <a:cubicBezTo>
                      <a:pt x="265" y="13"/>
                      <a:pt x="265" y="13"/>
                      <a:pt x="265" y="12"/>
                    </a:cubicBezTo>
                    <a:cubicBezTo>
                      <a:pt x="264" y="12"/>
                      <a:pt x="264" y="12"/>
                      <a:pt x="264" y="12"/>
                    </a:cubicBezTo>
                    <a:cubicBezTo>
                      <a:pt x="264" y="12"/>
                      <a:pt x="264" y="13"/>
                      <a:pt x="264" y="13"/>
                    </a:cubicBezTo>
                    <a:cubicBezTo>
                      <a:pt x="264" y="13"/>
                      <a:pt x="264" y="13"/>
                      <a:pt x="264" y="14"/>
                    </a:cubicBezTo>
                    <a:cubicBezTo>
                      <a:pt x="264" y="14"/>
                      <a:pt x="264" y="14"/>
                      <a:pt x="264" y="14"/>
                    </a:cubicBezTo>
                    <a:cubicBezTo>
                      <a:pt x="264" y="15"/>
                      <a:pt x="264" y="15"/>
                      <a:pt x="264" y="15"/>
                    </a:cubicBezTo>
                    <a:cubicBezTo>
                      <a:pt x="264" y="15"/>
                      <a:pt x="264" y="15"/>
                      <a:pt x="264" y="15"/>
                    </a:cubicBezTo>
                    <a:cubicBezTo>
                      <a:pt x="264" y="16"/>
                      <a:pt x="264" y="16"/>
                      <a:pt x="264" y="16"/>
                    </a:cubicBezTo>
                    <a:cubicBezTo>
                      <a:pt x="264" y="16"/>
                      <a:pt x="265" y="16"/>
                      <a:pt x="265" y="16"/>
                    </a:cubicBezTo>
                    <a:cubicBezTo>
                      <a:pt x="265" y="16"/>
                      <a:pt x="265" y="16"/>
                      <a:pt x="265" y="16"/>
                    </a:cubicBezTo>
                    <a:cubicBezTo>
                      <a:pt x="265" y="16"/>
                      <a:pt x="265" y="16"/>
                      <a:pt x="265" y="16"/>
                    </a:cubicBezTo>
                    <a:cubicBezTo>
                      <a:pt x="266" y="16"/>
                      <a:pt x="266" y="16"/>
                      <a:pt x="266" y="16"/>
                    </a:cubicBezTo>
                    <a:cubicBezTo>
                      <a:pt x="266" y="17"/>
                      <a:pt x="266" y="17"/>
                      <a:pt x="266" y="17"/>
                    </a:cubicBezTo>
                    <a:cubicBezTo>
                      <a:pt x="266" y="17"/>
                      <a:pt x="266" y="17"/>
                      <a:pt x="266" y="17"/>
                    </a:cubicBezTo>
                    <a:cubicBezTo>
                      <a:pt x="266" y="17"/>
                      <a:pt x="265" y="17"/>
                      <a:pt x="265" y="18"/>
                    </a:cubicBezTo>
                    <a:cubicBezTo>
                      <a:pt x="265" y="18"/>
                      <a:pt x="265" y="18"/>
                      <a:pt x="265" y="18"/>
                    </a:cubicBezTo>
                    <a:cubicBezTo>
                      <a:pt x="265" y="18"/>
                      <a:pt x="265" y="18"/>
                      <a:pt x="265" y="19"/>
                    </a:cubicBezTo>
                    <a:cubicBezTo>
                      <a:pt x="265" y="19"/>
                      <a:pt x="265" y="19"/>
                      <a:pt x="265" y="19"/>
                    </a:cubicBezTo>
                    <a:cubicBezTo>
                      <a:pt x="264" y="18"/>
                      <a:pt x="263" y="18"/>
                      <a:pt x="263" y="19"/>
                    </a:cubicBezTo>
                    <a:cubicBezTo>
                      <a:pt x="263" y="19"/>
                      <a:pt x="263" y="19"/>
                      <a:pt x="263" y="19"/>
                    </a:cubicBezTo>
                    <a:cubicBezTo>
                      <a:pt x="263" y="20"/>
                      <a:pt x="263" y="20"/>
                      <a:pt x="263" y="20"/>
                    </a:cubicBezTo>
                    <a:cubicBezTo>
                      <a:pt x="263" y="21"/>
                      <a:pt x="262" y="22"/>
                      <a:pt x="262" y="22"/>
                    </a:cubicBezTo>
                    <a:cubicBezTo>
                      <a:pt x="262" y="23"/>
                      <a:pt x="261" y="23"/>
                      <a:pt x="261" y="23"/>
                    </a:cubicBezTo>
                    <a:cubicBezTo>
                      <a:pt x="261" y="24"/>
                      <a:pt x="261" y="24"/>
                      <a:pt x="260" y="24"/>
                    </a:cubicBezTo>
                    <a:cubicBezTo>
                      <a:pt x="260" y="24"/>
                      <a:pt x="260" y="25"/>
                      <a:pt x="261" y="25"/>
                    </a:cubicBezTo>
                    <a:cubicBezTo>
                      <a:pt x="261" y="25"/>
                      <a:pt x="260" y="26"/>
                      <a:pt x="260" y="26"/>
                    </a:cubicBezTo>
                    <a:cubicBezTo>
                      <a:pt x="260" y="26"/>
                      <a:pt x="261" y="26"/>
                      <a:pt x="261" y="26"/>
                    </a:cubicBezTo>
                    <a:cubicBezTo>
                      <a:pt x="261" y="27"/>
                      <a:pt x="260" y="26"/>
                      <a:pt x="260" y="26"/>
                    </a:cubicBezTo>
                    <a:cubicBezTo>
                      <a:pt x="259" y="26"/>
                      <a:pt x="259" y="26"/>
                      <a:pt x="259" y="26"/>
                    </a:cubicBezTo>
                    <a:cubicBezTo>
                      <a:pt x="259" y="26"/>
                      <a:pt x="259" y="26"/>
                      <a:pt x="259" y="26"/>
                    </a:cubicBezTo>
                    <a:cubicBezTo>
                      <a:pt x="259" y="26"/>
                      <a:pt x="259" y="27"/>
                      <a:pt x="259" y="27"/>
                    </a:cubicBezTo>
                    <a:cubicBezTo>
                      <a:pt x="258" y="27"/>
                      <a:pt x="258" y="27"/>
                      <a:pt x="258" y="27"/>
                    </a:cubicBezTo>
                    <a:cubicBezTo>
                      <a:pt x="258" y="27"/>
                      <a:pt x="258" y="27"/>
                      <a:pt x="258" y="27"/>
                    </a:cubicBezTo>
                    <a:cubicBezTo>
                      <a:pt x="257" y="27"/>
                      <a:pt x="257" y="27"/>
                      <a:pt x="257" y="26"/>
                    </a:cubicBezTo>
                    <a:cubicBezTo>
                      <a:pt x="257" y="26"/>
                      <a:pt x="257" y="26"/>
                      <a:pt x="257" y="26"/>
                    </a:cubicBezTo>
                    <a:cubicBezTo>
                      <a:pt x="256" y="26"/>
                      <a:pt x="256" y="25"/>
                      <a:pt x="255" y="25"/>
                    </a:cubicBezTo>
                    <a:cubicBezTo>
                      <a:pt x="254" y="24"/>
                      <a:pt x="255" y="24"/>
                      <a:pt x="254" y="23"/>
                    </a:cubicBezTo>
                    <a:cubicBezTo>
                      <a:pt x="254" y="22"/>
                      <a:pt x="255" y="22"/>
                      <a:pt x="255" y="22"/>
                    </a:cubicBezTo>
                    <a:cubicBezTo>
                      <a:pt x="255" y="22"/>
                      <a:pt x="254" y="21"/>
                      <a:pt x="254" y="21"/>
                    </a:cubicBezTo>
                    <a:cubicBezTo>
                      <a:pt x="254" y="21"/>
                      <a:pt x="254" y="21"/>
                      <a:pt x="255" y="20"/>
                    </a:cubicBezTo>
                    <a:cubicBezTo>
                      <a:pt x="255" y="20"/>
                      <a:pt x="255" y="21"/>
                      <a:pt x="255" y="21"/>
                    </a:cubicBezTo>
                    <a:cubicBezTo>
                      <a:pt x="255" y="21"/>
                      <a:pt x="255" y="21"/>
                      <a:pt x="256" y="21"/>
                    </a:cubicBezTo>
                    <a:cubicBezTo>
                      <a:pt x="256" y="22"/>
                      <a:pt x="256" y="21"/>
                      <a:pt x="256" y="21"/>
                    </a:cubicBezTo>
                    <a:cubicBezTo>
                      <a:pt x="256" y="21"/>
                      <a:pt x="256" y="21"/>
                      <a:pt x="256" y="20"/>
                    </a:cubicBezTo>
                    <a:cubicBezTo>
                      <a:pt x="256" y="20"/>
                      <a:pt x="256" y="18"/>
                      <a:pt x="255" y="18"/>
                    </a:cubicBezTo>
                    <a:cubicBezTo>
                      <a:pt x="255" y="17"/>
                      <a:pt x="254" y="17"/>
                      <a:pt x="254" y="17"/>
                    </a:cubicBezTo>
                    <a:cubicBezTo>
                      <a:pt x="254" y="17"/>
                      <a:pt x="253" y="16"/>
                      <a:pt x="253" y="16"/>
                    </a:cubicBezTo>
                    <a:cubicBezTo>
                      <a:pt x="253" y="16"/>
                      <a:pt x="253" y="15"/>
                      <a:pt x="252" y="16"/>
                    </a:cubicBezTo>
                    <a:cubicBezTo>
                      <a:pt x="251" y="16"/>
                      <a:pt x="251" y="16"/>
                      <a:pt x="250" y="17"/>
                    </a:cubicBezTo>
                    <a:cubicBezTo>
                      <a:pt x="250" y="17"/>
                      <a:pt x="250" y="17"/>
                      <a:pt x="250" y="18"/>
                    </a:cubicBezTo>
                    <a:cubicBezTo>
                      <a:pt x="250" y="18"/>
                      <a:pt x="250" y="18"/>
                      <a:pt x="250" y="19"/>
                    </a:cubicBezTo>
                    <a:cubicBezTo>
                      <a:pt x="250" y="19"/>
                      <a:pt x="250" y="19"/>
                      <a:pt x="250" y="19"/>
                    </a:cubicBezTo>
                    <a:cubicBezTo>
                      <a:pt x="250" y="19"/>
                      <a:pt x="250" y="20"/>
                      <a:pt x="249" y="21"/>
                    </a:cubicBezTo>
                    <a:cubicBezTo>
                      <a:pt x="249" y="21"/>
                      <a:pt x="249" y="21"/>
                      <a:pt x="249" y="21"/>
                    </a:cubicBezTo>
                    <a:cubicBezTo>
                      <a:pt x="249" y="21"/>
                      <a:pt x="249" y="21"/>
                      <a:pt x="249" y="21"/>
                    </a:cubicBezTo>
                    <a:cubicBezTo>
                      <a:pt x="249" y="21"/>
                      <a:pt x="248" y="21"/>
                      <a:pt x="248" y="21"/>
                    </a:cubicBezTo>
                    <a:cubicBezTo>
                      <a:pt x="248" y="21"/>
                      <a:pt x="248" y="21"/>
                      <a:pt x="248" y="21"/>
                    </a:cubicBezTo>
                    <a:cubicBezTo>
                      <a:pt x="248" y="21"/>
                      <a:pt x="248" y="21"/>
                      <a:pt x="248" y="21"/>
                    </a:cubicBezTo>
                    <a:cubicBezTo>
                      <a:pt x="248" y="21"/>
                      <a:pt x="248" y="20"/>
                      <a:pt x="248" y="20"/>
                    </a:cubicBezTo>
                    <a:cubicBezTo>
                      <a:pt x="247" y="20"/>
                      <a:pt x="247" y="20"/>
                      <a:pt x="248" y="20"/>
                    </a:cubicBezTo>
                    <a:cubicBezTo>
                      <a:pt x="248" y="20"/>
                      <a:pt x="248" y="20"/>
                      <a:pt x="248" y="20"/>
                    </a:cubicBezTo>
                    <a:cubicBezTo>
                      <a:pt x="248" y="20"/>
                      <a:pt x="248" y="19"/>
                      <a:pt x="247" y="19"/>
                    </a:cubicBezTo>
                    <a:cubicBezTo>
                      <a:pt x="247" y="19"/>
                      <a:pt x="247" y="19"/>
                      <a:pt x="247" y="18"/>
                    </a:cubicBezTo>
                    <a:cubicBezTo>
                      <a:pt x="247" y="18"/>
                      <a:pt x="248" y="18"/>
                      <a:pt x="248" y="18"/>
                    </a:cubicBezTo>
                    <a:cubicBezTo>
                      <a:pt x="247" y="17"/>
                      <a:pt x="247" y="17"/>
                      <a:pt x="247" y="17"/>
                    </a:cubicBezTo>
                    <a:cubicBezTo>
                      <a:pt x="247" y="17"/>
                      <a:pt x="247" y="17"/>
                      <a:pt x="247" y="17"/>
                    </a:cubicBezTo>
                    <a:cubicBezTo>
                      <a:pt x="247" y="17"/>
                      <a:pt x="247" y="17"/>
                      <a:pt x="247" y="17"/>
                    </a:cubicBezTo>
                    <a:cubicBezTo>
                      <a:pt x="247" y="17"/>
                      <a:pt x="247" y="17"/>
                      <a:pt x="247" y="17"/>
                    </a:cubicBezTo>
                    <a:cubicBezTo>
                      <a:pt x="247" y="17"/>
                      <a:pt x="247" y="16"/>
                      <a:pt x="246" y="16"/>
                    </a:cubicBezTo>
                    <a:cubicBezTo>
                      <a:pt x="246" y="16"/>
                      <a:pt x="246" y="15"/>
                      <a:pt x="246" y="15"/>
                    </a:cubicBezTo>
                    <a:cubicBezTo>
                      <a:pt x="246" y="15"/>
                      <a:pt x="246" y="15"/>
                      <a:pt x="246" y="15"/>
                    </a:cubicBezTo>
                    <a:cubicBezTo>
                      <a:pt x="246" y="15"/>
                      <a:pt x="246" y="15"/>
                      <a:pt x="246" y="15"/>
                    </a:cubicBezTo>
                    <a:cubicBezTo>
                      <a:pt x="246" y="15"/>
                      <a:pt x="247" y="15"/>
                      <a:pt x="247" y="15"/>
                    </a:cubicBezTo>
                    <a:cubicBezTo>
                      <a:pt x="247" y="15"/>
                      <a:pt x="247" y="15"/>
                      <a:pt x="247" y="15"/>
                    </a:cubicBezTo>
                    <a:cubicBezTo>
                      <a:pt x="247" y="14"/>
                      <a:pt x="247" y="14"/>
                      <a:pt x="248" y="14"/>
                    </a:cubicBezTo>
                    <a:cubicBezTo>
                      <a:pt x="248" y="14"/>
                      <a:pt x="248" y="14"/>
                      <a:pt x="248" y="14"/>
                    </a:cubicBezTo>
                    <a:cubicBezTo>
                      <a:pt x="247" y="14"/>
                      <a:pt x="247" y="14"/>
                      <a:pt x="247" y="14"/>
                    </a:cubicBezTo>
                    <a:cubicBezTo>
                      <a:pt x="247" y="14"/>
                      <a:pt x="247" y="14"/>
                      <a:pt x="247" y="14"/>
                    </a:cubicBezTo>
                    <a:cubicBezTo>
                      <a:pt x="247" y="14"/>
                      <a:pt x="247" y="14"/>
                      <a:pt x="247" y="14"/>
                    </a:cubicBezTo>
                    <a:cubicBezTo>
                      <a:pt x="247" y="14"/>
                      <a:pt x="246" y="14"/>
                      <a:pt x="246" y="14"/>
                    </a:cubicBezTo>
                    <a:cubicBezTo>
                      <a:pt x="246" y="14"/>
                      <a:pt x="246" y="14"/>
                      <a:pt x="246" y="14"/>
                    </a:cubicBezTo>
                    <a:cubicBezTo>
                      <a:pt x="246" y="14"/>
                      <a:pt x="246" y="14"/>
                      <a:pt x="246" y="14"/>
                    </a:cubicBezTo>
                    <a:cubicBezTo>
                      <a:pt x="246" y="14"/>
                      <a:pt x="246" y="14"/>
                      <a:pt x="245" y="14"/>
                    </a:cubicBezTo>
                    <a:cubicBezTo>
                      <a:pt x="245" y="13"/>
                      <a:pt x="245" y="13"/>
                      <a:pt x="245" y="13"/>
                    </a:cubicBezTo>
                    <a:cubicBezTo>
                      <a:pt x="245" y="13"/>
                      <a:pt x="245" y="13"/>
                      <a:pt x="244" y="13"/>
                    </a:cubicBezTo>
                    <a:cubicBezTo>
                      <a:pt x="244" y="13"/>
                      <a:pt x="244" y="13"/>
                      <a:pt x="244" y="13"/>
                    </a:cubicBezTo>
                    <a:cubicBezTo>
                      <a:pt x="244" y="14"/>
                      <a:pt x="244" y="14"/>
                      <a:pt x="244" y="14"/>
                    </a:cubicBezTo>
                    <a:cubicBezTo>
                      <a:pt x="244" y="14"/>
                      <a:pt x="243" y="14"/>
                      <a:pt x="243" y="14"/>
                    </a:cubicBezTo>
                    <a:cubicBezTo>
                      <a:pt x="243" y="14"/>
                      <a:pt x="243" y="14"/>
                      <a:pt x="243" y="14"/>
                    </a:cubicBezTo>
                    <a:cubicBezTo>
                      <a:pt x="242" y="14"/>
                      <a:pt x="242" y="14"/>
                      <a:pt x="242" y="13"/>
                    </a:cubicBezTo>
                    <a:cubicBezTo>
                      <a:pt x="242" y="13"/>
                      <a:pt x="242" y="13"/>
                      <a:pt x="241" y="13"/>
                    </a:cubicBezTo>
                    <a:cubicBezTo>
                      <a:pt x="241" y="13"/>
                      <a:pt x="241" y="13"/>
                      <a:pt x="241" y="13"/>
                    </a:cubicBezTo>
                    <a:cubicBezTo>
                      <a:pt x="240" y="13"/>
                      <a:pt x="240" y="13"/>
                      <a:pt x="240" y="13"/>
                    </a:cubicBezTo>
                    <a:cubicBezTo>
                      <a:pt x="240" y="13"/>
                      <a:pt x="240" y="13"/>
                      <a:pt x="241" y="13"/>
                    </a:cubicBezTo>
                    <a:cubicBezTo>
                      <a:pt x="241" y="13"/>
                      <a:pt x="241" y="13"/>
                      <a:pt x="241" y="12"/>
                    </a:cubicBezTo>
                    <a:cubicBezTo>
                      <a:pt x="241" y="12"/>
                      <a:pt x="241" y="12"/>
                      <a:pt x="242" y="12"/>
                    </a:cubicBezTo>
                    <a:cubicBezTo>
                      <a:pt x="242" y="12"/>
                      <a:pt x="242" y="12"/>
                      <a:pt x="242" y="12"/>
                    </a:cubicBezTo>
                    <a:cubicBezTo>
                      <a:pt x="243" y="11"/>
                      <a:pt x="242" y="11"/>
                      <a:pt x="242" y="11"/>
                    </a:cubicBezTo>
                    <a:cubicBezTo>
                      <a:pt x="242" y="11"/>
                      <a:pt x="241" y="11"/>
                      <a:pt x="241" y="11"/>
                    </a:cubicBezTo>
                    <a:cubicBezTo>
                      <a:pt x="241" y="11"/>
                      <a:pt x="241" y="10"/>
                      <a:pt x="241" y="10"/>
                    </a:cubicBezTo>
                    <a:cubicBezTo>
                      <a:pt x="241" y="10"/>
                      <a:pt x="242" y="10"/>
                      <a:pt x="242" y="10"/>
                    </a:cubicBezTo>
                    <a:cubicBezTo>
                      <a:pt x="242" y="10"/>
                      <a:pt x="242" y="10"/>
                      <a:pt x="243" y="10"/>
                    </a:cubicBezTo>
                    <a:cubicBezTo>
                      <a:pt x="243" y="11"/>
                      <a:pt x="243" y="11"/>
                      <a:pt x="244" y="11"/>
                    </a:cubicBezTo>
                    <a:cubicBezTo>
                      <a:pt x="244" y="11"/>
                      <a:pt x="244" y="11"/>
                      <a:pt x="244" y="10"/>
                    </a:cubicBezTo>
                    <a:cubicBezTo>
                      <a:pt x="243" y="10"/>
                      <a:pt x="244" y="10"/>
                      <a:pt x="244" y="10"/>
                    </a:cubicBezTo>
                    <a:cubicBezTo>
                      <a:pt x="244" y="10"/>
                      <a:pt x="243" y="10"/>
                      <a:pt x="243" y="10"/>
                    </a:cubicBezTo>
                    <a:cubicBezTo>
                      <a:pt x="243" y="10"/>
                      <a:pt x="243" y="10"/>
                      <a:pt x="243" y="10"/>
                    </a:cubicBezTo>
                    <a:cubicBezTo>
                      <a:pt x="243" y="10"/>
                      <a:pt x="243" y="9"/>
                      <a:pt x="243" y="9"/>
                    </a:cubicBezTo>
                    <a:cubicBezTo>
                      <a:pt x="243" y="9"/>
                      <a:pt x="243" y="9"/>
                      <a:pt x="242" y="9"/>
                    </a:cubicBezTo>
                    <a:cubicBezTo>
                      <a:pt x="242" y="9"/>
                      <a:pt x="242" y="9"/>
                      <a:pt x="242" y="9"/>
                    </a:cubicBezTo>
                    <a:cubicBezTo>
                      <a:pt x="242" y="8"/>
                      <a:pt x="242" y="8"/>
                      <a:pt x="242" y="8"/>
                    </a:cubicBezTo>
                    <a:cubicBezTo>
                      <a:pt x="242" y="8"/>
                      <a:pt x="242" y="8"/>
                      <a:pt x="242" y="8"/>
                    </a:cubicBezTo>
                    <a:cubicBezTo>
                      <a:pt x="241" y="8"/>
                      <a:pt x="241" y="8"/>
                      <a:pt x="241" y="8"/>
                    </a:cubicBezTo>
                    <a:cubicBezTo>
                      <a:pt x="241" y="8"/>
                      <a:pt x="241" y="7"/>
                      <a:pt x="241" y="7"/>
                    </a:cubicBezTo>
                    <a:cubicBezTo>
                      <a:pt x="240" y="6"/>
                      <a:pt x="240" y="6"/>
                      <a:pt x="240" y="6"/>
                    </a:cubicBezTo>
                    <a:cubicBezTo>
                      <a:pt x="240" y="7"/>
                      <a:pt x="240" y="6"/>
                      <a:pt x="240" y="6"/>
                    </a:cubicBezTo>
                    <a:cubicBezTo>
                      <a:pt x="240" y="6"/>
                      <a:pt x="240" y="6"/>
                      <a:pt x="240" y="6"/>
                    </a:cubicBezTo>
                    <a:cubicBezTo>
                      <a:pt x="240" y="6"/>
                      <a:pt x="240" y="5"/>
                      <a:pt x="240" y="5"/>
                    </a:cubicBezTo>
                    <a:cubicBezTo>
                      <a:pt x="240" y="5"/>
                      <a:pt x="240" y="4"/>
                      <a:pt x="240" y="3"/>
                    </a:cubicBezTo>
                    <a:cubicBezTo>
                      <a:pt x="239" y="3"/>
                      <a:pt x="239" y="3"/>
                      <a:pt x="239" y="3"/>
                    </a:cubicBezTo>
                    <a:cubicBezTo>
                      <a:pt x="239" y="3"/>
                      <a:pt x="238" y="2"/>
                      <a:pt x="238" y="2"/>
                    </a:cubicBezTo>
                    <a:cubicBezTo>
                      <a:pt x="237" y="2"/>
                      <a:pt x="238" y="2"/>
                      <a:pt x="237" y="2"/>
                    </a:cubicBezTo>
                    <a:cubicBezTo>
                      <a:pt x="237" y="2"/>
                      <a:pt x="237" y="2"/>
                      <a:pt x="237" y="1"/>
                    </a:cubicBezTo>
                    <a:cubicBezTo>
                      <a:pt x="237" y="1"/>
                      <a:pt x="237" y="1"/>
                      <a:pt x="237" y="1"/>
                    </a:cubicBezTo>
                    <a:cubicBezTo>
                      <a:pt x="237" y="1"/>
                      <a:pt x="237" y="1"/>
                      <a:pt x="237" y="1"/>
                    </a:cubicBezTo>
                    <a:cubicBezTo>
                      <a:pt x="237" y="1"/>
                      <a:pt x="237" y="1"/>
                      <a:pt x="237" y="1"/>
                    </a:cubicBezTo>
                    <a:cubicBezTo>
                      <a:pt x="237" y="1"/>
                      <a:pt x="237" y="1"/>
                      <a:pt x="237" y="1"/>
                    </a:cubicBezTo>
                    <a:cubicBezTo>
                      <a:pt x="237" y="1"/>
                      <a:pt x="237" y="1"/>
                      <a:pt x="237" y="1"/>
                    </a:cubicBezTo>
                    <a:cubicBezTo>
                      <a:pt x="236" y="1"/>
                      <a:pt x="236" y="1"/>
                      <a:pt x="236" y="1"/>
                    </a:cubicBezTo>
                    <a:cubicBezTo>
                      <a:pt x="235" y="1"/>
                      <a:pt x="235" y="1"/>
                      <a:pt x="235" y="1"/>
                    </a:cubicBezTo>
                    <a:cubicBezTo>
                      <a:pt x="235" y="1"/>
                      <a:pt x="235" y="1"/>
                      <a:pt x="235" y="1"/>
                    </a:cubicBezTo>
                    <a:cubicBezTo>
                      <a:pt x="235" y="0"/>
                      <a:pt x="235" y="0"/>
                      <a:pt x="235" y="0"/>
                    </a:cubicBezTo>
                    <a:cubicBezTo>
                      <a:pt x="235" y="0"/>
                      <a:pt x="235" y="0"/>
                      <a:pt x="235" y="0"/>
                    </a:cubicBezTo>
                    <a:cubicBezTo>
                      <a:pt x="235" y="0"/>
                      <a:pt x="235" y="0"/>
                      <a:pt x="235" y="0"/>
                    </a:cubicBezTo>
                    <a:cubicBezTo>
                      <a:pt x="235" y="0"/>
                      <a:pt x="234" y="0"/>
                      <a:pt x="233" y="0"/>
                    </a:cubicBezTo>
                    <a:cubicBezTo>
                      <a:pt x="233" y="0"/>
                      <a:pt x="233" y="0"/>
                      <a:pt x="233" y="0"/>
                    </a:cubicBezTo>
                    <a:cubicBezTo>
                      <a:pt x="233" y="0"/>
                      <a:pt x="233" y="0"/>
                      <a:pt x="232" y="0"/>
                    </a:cubicBezTo>
                    <a:cubicBezTo>
                      <a:pt x="232" y="0"/>
                      <a:pt x="232" y="1"/>
                      <a:pt x="232" y="1"/>
                    </a:cubicBezTo>
                    <a:cubicBezTo>
                      <a:pt x="231" y="1"/>
                      <a:pt x="231" y="1"/>
                      <a:pt x="231" y="1"/>
                    </a:cubicBezTo>
                    <a:cubicBezTo>
                      <a:pt x="230" y="2"/>
                      <a:pt x="230" y="2"/>
                      <a:pt x="230" y="2"/>
                    </a:cubicBezTo>
                    <a:cubicBezTo>
                      <a:pt x="230" y="3"/>
                      <a:pt x="231" y="2"/>
                      <a:pt x="231" y="3"/>
                    </a:cubicBezTo>
                    <a:cubicBezTo>
                      <a:pt x="231" y="3"/>
                      <a:pt x="232" y="2"/>
                      <a:pt x="232" y="3"/>
                    </a:cubicBezTo>
                    <a:cubicBezTo>
                      <a:pt x="232" y="3"/>
                      <a:pt x="232" y="3"/>
                      <a:pt x="232" y="3"/>
                    </a:cubicBezTo>
                    <a:cubicBezTo>
                      <a:pt x="232" y="4"/>
                      <a:pt x="232" y="4"/>
                      <a:pt x="231" y="4"/>
                    </a:cubicBezTo>
                    <a:cubicBezTo>
                      <a:pt x="231" y="4"/>
                      <a:pt x="231" y="4"/>
                      <a:pt x="230" y="3"/>
                    </a:cubicBezTo>
                    <a:cubicBezTo>
                      <a:pt x="230" y="3"/>
                      <a:pt x="230" y="3"/>
                      <a:pt x="230" y="3"/>
                    </a:cubicBezTo>
                    <a:cubicBezTo>
                      <a:pt x="229" y="3"/>
                      <a:pt x="230" y="3"/>
                      <a:pt x="229" y="4"/>
                    </a:cubicBezTo>
                    <a:cubicBezTo>
                      <a:pt x="229" y="4"/>
                      <a:pt x="229" y="4"/>
                      <a:pt x="229" y="4"/>
                    </a:cubicBezTo>
                    <a:cubicBezTo>
                      <a:pt x="229" y="4"/>
                      <a:pt x="229" y="4"/>
                      <a:pt x="229" y="5"/>
                    </a:cubicBezTo>
                    <a:cubicBezTo>
                      <a:pt x="228" y="5"/>
                      <a:pt x="228" y="5"/>
                      <a:pt x="228" y="5"/>
                    </a:cubicBezTo>
                    <a:cubicBezTo>
                      <a:pt x="228" y="5"/>
                      <a:pt x="228" y="6"/>
                      <a:pt x="228" y="6"/>
                    </a:cubicBezTo>
                    <a:cubicBezTo>
                      <a:pt x="228" y="6"/>
                      <a:pt x="228" y="7"/>
                      <a:pt x="228" y="7"/>
                    </a:cubicBezTo>
                    <a:cubicBezTo>
                      <a:pt x="228" y="7"/>
                      <a:pt x="228" y="7"/>
                      <a:pt x="228" y="7"/>
                    </a:cubicBezTo>
                    <a:cubicBezTo>
                      <a:pt x="229" y="7"/>
                      <a:pt x="229" y="7"/>
                      <a:pt x="229" y="8"/>
                    </a:cubicBezTo>
                    <a:cubicBezTo>
                      <a:pt x="230" y="8"/>
                      <a:pt x="230" y="8"/>
                      <a:pt x="229" y="8"/>
                    </a:cubicBezTo>
                    <a:cubicBezTo>
                      <a:pt x="229" y="9"/>
                      <a:pt x="229" y="9"/>
                      <a:pt x="229" y="9"/>
                    </a:cubicBezTo>
                    <a:cubicBezTo>
                      <a:pt x="229" y="9"/>
                      <a:pt x="228" y="9"/>
                      <a:pt x="228" y="9"/>
                    </a:cubicBezTo>
                    <a:cubicBezTo>
                      <a:pt x="228" y="9"/>
                      <a:pt x="228" y="9"/>
                      <a:pt x="228" y="9"/>
                    </a:cubicBezTo>
                    <a:cubicBezTo>
                      <a:pt x="228" y="10"/>
                      <a:pt x="228" y="10"/>
                      <a:pt x="228" y="10"/>
                    </a:cubicBezTo>
                    <a:cubicBezTo>
                      <a:pt x="229" y="11"/>
                      <a:pt x="229" y="11"/>
                      <a:pt x="230" y="11"/>
                    </a:cubicBezTo>
                    <a:cubicBezTo>
                      <a:pt x="230" y="11"/>
                      <a:pt x="230" y="11"/>
                      <a:pt x="230" y="11"/>
                    </a:cubicBezTo>
                    <a:cubicBezTo>
                      <a:pt x="230" y="12"/>
                      <a:pt x="230" y="12"/>
                      <a:pt x="230" y="12"/>
                    </a:cubicBezTo>
                    <a:cubicBezTo>
                      <a:pt x="230" y="12"/>
                      <a:pt x="229" y="12"/>
                      <a:pt x="230" y="12"/>
                    </a:cubicBezTo>
                    <a:cubicBezTo>
                      <a:pt x="230" y="12"/>
                      <a:pt x="230" y="12"/>
                      <a:pt x="230" y="12"/>
                    </a:cubicBezTo>
                    <a:cubicBezTo>
                      <a:pt x="230" y="12"/>
                      <a:pt x="231" y="12"/>
                      <a:pt x="231" y="12"/>
                    </a:cubicBezTo>
                    <a:cubicBezTo>
                      <a:pt x="231" y="12"/>
                      <a:pt x="232" y="13"/>
                      <a:pt x="232" y="13"/>
                    </a:cubicBezTo>
                    <a:cubicBezTo>
                      <a:pt x="232" y="13"/>
                      <a:pt x="233" y="13"/>
                      <a:pt x="233" y="13"/>
                    </a:cubicBezTo>
                    <a:cubicBezTo>
                      <a:pt x="233" y="14"/>
                      <a:pt x="233" y="13"/>
                      <a:pt x="234" y="13"/>
                    </a:cubicBezTo>
                    <a:cubicBezTo>
                      <a:pt x="234" y="13"/>
                      <a:pt x="234" y="13"/>
                      <a:pt x="234" y="13"/>
                    </a:cubicBezTo>
                    <a:cubicBezTo>
                      <a:pt x="234" y="13"/>
                      <a:pt x="234" y="13"/>
                      <a:pt x="235" y="13"/>
                    </a:cubicBezTo>
                    <a:cubicBezTo>
                      <a:pt x="235" y="14"/>
                      <a:pt x="235" y="14"/>
                      <a:pt x="235" y="14"/>
                    </a:cubicBezTo>
                    <a:cubicBezTo>
                      <a:pt x="235" y="14"/>
                      <a:pt x="235" y="14"/>
                      <a:pt x="236" y="14"/>
                    </a:cubicBezTo>
                    <a:cubicBezTo>
                      <a:pt x="236" y="14"/>
                      <a:pt x="236" y="14"/>
                      <a:pt x="236" y="14"/>
                    </a:cubicBezTo>
                    <a:cubicBezTo>
                      <a:pt x="237" y="14"/>
                      <a:pt x="237" y="14"/>
                      <a:pt x="237" y="14"/>
                    </a:cubicBezTo>
                    <a:cubicBezTo>
                      <a:pt x="237" y="14"/>
                      <a:pt x="237" y="14"/>
                      <a:pt x="237" y="14"/>
                    </a:cubicBezTo>
                    <a:cubicBezTo>
                      <a:pt x="238" y="14"/>
                      <a:pt x="238" y="14"/>
                      <a:pt x="238" y="14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8" y="16"/>
                      <a:pt x="238" y="15"/>
                      <a:pt x="237" y="16"/>
                    </a:cubicBezTo>
                    <a:cubicBezTo>
                      <a:pt x="237" y="16"/>
                      <a:pt x="237" y="16"/>
                      <a:pt x="237" y="16"/>
                    </a:cubicBezTo>
                    <a:cubicBezTo>
                      <a:pt x="237" y="16"/>
                      <a:pt x="237" y="15"/>
                      <a:pt x="237" y="15"/>
                    </a:cubicBezTo>
                    <a:cubicBezTo>
                      <a:pt x="237" y="15"/>
                      <a:pt x="237" y="15"/>
                      <a:pt x="237" y="15"/>
                    </a:cubicBezTo>
                    <a:cubicBezTo>
                      <a:pt x="236" y="15"/>
                      <a:pt x="236" y="15"/>
                      <a:pt x="236" y="15"/>
                    </a:cubicBezTo>
                    <a:cubicBezTo>
                      <a:pt x="236" y="15"/>
                      <a:pt x="236" y="15"/>
                      <a:pt x="236" y="15"/>
                    </a:cubicBezTo>
                    <a:cubicBezTo>
                      <a:pt x="235" y="15"/>
                      <a:pt x="235" y="15"/>
                      <a:pt x="235" y="16"/>
                    </a:cubicBezTo>
                    <a:cubicBezTo>
                      <a:pt x="235" y="16"/>
                      <a:pt x="235" y="16"/>
                      <a:pt x="235" y="16"/>
                    </a:cubicBezTo>
                    <a:cubicBezTo>
                      <a:pt x="236" y="16"/>
                      <a:pt x="236" y="16"/>
                      <a:pt x="236" y="16"/>
                    </a:cubicBezTo>
                    <a:cubicBezTo>
                      <a:pt x="236" y="16"/>
                      <a:pt x="236" y="16"/>
                      <a:pt x="236" y="16"/>
                    </a:cubicBezTo>
                    <a:cubicBezTo>
                      <a:pt x="235" y="17"/>
                      <a:pt x="235" y="17"/>
                      <a:pt x="235" y="17"/>
                    </a:cubicBezTo>
                    <a:cubicBezTo>
                      <a:pt x="235" y="17"/>
                      <a:pt x="235" y="17"/>
                      <a:pt x="235" y="18"/>
                    </a:cubicBezTo>
                    <a:cubicBezTo>
                      <a:pt x="234" y="18"/>
                      <a:pt x="234" y="18"/>
                      <a:pt x="235" y="18"/>
                    </a:cubicBezTo>
                    <a:cubicBezTo>
                      <a:pt x="235" y="18"/>
                      <a:pt x="235" y="18"/>
                      <a:pt x="235" y="18"/>
                    </a:cubicBezTo>
                    <a:cubicBezTo>
                      <a:pt x="236" y="19"/>
                      <a:pt x="235" y="18"/>
                      <a:pt x="236" y="18"/>
                    </a:cubicBezTo>
                    <a:cubicBezTo>
                      <a:pt x="237" y="18"/>
                      <a:pt x="236" y="18"/>
                      <a:pt x="236" y="18"/>
                    </a:cubicBezTo>
                    <a:cubicBezTo>
                      <a:pt x="236" y="18"/>
                      <a:pt x="236" y="18"/>
                      <a:pt x="236" y="17"/>
                    </a:cubicBezTo>
                    <a:cubicBezTo>
                      <a:pt x="236" y="17"/>
                      <a:pt x="236" y="17"/>
                      <a:pt x="236" y="17"/>
                    </a:cubicBezTo>
                    <a:cubicBezTo>
                      <a:pt x="237" y="17"/>
                      <a:pt x="237" y="17"/>
                      <a:pt x="237" y="17"/>
                    </a:cubicBezTo>
                    <a:cubicBezTo>
                      <a:pt x="237" y="17"/>
                      <a:pt x="237" y="17"/>
                      <a:pt x="237" y="17"/>
                    </a:cubicBezTo>
                    <a:cubicBezTo>
                      <a:pt x="237" y="17"/>
                      <a:pt x="237" y="18"/>
                      <a:pt x="237" y="18"/>
                    </a:cubicBezTo>
                    <a:cubicBezTo>
                      <a:pt x="237" y="19"/>
                      <a:pt x="237" y="19"/>
                      <a:pt x="237" y="19"/>
                    </a:cubicBezTo>
                    <a:cubicBezTo>
                      <a:pt x="238" y="19"/>
                      <a:pt x="238" y="19"/>
                      <a:pt x="238" y="19"/>
                    </a:cubicBezTo>
                    <a:cubicBezTo>
                      <a:pt x="238" y="19"/>
                      <a:pt x="238" y="19"/>
                      <a:pt x="238" y="20"/>
                    </a:cubicBezTo>
                    <a:cubicBezTo>
                      <a:pt x="237" y="20"/>
                      <a:pt x="237" y="20"/>
                      <a:pt x="236" y="20"/>
                    </a:cubicBezTo>
                    <a:cubicBezTo>
                      <a:pt x="236" y="20"/>
                      <a:pt x="236" y="20"/>
                      <a:pt x="236" y="21"/>
                    </a:cubicBezTo>
                    <a:cubicBezTo>
                      <a:pt x="236" y="22"/>
                      <a:pt x="235" y="21"/>
                      <a:pt x="235" y="21"/>
                    </a:cubicBezTo>
                    <a:cubicBezTo>
                      <a:pt x="235" y="21"/>
                      <a:pt x="234" y="22"/>
                      <a:pt x="234" y="22"/>
                    </a:cubicBezTo>
                    <a:cubicBezTo>
                      <a:pt x="234" y="22"/>
                      <a:pt x="234" y="22"/>
                      <a:pt x="234" y="22"/>
                    </a:cubicBezTo>
                    <a:cubicBezTo>
                      <a:pt x="233" y="22"/>
                      <a:pt x="233" y="22"/>
                      <a:pt x="232" y="22"/>
                    </a:cubicBezTo>
                    <a:cubicBezTo>
                      <a:pt x="232" y="22"/>
                      <a:pt x="232" y="22"/>
                      <a:pt x="232" y="23"/>
                    </a:cubicBezTo>
                    <a:cubicBezTo>
                      <a:pt x="232" y="23"/>
                      <a:pt x="231" y="23"/>
                      <a:pt x="231" y="24"/>
                    </a:cubicBezTo>
                    <a:cubicBezTo>
                      <a:pt x="231" y="24"/>
                      <a:pt x="231" y="24"/>
                      <a:pt x="231" y="24"/>
                    </a:cubicBezTo>
                    <a:cubicBezTo>
                      <a:pt x="231" y="24"/>
                      <a:pt x="232" y="24"/>
                      <a:pt x="232" y="25"/>
                    </a:cubicBezTo>
                    <a:cubicBezTo>
                      <a:pt x="232" y="25"/>
                      <a:pt x="232" y="25"/>
                      <a:pt x="232" y="25"/>
                    </a:cubicBezTo>
                    <a:cubicBezTo>
                      <a:pt x="232" y="26"/>
                      <a:pt x="232" y="26"/>
                      <a:pt x="232" y="26"/>
                    </a:cubicBezTo>
                    <a:cubicBezTo>
                      <a:pt x="232" y="26"/>
                      <a:pt x="232" y="26"/>
                      <a:pt x="233" y="27"/>
                    </a:cubicBezTo>
                    <a:cubicBezTo>
                      <a:pt x="233" y="28"/>
                      <a:pt x="232" y="27"/>
                      <a:pt x="232" y="27"/>
                    </a:cubicBezTo>
                    <a:cubicBezTo>
                      <a:pt x="232" y="27"/>
                      <a:pt x="231" y="27"/>
                      <a:pt x="231" y="27"/>
                    </a:cubicBezTo>
                    <a:cubicBezTo>
                      <a:pt x="231" y="27"/>
                      <a:pt x="231" y="27"/>
                      <a:pt x="231" y="27"/>
                    </a:cubicBezTo>
                    <a:cubicBezTo>
                      <a:pt x="232" y="27"/>
                      <a:pt x="231" y="26"/>
                      <a:pt x="231" y="26"/>
                    </a:cubicBezTo>
                    <a:cubicBezTo>
                      <a:pt x="231" y="26"/>
                      <a:pt x="231" y="26"/>
                      <a:pt x="230" y="26"/>
                    </a:cubicBezTo>
                    <a:cubicBezTo>
                      <a:pt x="230" y="26"/>
                      <a:pt x="230" y="27"/>
                      <a:pt x="230" y="27"/>
                    </a:cubicBezTo>
                    <a:cubicBezTo>
                      <a:pt x="229" y="27"/>
                      <a:pt x="229" y="27"/>
                      <a:pt x="229" y="27"/>
                    </a:cubicBezTo>
                    <a:cubicBezTo>
                      <a:pt x="229" y="26"/>
                      <a:pt x="230" y="26"/>
                      <a:pt x="230" y="26"/>
                    </a:cubicBezTo>
                    <a:cubicBezTo>
                      <a:pt x="230" y="25"/>
                      <a:pt x="229" y="26"/>
                      <a:pt x="229" y="26"/>
                    </a:cubicBezTo>
                    <a:cubicBezTo>
                      <a:pt x="229" y="26"/>
                      <a:pt x="229" y="26"/>
                      <a:pt x="229" y="26"/>
                    </a:cubicBezTo>
                    <a:cubicBezTo>
                      <a:pt x="228" y="25"/>
                      <a:pt x="229" y="25"/>
                      <a:pt x="229" y="25"/>
                    </a:cubicBezTo>
                    <a:cubicBezTo>
                      <a:pt x="229" y="25"/>
                      <a:pt x="229" y="25"/>
                      <a:pt x="229" y="25"/>
                    </a:cubicBezTo>
                    <a:cubicBezTo>
                      <a:pt x="229" y="25"/>
                      <a:pt x="229" y="25"/>
                      <a:pt x="229" y="25"/>
                    </a:cubicBezTo>
                    <a:cubicBezTo>
                      <a:pt x="229" y="25"/>
                      <a:pt x="229" y="25"/>
                      <a:pt x="229" y="25"/>
                    </a:cubicBezTo>
                    <a:cubicBezTo>
                      <a:pt x="229" y="25"/>
                      <a:pt x="229" y="25"/>
                      <a:pt x="229" y="25"/>
                    </a:cubicBezTo>
                    <a:cubicBezTo>
                      <a:pt x="229" y="25"/>
                      <a:pt x="229" y="24"/>
                      <a:pt x="229" y="23"/>
                    </a:cubicBezTo>
                    <a:cubicBezTo>
                      <a:pt x="230" y="23"/>
                      <a:pt x="230" y="22"/>
                      <a:pt x="230" y="22"/>
                    </a:cubicBezTo>
                    <a:cubicBezTo>
                      <a:pt x="230" y="22"/>
                      <a:pt x="230" y="22"/>
                      <a:pt x="230" y="22"/>
                    </a:cubicBezTo>
                    <a:cubicBezTo>
                      <a:pt x="230" y="21"/>
                      <a:pt x="230" y="21"/>
                      <a:pt x="229" y="21"/>
                    </a:cubicBezTo>
                    <a:cubicBezTo>
                      <a:pt x="229" y="22"/>
                      <a:pt x="229" y="22"/>
                      <a:pt x="229" y="22"/>
                    </a:cubicBezTo>
                    <a:cubicBezTo>
                      <a:pt x="229" y="22"/>
                      <a:pt x="228" y="22"/>
                      <a:pt x="228" y="22"/>
                    </a:cubicBezTo>
                    <a:cubicBezTo>
                      <a:pt x="228" y="22"/>
                      <a:pt x="228" y="22"/>
                      <a:pt x="228" y="22"/>
                    </a:cubicBezTo>
                    <a:cubicBezTo>
                      <a:pt x="228" y="21"/>
                      <a:pt x="228" y="21"/>
                      <a:pt x="228" y="21"/>
                    </a:cubicBezTo>
                    <a:cubicBezTo>
                      <a:pt x="229" y="21"/>
                      <a:pt x="229" y="21"/>
                      <a:pt x="229" y="21"/>
                    </a:cubicBezTo>
                    <a:cubicBezTo>
                      <a:pt x="229" y="21"/>
                      <a:pt x="228" y="21"/>
                      <a:pt x="228" y="21"/>
                    </a:cubicBezTo>
                    <a:cubicBezTo>
                      <a:pt x="227" y="21"/>
                      <a:pt x="227" y="21"/>
                      <a:pt x="227" y="21"/>
                    </a:cubicBezTo>
                    <a:cubicBezTo>
                      <a:pt x="227" y="21"/>
                      <a:pt x="227" y="20"/>
                      <a:pt x="226" y="20"/>
                    </a:cubicBezTo>
                    <a:cubicBezTo>
                      <a:pt x="226" y="20"/>
                      <a:pt x="226" y="20"/>
                      <a:pt x="225" y="20"/>
                    </a:cubicBezTo>
                    <a:cubicBezTo>
                      <a:pt x="225" y="20"/>
                      <a:pt x="225" y="20"/>
                      <a:pt x="224" y="19"/>
                    </a:cubicBezTo>
                    <a:cubicBezTo>
                      <a:pt x="224" y="19"/>
                      <a:pt x="224" y="19"/>
                      <a:pt x="224" y="19"/>
                    </a:cubicBezTo>
                    <a:cubicBezTo>
                      <a:pt x="224" y="20"/>
                      <a:pt x="224" y="20"/>
                      <a:pt x="224" y="20"/>
                    </a:cubicBezTo>
                    <a:cubicBezTo>
                      <a:pt x="224" y="20"/>
                      <a:pt x="224" y="20"/>
                      <a:pt x="224" y="20"/>
                    </a:cubicBezTo>
                    <a:cubicBezTo>
                      <a:pt x="224" y="21"/>
                      <a:pt x="223" y="21"/>
                      <a:pt x="223" y="21"/>
                    </a:cubicBezTo>
                    <a:cubicBezTo>
                      <a:pt x="223" y="21"/>
                      <a:pt x="223" y="21"/>
                      <a:pt x="223" y="21"/>
                    </a:cubicBezTo>
                    <a:cubicBezTo>
                      <a:pt x="223" y="21"/>
                      <a:pt x="222" y="20"/>
                      <a:pt x="222" y="20"/>
                    </a:cubicBezTo>
                    <a:cubicBezTo>
                      <a:pt x="221" y="20"/>
                      <a:pt x="221" y="20"/>
                      <a:pt x="221" y="20"/>
                    </a:cubicBezTo>
                    <a:cubicBezTo>
                      <a:pt x="221" y="20"/>
                      <a:pt x="221" y="21"/>
                      <a:pt x="222" y="21"/>
                    </a:cubicBezTo>
                    <a:cubicBezTo>
                      <a:pt x="222" y="21"/>
                      <a:pt x="222" y="21"/>
                      <a:pt x="222" y="22"/>
                    </a:cubicBezTo>
                    <a:cubicBezTo>
                      <a:pt x="222" y="22"/>
                      <a:pt x="223" y="22"/>
                      <a:pt x="224" y="23"/>
                    </a:cubicBezTo>
                    <a:cubicBezTo>
                      <a:pt x="224" y="23"/>
                      <a:pt x="224" y="23"/>
                      <a:pt x="224" y="23"/>
                    </a:cubicBezTo>
                    <a:cubicBezTo>
                      <a:pt x="224" y="23"/>
                      <a:pt x="224" y="23"/>
                      <a:pt x="224" y="23"/>
                    </a:cubicBezTo>
                    <a:cubicBezTo>
                      <a:pt x="224" y="22"/>
                      <a:pt x="225" y="23"/>
                      <a:pt x="225" y="23"/>
                    </a:cubicBezTo>
                    <a:cubicBezTo>
                      <a:pt x="225" y="23"/>
                      <a:pt x="226" y="23"/>
                      <a:pt x="226" y="23"/>
                    </a:cubicBezTo>
                    <a:cubicBezTo>
                      <a:pt x="227" y="24"/>
                      <a:pt x="226" y="24"/>
                      <a:pt x="226" y="24"/>
                    </a:cubicBezTo>
                    <a:cubicBezTo>
                      <a:pt x="226" y="25"/>
                      <a:pt x="226" y="25"/>
                      <a:pt x="225" y="25"/>
                    </a:cubicBezTo>
                    <a:cubicBezTo>
                      <a:pt x="225" y="25"/>
                      <a:pt x="225" y="25"/>
                      <a:pt x="224" y="24"/>
                    </a:cubicBezTo>
                    <a:cubicBezTo>
                      <a:pt x="224" y="24"/>
                      <a:pt x="224" y="24"/>
                      <a:pt x="223" y="24"/>
                    </a:cubicBezTo>
                    <a:cubicBezTo>
                      <a:pt x="223" y="24"/>
                      <a:pt x="222" y="22"/>
                      <a:pt x="222" y="22"/>
                    </a:cubicBezTo>
                    <a:cubicBezTo>
                      <a:pt x="222" y="22"/>
                      <a:pt x="222" y="23"/>
                      <a:pt x="222" y="23"/>
                    </a:cubicBezTo>
                    <a:cubicBezTo>
                      <a:pt x="222" y="23"/>
                      <a:pt x="222" y="23"/>
                      <a:pt x="222" y="23"/>
                    </a:cubicBezTo>
                    <a:cubicBezTo>
                      <a:pt x="222" y="23"/>
                      <a:pt x="222" y="24"/>
                      <a:pt x="222" y="24"/>
                    </a:cubicBezTo>
                    <a:cubicBezTo>
                      <a:pt x="222" y="24"/>
                      <a:pt x="222" y="24"/>
                      <a:pt x="222" y="24"/>
                    </a:cubicBezTo>
                    <a:cubicBezTo>
                      <a:pt x="222" y="24"/>
                      <a:pt x="221" y="24"/>
                      <a:pt x="221" y="24"/>
                    </a:cubicBezTo>
                    <a:cubicBezTo>
                      <a:pt x="220" y="24"/>
                      <a:pt x="220" y="24"/>
                      <a:pt x="220" y="24"/>
                    </a:cubicBezTo>
                    <a:cubicBezTo>
                      <a:pt x="219" y="24"/>
                      <a:pt x="219" y="24"/>
                      <a:pt x="219" y="24"/>
                    </a:cubicBezTo>
                    <a:cubicBezTo>
                      <a:pt x="219" y="24"/>
                      <a:pt x="217" y="24"/>
                      <a:pt x="216" y="23"/>
                    </a:cubicBezTo>
                    <a:cubicBezTo>
                      <a:pt x="215" y="23"/>
                      <a:pt x="216" y="24"/>
                      <a:pt x="215" y="24"/>
                    </a:cubicBezTo>
                    <a:cubicBezTo>
                      <a:pt x="214" y="24"/>
                      <a:pt x="213" y="24"/>
                      <a:pt x="213" y="24"/>
                    </a:cubicBezTo>
                    <a:cubicBezTo>
                      <a:pt x="213" y="24"/>
                      <a:pt x="213" y="24"/>
                      <a:pt x="213" y="24"/>
                    </a:cubicBezTo>
                    <a:cubicBezTo>
                      <a:pt x="213" y="24"/>
                      <a:pt x="212" y="24"/>
                      <a:pt x="212" y="24"/>
                    </a:cubicBezTo>
                    <a:cubicBezTo>
                      <a:pt x="211" y="24"/>
                      <a:pt x="212" y="24"/>
                      <a:pt x="211" y="24"/>
                    </a:cubicBezTo>
                    <a:cubicBezTo>
                      <a:pt x="211" y="24"/>
                      <a:pt x="210" y="24"/>
                      <a:pt x="210" y="24"/>
                    </a:cubicBezTo>
                    <a:cubicBezTo>
                      <a:pt x="210" y="24"/>
                      <a:pt x="209" y="24"/>
                      <a:pt x="208" y="24"/>
                    </a:cubicBezTo>
                    <a:cubicBezTo>
                      <a:pt x="208" y="24"/>
                      <a:pt x="208" y="24"/>
                      <a:pt x="208" y="23"/>
                    </a:cubicBezTo>
                    <a:cubicBezTo>
                      <a:pt x="208" y="23"/>
                      <a:pt x="208" y="23"/>
                      <a:pt x="207" y="23"/>
                    </a:cubicBezTo>
                    <a:cubicBezTo>
                      <a:pt x="206" y="23"/>
                      <a:pt x="206" y="23"/>
                      <a:pt x="206" y="22"/>
                    </a:cubicBezTo>
                    <a:cubicBezTo>
                      <a:pt x="206" y="21"/>
                      <a:pt x="206" y="21"/>
                      <a:pt x="206" y="21"/>
                    </a:cubicBezTo>
                    <a:cubicBezTo>
                      <a:pt x="206" y="22"/>
                      <a:pt x="206" y="22"/>
                      <a:pt x="205" y="22"/>
                    </a:cubicBezTo>
                    <a:cubicBezTo>
                      <a:pt x="205" y="22"/>
                      <a:pt x="205" y="22"/>
                      <a:pt x="205" y="22"/>
                    </a:cubicBezTo>
                    <a:cubicBezTo>
                      <a:pt x="205" y="23"/>
                      <a:pt x="204" y="22"/>
                      <a:pt x="203" y="22"/>
                    </a:cubicBezTo>
                    <a:cubicBezTo>
                      <a:pt x="202" y="22"/>
                      <a:pt x="203" y="22"/>
                      <a:pt x="202" y="22"/>
                    </a:cubicBezTo>
                    <a:cubicBezTo>
                      <a:pt x="202" y="22"/>
                      <a:pt x="202" y="22"/>
                      <a:pt x="203" y="21"/>
                    </a:cubicBezTo>
                    <a:cubicBezTo>
                      <a:pt x="203" y="21"/>
                      <a:pt x="202" y="21"/>
                      <a:pt x="202" y="21"/>
                    </a:cubicBezTo>
                    <a:cubicBezTo>
                      <a:pt x="201" y="21"/>
                      <a:pt x="201" y="21"/>
                      <a:pt x="201" y="21"/>
                    </a:cubicBezTo>
                    <a:cubicBezTo>
                      <a:pt x="200" y="21"/>
                      <a:pt x="200" y="21"/>
                      <a:pt x="200" y="20"/>
                    </a:cubicBezTo>
                    <a:cubicBezTo>
                      <a:pt x="199" y="20"/>
                      <a:pt x="199" y="20"/>
                      <a:pt x="199" y="20"/>
                    </a:cubicBezTo>
                    <a:cubicBezTo>
                      <a:pt x="200" y="20"/>
                      <a:pt x="200" y="20"/>
                      <a:pt x="200" y="19"/>
                    </a:cubicBezTo>
                    <a:cubicBezTo>
                      <a:pt x="200" y="19"/>
                      <a:pt x="200" y="19"/>
                      <a:pt x="200" y="19"/>
                    </a:cubicBezTo>
                    <a:cubicBezTo>
                      <a:pt x="200" y="19"/>
                      <a:pt x="200" y="19"/>
                      <a:pt x="200" y="19"/>
                    </a:cubicBezTo>
                    <a:cubicBezTo>
                      <a:pt x="200" y="19"/>
                      <a:pt x="200" y="19"/>
                      <a:pt x="200" y="19"/>
                    </a:cubicBezTo>
                    <a:cubicBezTo>
                      <a:pt x="200" y="19"/>
                      <a:pt x="199" y="18"/>
                      <a:pt x="199" y="18"/>
                    </a:cubicBezTo>
                    <a:cubicBezTo>
                      <a:pt x="198" y="18"/>
                      <a:pt x="198" y="18"/>
                      <a:pt x="198" y="18"/>
                    </a:cubicBezTo>
                    <a:cubicBezTo>
                      <a:pt x="197" y="17"/>
                      <a:pt x="197" y="17"/>
                      <a:pt x="197" y="17"/>
                    </a:cubicBezTo>
                    <a:cubicBezTo>
                      <a:pt x="197" y="17"/>
                      <a:pt x="197" y="18"/>
                      <a:pt x="196" y="18"/>
                    </a:cubicBezTo>
                    <a:cubicBezTo>
                      <a:pt x="195" y="18"/>
                      <a:pt x="194" y="18"/>
                      <a:pt x="193" y="19"/>
                    </a:cubicBezTo>
                    <a:cubicBezTo>
                      <a:pt x="192" y="19"/>
                      <a:pt x="192" y="19"/>
                      <a:pt x="191" y="19"/>
                    </a:cubicBezTo>
                    <a:cubicBezTo>
                      <a:pt x="190" y="19"/>
                      <a:pt x="190" y="19"/>
                      <a:pt x="190" y="20"/>
                    </a:cubicBezTo>
                    <a:cubicBezTo>
                      <a:pt x="190" y="20"/>
                      <a:pt x="190" y="20"/>
                      <a:pt x="189" y="21"/>
                    </a:cubicBezTo>
                    <a:cubicBezTo>
                      <a:pt x="189" y="21"/>
                      <a:pt x="189" y="21"/>
                      <a:pt x="189" y="21"/>
                    </a:cubicBezTo>
                    <a:cubicBezTo>
                      <a:pt x="189" y="21"/>
                      <a:pt x="190" y="21"/>
                      <a:pt x="190" y="21"/>
                    </a:cubicBezTo>
                    <a:cubicBezTo>
                      <a:pt x="190" y="21"/>
                      <a:pt x="190" y="21"/>
                      <a:pt x="190" y="21"/>
                    </a:cubicBezTo>
                    <a:cubicBezTo>
                      <a:pt x="190" y="21"/>
                      <a:pt x="191" y="22"/>
                      <a:pt x="191" y="22"/>
                    </a:cubicBezTo>
                    <a:cubicBezTo>
                      <a:pt x="191" y="21"/>
                      <a:pt x="191" y="21"/>
                      <a:pt x="192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2" y="21"/>
                      <a:pt x="192" y="21"/>
                      <a:pt x="193" y="20"/>
                    </a:cubicBezTo>
                    <a:cubicBezTo>
                      <a:pt x="193" y="20"/>
                      <a:pt x="193" y="20"/>
                      <a:pt x="193" y="20"/>
                    </a:cubicBezTo>
                    <a:cubicBezTo>
                      <a:pt x="193" y="20"/>
                      <a:pt x="194" y="21"/>
                      <a:pt x="194" y="21"/>
                    </a:cubicBezTo>
                    <a:cubicBezTo>
                      <a:pt x="194" y="21"/>
                      <a:pt x="194" y="21"/>
                      <a:pt x="194" y="21"/>
                    </a:cubicBezTo>
                    <a:cubicBezTo>
                      <a:pt x="194" y="21"/>
                      <a:pt x="194" y="21"/>
                      <a:pt x="195" y="21"/>
                    </a:cubicBezTo>
                    <a:cubicBezTo>
                      <a:pt x="195" y="21"/>
                      <a:pt x="195" y="20"/>
                      <a:pt x="195" y="21"/>
                    </a:cubicBezTo>
                    <a:cubicBezTo>
                      <a:pt x="195" y="21"/>
                      <a:pt x="196" y="21"/>
                      <a:pt x="196" y="20"/>
                    </a:cubicBezTo>
                    <a:cubicBezTo>
                      <a:pt x="196" y="20"/>
                      <a:pt x="196" y="20"/>
                      <a:pt x="196" y="20"/>
                    </a:cubicBezTo>
                    <a:cubicBezTo>
                      <a:pt x="196" y="20"/>
                      <a:pt x="196" y="20"/>
                      <a:pt x="196" y="20"/>
                    </a:cubicBezTo>
                    <a:cubicBezTo>
                      <a:pt x="196" y="20"/>
                      <a:pt x="196" y="20"/>
                      <a:pt x="196" y="20"/>
                    </a:cubicBezTo>
                    <a:cubicBezTo>
                      <a:pt x="196" y="20"/>
                      <a:pt x="197" y="19"/>
                      <a:pt x="197" y="19"/>
                    </a:cubicBezTo>
                    <a:cubicBezTo>
                      <a:pt x="197" y="19"/>
                      <a:pt x="197" y="19"/>
                      <a:pt x="197" y="19"/>
                    </a:cubicBezTo>
                    <a:cubicBezTo>
                      <a:pt x="198" y="19"/>
                      <a:pt x="198" y="19"/>
                      <a:pt x="199" y="19"/>
                    </a:cubicBezTo>
                    <a:cubicBezTo>
                      <a:pt x="199" y="19"/>
                      <a:pt x="199" y="19"/>
                      <a:pt x="199" y="19"/>
                    </a:cubicBezTo>
                    <a:cubicBezTo>
                      <a:pt x="199" y="19"/>
                      <a:pt x="199" y="19"/>
                      <a:pt x="199" y="19"/>
                    </a:cubicBezTo>
                    <a:cubicBezTo>
                      <a:pt x="199" y="20"/>
                      <a:pt x="199" y="20"/>
                      <a:pt x="198" y="20"/>
                    </a:cubicBezTo>
                    <a:cubicBezTo>
                      <a:pt x="198" y="20"/>
                      <a:pt x="198" y="20"/>
                      <a:pt x="198" y="20"/>
                    </a:cubicBezTo>
                    <a:cubicBezTo>
                      <a:pt x="198" y="21"/>
                      <a:pt x="197" y="21"/>
                      <a:pt x="197" y="21"/>
                    </a:cubicBezTo>
                    <a:cubicBezTo>
                      <a:pt x="197" y="21"/>
                      <a:pt x="197" y="21"/>
                      <a:pt x="197" y="21"/>
                    </a:cubicBezTo>
                    <a:cubicBezTo>
                      <a:pt x="197" y="21"/>
                      <a:pt x="196" y="21"/>
                      <a:pt x="196" y="21"/>
                    </a:cubicBezTo>
                    <a:cubicBezTo>
                      <a:pt x="196" y="21"/>
                      <a:pt x="196" y="21"/>
                      <a:pt x="196" y="21"/>
                    </a:cubicBezTo>
                    <a:cubicBezTo>
                      <a:pt x="196" y="22"/>
                      <a:pt x="195" y="22"/>
                      <a:pt x="195" y="22"/>
                    </a:cubicBezTo>
                    <a:cubicBezTo>
                      <a:pt x="195" y="22"/>
                      <a:pt x="195" y="22"/>
                      <a:pt x="194" y="22"/>
                    </a:cubicBezTo>
                    <a:cubicBezTo>
                      <a:pt x="194" y="22"/>
                      <a:pt x="194" y="22"/>
                      <a:pt x="194" y="22"/>
                    </a:cubicBezTo>
                    <a:cubicBezTo>
                      <a:pt x="193" y="22"/>
                      <a:pt x="192" y="22"/>
                      <a:pt x="192" y="22"/>
                    </a:cubicBezTo>
                    <a:cubicBezTo>
                      <a:pt x="192" y="22"/>
                      <a:pt x="192" y="23"/>
                      <a:pt x="193" y="23"/>
                    </a:cubicBezTo>
                    <a:cubicBezTo>
                      <a:pt x="193" y="23"/>
                      <a:pt x="193" y="23"/>
                      <a:pt x="193" y="23"/>
                    </a:cubicBezTo>
                    <a:cubicBezTo>
                      <a:pt x="193" y="23"/>
                      <a:pt x="192" y="23"/>
                      <a:pt x="192" y="24"/>
                    </a:cubicBezTo>
                    <a:cubicBezTo>
                      <a:pt x="192" y="24"/>
                      <a:pt x="192" y="24"/>
                      <a:pt x="192" y="24"/>
                    </a:cubicBezTo>
                    <a:cubicBezTo>
                      <a:pt x="192" y="24"/>
                      <a:pt x="192" y="25"/>
                      <a:pt x="192" y="25"/>
                    </a:cubicBezTo>
                    <a:cubicBezTo>
                      <a:pt x="192" y="25"/>
                      <a:pt x="193" y="25"/>
                      <a:pt x="193" y="26"/>
                    </a:cubicBezTo>
                    <a:cubicBezTo>
                      <a:pt x="193" y="26"/>
                      <a:pt x="193" y="26"/>
                      <a:pt x="193" y="26"/>
                    </a:cubicBezTo>
                    <a:cubicBezTo>
                      <a:pt x="193" y="26"/>
                      <a:pt x="193" y="26"/>
                      <a:pt x="193" y="26"/>
                    </a:cubicBezTo>
                    <a:cubicBezTo>
                      <a:pt x="193" y="27"/>
                      <a:pt x="193" y="27"/>
                      <a:pt x="193" y="27"/>
                    </a:cubicBezTo>
                    <a:cubicBezTo>
                      <a:pt x="193" y="27"/>
                      <a:pt x="193" y="27"/>
                      <a:pt x="194" y="27"/>
                    </a:cubicBezTo>
                    <a:cubicBezTo>
                      <a:pt x="194" y="28"/>
                      <a:pt x="194" y="28"/>
                      <a:pt x="194" y="28"/>
                    </a:cubicBezTo>
                    <a:cubicBezTo>
                      <a:pt x="194" y="28"/>
                      <a:pt x="194" y="28"/>
                      <a:pt x="194" y="28"/>
                    </a:cubicBezTo>
                    <a:cubicBezTo>
                      <a:pt x="193" y="28"/>
                      <a:pt x="193" y="28"/>
                      <a:pt x="193" y="28"/>
                    </a:cubicBezTo>
                    <a:cubicBezTo>
                      <a:pt x="193" y="28"/>
                      <a:pt x="192" y="29"/>
                      <a:pt x="192" y="29"/>
                    </a:cubicBezTo>
                    <a:cubicBezTo>
                      <a:pt x="192" y="29"/>
                      <a:pt x="193" y="30"/>
                      <a:pt x="194" y="31"/>
                    </a:cubicBezTo>
                    <a:cubicBezTo>
                      <a:pt x="194" y="31"/>
                      <a:pt x="194" y="31"/>
                      <a:pt x="194" y="31"/>
                    </a:cubicBezTo>
                    <a:cubicBezTo>
                      <a:pt x="194" y="31"/>
                      <a:pt x="193" y="30"/>
                      <a:pt x="193" y="30"/>
                    </a:cubicBezTo>
                    <a:cubicBezTo>
                      <a:pt x="192" y="30"/>
                      <a:pt x="192" y="30"/>
                      <a:pt x="192" y="30"/>
                    </a:cubicBezTo>
                    <a:cubicBezTo>
                      <a:pt x="192" y="29"/>
                      <a:pt x="191" y="29"/>
                      <a:pt x="191" y="29"/>
                    </a:cubicBezTo>
                    <a:cubicBezTo>
                      <a:pt x="191" y="29"/>
                      <a:pt x="190" y="28"/>
                      <a:pt x="191" y="28"/>
                    </a:cubicBezTo>
                    <a:cubicBezTo>
                      <a:pt x="191" y="28"/>
                      <a:pt x="191" y="28"/>
                      <a:pt x="191" y="28"/>
                    </a:cubicBezTo>
                    <a:cubicBezTo>
                      <a:pt x="191" y="28"/>
                      <a:pt x="191" y="28"/>
                      <a:pt x="192" y="28"/>
                    </a:cubicBezTo>
                    <a:cubicBezTo>
                      <a:pt x="192" y="28"/>
                      <a:pt x="192" y="27"/>
                      <a:pt x="192" y="27"/>
                    </a:cubicBezTo>
                    <a:cubicBezTo>
                      <a:pt x="191" y="26"/>
                      <a:pt x="191" y="26"/>
                      <a:pt x="191" y="26"/>
                    </a:cubicBezTo>
                    <a:cubicBezTo>
                      <a:pt x="191" y="25"/>
                      <a:pt x="191" y="26"/>
                      <a:pt x="190" y="26"/>
                    </a:cubicBezTo>
                    <a:cubicBezTo>
                      <a:pt x="190" y="26"/>
                      <a:pt x="190" y="26"/>
                      <a:pt x="190" y="26"/>
                    </a:cubicBezTo>
                    <a:cubicBezTo>
                      <a:pt x="190" y="26"/>
                      <a:pt x="190" y="25"/>
                      <a:pt x="190" y="25"/>
                    </a:cubicBezTo>
                    <a:cubicBezTo>
                      <a:pt x="190" y="24"/>
                      <a:pt x="189" y="25"/>
                      <a:pt x="189" y="25"/>
                    </a:cubicBezTo>
                    <a:cubicBezTo>
                      <a:pt x="189" y="25"/>
                      <a:pt x="189" y="26"/>
                      <a:pt x="189" y="26"/>
                    </a:cubicBezTo>
                    <a:cubicBezTo>
                      <a:pt x="188" y="25"/>
                      <a:pt x="188" y="25"/>
                      <a:pt x="188" y="25"/>
                    </a:cubicBezTo>
                    <a:cubicBezTo>
                      <a:pt x="188" y="25"/>
                      <a:pt x="188" y="25"/>
                      <a:pt x="188" y="24"/>
                    </a:cubicBezTo>
                    <a:cubicBezTo>
                      <a:pt x="188" y="24"/>
                      <a:pt x="188" y="24"/>
                      <a:pt x="188" y="24"/>
                    </a:cubicBezTo>
                    <a:cubicBezTo>
                      <a:pt x="188" y="24"/>
                      <a:pt x="188" y="24"/>
                      <a:pt x="187" y="24"/>
                    </a:cubicBezTo>
                    <a:cubicBezTo>
                      <a:pt x="186" y="24"/>
                      <a:pt x="186" y="24"/>
                      <a:pt x="186" y="24"/>
                    </a:cubicBezTo>
                    <a:cubicBezTo>
                      <a:pt x="186" y="24"/>
                      <a:pt x="186" y="24"/>
                      <a:pt x="186" y="23"/>
                    </a:cubicBezTo>
                    <a:cubicBezTo>
                      <a:pt x="186" y="23"/>
                      <a:pt x="186" y="23"/>
                      <a:pt x="186" y="23"/>
                    </a:cubicBezTo>
                    <a:cubicBezTo>
                      <a:pt x="186" y="23"/>
                      <a:pt x="185" y="23"/>
                      <a:pt x="185" y="23"/>
                    </a:cubicBezTo>
                    <a:cubicBezTo>
                      <a:pt x="185" y="23"/>
                      <a:pt x="184" y="23"/>
                      <a:pt x="184" y="23"/>
                    </a:cubicBezTo>
                    <a:cubicBezTo>
                      <a:pt x="184" y="23"/>
                      <a:pt x="183" y="24"/>
                      <a:pt x="182" y="24"/>
                    </a:cubicBezTo>
                    <a:cubicBezTo>
                      <a:pt x="182" y="24"/>
                      <a:pt x="182" y="24"/>
                      <a:pt x="182" y="24"/>
                    </a:cubicBezTo>
                    <a:cubicBezTo>
                      <a:pt x="181" y="24"/>
                      <a:pt x="181" y="24"/>
                      <a:pt x="181" y="24"/>
                    </a:cubicBezTo>
                    <a:cubicBezTo>
                      <a:pt x="181" y="24"/>
                      <a:pt x="181" y="24"/>
                      <a:pt x="181" y="24"/>
                    </a:cubicBezTo>
                    <a:cubicBezTo>
                      <a:pt x="181" y="24"/>
                      <a:pt x="181" y="24"/>
                      <a:pt x="180" y="24"/>
                    </a:cubicBezTo>
                    <a:cubicBezTo>
                      <a:pt x="179" y="24"/>
                      <a:pt x="180" y="24"/>
                      <a:pt x="179" y="24"/>
                    </a:cubicBezTo>
                    <a:cubicBezTo>
                      <a:pt x="179" y="24"/>
                      <a:pt x="179" y="24"/>
                      <a:pt x="179" y="24"/>
                    </a:cubicBezTo>
                    <a:cubicBezTo>
                      <a:pt x="179" y="24"/>
                      <a:pt x="178" y="24"/>
                      <a:pt x="178" y="24"/>
                    </a:cubicBezTo>
                    <a:cubicBezTo>
                      <a:pt x="178" y="24"/>
                      <a:pt x="178" y="24"/>
                      <a:pt x="178" y="24"/>
                    </a:cubicBezTo>
                    <a:cubicBezTo>
                      <a:pt x="177" y="24"/>
                      <a:pt x="177" y="24"/>
                      <a:pt x="176" y="24"/>
                    </a:cubicBezTo>
                    <a:cubicBezTo>
                      <a:pt x="175" y="24"/>
                      <a:pt x="173" y="24"/>
                      <a:pt x="173" y="24"/>
                    </a:cubicBezTo>
                    <a:cubicBezTo>
                      <a:pt x="172" y="24"/>
                      <a:pt x="171" y="24"/>
                      <a:pt x="171" y="24"/>
                    </a:cubicBezTo>
                    <a:cubicBezTo>
                      <a:pt x="170" y="24"/>
                      <a:pt x="170" y="24"/>
                      <a:pt x="170" y="24"/>
                    </a:cubicBezTo>
                    <a:cubicBezTo>
                      <a:pt x="170" y="24"/>
                      <a:pt x="170" y="24"/>
                      <a:pt x="169" y="24"/>
                    </a:cubicBezTo>
                    <a:cubicBezTo>
                      <a:pt x="168" y="24"/>
                      <a:pt x="168" y="24"/>
                      <a:pt x="168" y="24"/>
                    </a:cubicBezTo>
                    <a:cubicBezTo>
                      <a:pt x="168" y="23"/>
                      <a:pt x="168" y="23"/>
                      <a:pt x="168" y="23"/>
                    </a:cubicBezTo>
                    <a:cubicBezTo>
                      <a:pt x="168" y="23"/>
                      <a:pt x="168" y="23"/>
                      <a:pt x="168" y="23"/>
                    </a:cubicBezTo>
                    <a:cubicBezTo>
                      <a:pt x="168" y="23"/>
                      <a:pt x="168" y="23"/>
                      <a:pt x="168" y="23"/>
                    </a:cubicBezTo>
                    <a:cubicBezTo>
                      <a:pt x="169" y="23"/>
                      <a:pt x="169" y="23"/>
                      <a:pt x="169" y="23"/>
                    </a:cubicBezTo>
                    <a:cubicBezTo>
                      <a:pt x="169" y="23"/>
                      <a:pt x="168" y="22"/>
                      <a:pt x="168" y="22"/>
                    </a:cubicBezTo>
                    <a:cubicBezTo>
                      <a:pt x="168" y="22"/>
                      <a:pt x="168" y="22"/>
                      <a:pt x="168" y="22"/>
                    </a:cubicBezTo>
                    <a:cubicBezTo>
                      <a:pt x="168" y="21"/>
                      <a:pt x="169" y="22"/>
                      <a:pt x="169" y="22"/>
                    </a:cubicBezTo>
                    <a:cubicBezTo>
                      <a:pt x="169" y="22"/>
                      <a:pt x="169" y="22"/>
                      <a:pt x="170" y="22"/>
                    </a:cubicBezTo>
                    <a:cubicBezTo>
                      <a:pt x="171" y="21"/>
                      <a:pt x="169" y="21"/>
                      <a:pt x="170" y="21"/>
                    </a:cubicBezTo>
                    <a:cubicBezTo>
                      <a:pt x="170" y="21"/>
                      <a:pt x="171" y="21"/>
                      <a:pt x="172" y="21"/>
                    </a:cubicBezTo>
                    <a:cubicBezTo>
                      <a:pt x="172" y="21"/>
                      <a:pt x="172" y="21"/>
                      <a:pt x="172" y="21"/>
                    </a:cubicBezTo>
                    <a:cubicBezTo>
                      <a:pt x="172" y="21"/>
                      <a:pt x="172" y="21"/>
                      <a:pt x="172" y="20"/>
                    </a:cubicBezTo>
                    <a:cubicBezTo>
                      <a:pt x="173" y="20"/>
                      <a:pt x="173" y="20"/>
                      <a:pt x="172" y="19"/>
                    </a:cubicBezTo>
                    <a:cubicBezTo>
                      <a:pt x="170" y="19"/>
                      <a:pt x="171" y="19"/>
                      <a:pt x="171" y="19"/>
                    </a:cubicBezTo>
                    <a:cubicBezTo>
                      <a:pt x="170" y="19"/>
                      <a:pt x="169" y="18"/>
                      <a:pt x="168" y="17"/>
                    </a:cubicBezTo>
                    <a:cubicBezTo>
                      <a:pt x="167" y="17"/>
                      <a:pt x="167" y="17"/>
                      <a:pt x="167" y="17"/>
                    </a:cubicBezTo>
                    <a:cubicBezTo>
                      <a:pt x="166" y="17"/>
                      <a:pt x="166" y="17"/>
                      <a:pt x="166" y="17"/>
                    </a:cubicBezTo>
                    <a:cubicBezTo>
                      <a:pt x="165" y="17"/>
                      <a:pt x="165" y="17"/>
                      <a:pt x="165" y="17"/>
                    </a:cubicBezTo>
                    <a:cubicBezTo>
                      <a:pt x="165" y="17"/>
                      <a:pt x="165" y="17"/>
                      <a:pt x="165" y="17"/>
                    </a:cubicBezTo>
                    <a:cubicBezTo>
                      <a:pt x="165" y="18"/>
                      <a:pt x="165" y="18"/>
                      <a:pt x="165" y="18"/>
                    </a:cubicBezTo>
                    <a:cubicBezTo>
                      <a:pt x="165" y="18"/>
                      <a:pt x="165" y="18"/>
                      <a:pt x="164" y="18"/>
                    </a:cubicBezTo>
                    <a:cubicBezTo>
                      <a:pt x="163" y="17"/>
                      <a:pt x="162" y="17"/>
                      <a:pt x="161" y="17"/>
                    </a:cubicBezTo>
                    <a:cubicBezTo>
                      <a:pt x="160" y="17"/>
                      <a:pt x="160" y="17"/>
                      <a:pt x="159" y="17"/>
                    </a:cubicBezTo>
                    <a:cubicBezTo>
                      <a:pt x="158" y="16"/>
                      <a:pt x="157" y="15"/>
                      <a:pt x="156" y="15"/>
                    </a:cubicBezTo>
                    <a:cubicBezTo>
                      <a:pt x="155" y="15"/>
                      <a:pt x="155" y="15"/>
                      <a:pt x="155" y="15"/>
                    </a:cubicBezTo>
                    <a:cubicBezTo>
                      <a:pt x="154" y="15"/>
                      <a:pt x="152" y="14"/>
                      <a:pt x="152" y="14"/>
                    </a:cubicBezTo>
                    <a:cubicBezTo>
                      <a:pt x="151" y="14"/>
                      <a:pt x="151" y="14"/>
                      <a:pt x="150" y="13"/>
                    </a:cubicBezTo>
                    <a:cubicBezTo>
                      <a:pt x="149" y="13"/>
                      <a:pt x="148" y="12"/>
                      <a:pt x="147" y="12"/>
                    </a:cubicBezTo>
                    <a:cubicBezTo>
                      <a:pt x="146" y="12"/>
                      <a:pt x="144" y="12"/>
                      <a:pt x="144" y="12"/>
                    </a:cubicBezTo>
                    <a:cubicBezTo>
                      <a:pt x="143" y="12"/>
                      <a:pt x="143" y="13"/>
                      <a:pt x="143" y="13"/>
                    </a:cubicBezTo>
                    <a:cubicBezTo>
                      <a:pt x="143" y="13"/>
                      <a:pt x="143" y="14"/>
                      <a:pt x="143" y="14"/>
                    </a:cubicBezTo>
                    <a:cubicBezTo>
                      <a:pt x="143" y="14"/>
                      <a:pt x="143" y="14"/>
                      <a:pt x="143" y="14"/>
                    </a:cubicBezTo>
                    <a:cubicBezTo>
                      <a:pt x="142" y="14"/>
                      <a:pt x="142" y="15"/>
                      <a:pt x="142" y="15"/>
                    </a:cubicBezTo>
                    <a:cubicBezTo>
                      <a:pt x="142" y="15"/>
                      <a:pt x="142" y="15"/>
                      <a:pt x="142" y="15"/>
                    </a:cubicBezTo>
                    <a:cubicBezTo>
                      <a:pt x="142" y="15"/>
                      <a:pt x="141" y="15"/>
                      <a:pt x="141" y="15"/>
                    </a:cubicBezTo>
                    <a:cubicBezTo>
                      <a:pt x="141" y="15"/>
                      <a:pt x="140" y="15"/>
                      <a:pt x="140" y="15"/>
                    </a:cubicBezTo>
                    <a:cubicBezTo>
                      <a:pt x="140" y="15"/>
                      <a:pt x="140" y="15"/>
                      <a:pt x="139" y="15"/>
                    </a:cubicBezTo>
                    <a:cubicBezTo>
                      <a:pt x="139" y="15"/>
                      <a:pt x="139" y="15"/>
                      <a:pt x="139" y="15"/>
                    </a:cubicBezTo>
                    <a:cubicBezTo>
                      <a:pt x="139" y="15"/>
                      <a:pt x="139" y="15"/>
                      <a:pt x="139" y="14"/>
                    </a:cubicBezTo>
                    <a:cubicBezTo>
                      <a:pt x="139" y="14"/>
                      <a:pt x="139" y="14"/>
                      <a:pt x="139" y="14"/>
                    </a:cubicBezTo>
                    <a:cubicBezTo>
                      <a:pt x="139" y="14"/>
                      <a:pt x="140" y="13"/>
                      <a:pt x="140" y="13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39" y="13"/>
                      <a:pt x="139" y="13"/>
                      <a:pt x="139" y="13"/>
                    </a:cubicBezTo>
                    <a:cubicBezTo>
                      <a:pt x="138" y="13"/>
                      <a:pt x="139" y="13"/>
                      <a:pt x="139" y="12"/>
                    </a:cubicBezTo>
                    <a:cubicBezTo>
                      <a:pt x="139" y="12"/>
                      <a:pt x="139" y="12"/>
                      <a:pt x="139" y="12"/>
                    </a:cubicBezTo>
                    <a:cubicBezTo>
                      <a:pt x="139" y="12"/>
                      <a:pt x="139" y="11"/>
                      <a:pt x="139" y="11"/>
                    </a:cubicBezTo>
                    <a:cubicBezTo>
                      <a:pt x="139" y="11"/>
                      <a:pt x="139" y="10"/>
                      <a:pt x="139" y="10"/>
                    </a:cubicBezTo>
                    <a:cubicBezTo>
                      <a:pt x="139" y="10"/>
                      <a:pt x="139" y="10"/>
                      <a:pt x="138" y="10"/>
                    </a:cubicBezTo>
                    <a:cubicBezTo>
                      <a:pt x="138" y="10"/>
                      <a:pt x="138" y="11"/>
                      <a:pt x="137" y="11"/>
                    </a:cubicBezTo>
                    <a:cubicBezTo>
                      <a:pt x="137" y="11"/>
                      <a:pt x="137" y="11"/>
                      <a:pt x="137" y="11"/>
                    </a:cubicBezTo>
                    <a:cubicBezTo>
                      <a:pt x="137" y="11"/>
                      <a:pt x="138" y="11"/>
                      <a:pt x="138" y="11"/>
                    </a:cubicBezTo>
                    <a:cubicBezTo>
                      <a:pt x="138" y="12"/>
                      <a:pt x="138" y="12"/>
                      <a:pt x="138" y="12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12"/>
                      <a:pt x="137" y="12"/>
                      <a:pt x="136" y="12"/>
                    </a:cubicBezTo>
                    <a:cubicBezTo>
                      <a:pt x="136" y="12"/>
                      <a:pt x="136" y="12"/>
                      <a:pt x="136" y="13"/>
                    </a:cubicBezTo>
                    <a:cubicBezTo>
                      <a:pt x="137" y="13"/>
                      <a:pt x="136" y="13"/>
                      <a:pt x="136" y="13"/>
                    </a:cubicBezTo>
                    <a:cubicBezTo>
                      <a:pt x="136" y="14"/>
                      <a:pt x="136" y="14"/>
                      <a:pt x="136" y="14"/>
                    </a:cubicBezTo>
                    <a:cubicBezTo>
                      <a:pt x="136" y="14"/>
                      <a:pt x="136" y="15"/>
                      <a:pt x="136" y="15"/>
                    </a:cubicBezTo>
                    <a:cubicBezTo>
                      <a:pt x="136" y="15"/>
                      <a:pt x="136" y="15"/>
                      <a:pt x="136" y="15"/>
                    </a:cubicBezTo>
                    <a:cubicBezTo>
                      <a:pt x="136" y="15"/>
                      <a:pt x="135" y="15"/>
                      <a:pt x="135" y="15"/>
                    </a:cubicBezTo>
                    <a:cubicBezTo>
                      <a:pt x="135" y="15"/>
                      <a:pt x="135" y="15"/>
                      <a:pt x="135" y="15"/>
                    </a:cubicBezTo>
                    <a:cubicBezTo>
                      <a:pt x="134" y="14"/>
                      <a:pt x="133" y="14"/>
                      <a:pt x="133" y="14"/>
                    </a:cubicBezTo>
                    <a:cubicBezTo>
                      <a:pt x="133" y="13"/>
                      <a:pt x="132" y="13"/>
                      <a:pt x="132" y="13"/>
                    </a:cubicBezTo>
                    <a:cubicBezTo>
                      <a:pt x="132" y="13"/>
                      <a:pt x="132" y="12"/>
                      <a:pt x="132" y="12"/>
                    </a:cubicBezTo>
                    <a:cubicBezTo>
                      <a:pt x="131" y="12"/>
                      <a:pt x="131" y="11"/>
                      <a:pt x="131" y="11"/>
                    </a:cubicBezTo>
                    <a:cubicBezTo>
                      <a:pt x="131" y="11"/>
                      <a:pt x="130" y="10"/>
                      <a:pt x="130" y="10"/>
                    </a:cubicBezTo>
                    <a:cubicBezTo>
                      <a:pt x="130" y="9"/>
                      <a:pt x="129" y="9"/>
                      <a:pt x="129" y="9"/>
                    </a:cubicBezTo>
                    <a:cubicBezTo>
                      <a:pt x="129" y="8"/>
                      <a:pt x="128" y="8"/>
                      <a:pt x="128" y="8"/>
                    </a:cubicBezTo>
                    <a:cubicBezTo>
                      <a:pt x="128" y="7"/>
                      <a:pt x="128" y="7"/>
                      <a:pt x="128" y="7"/>
                    </a:cubicBezTo>
                    <a:cubicBezTo>
                      <a:pt x="128" y="8"/>
                      <a:pt x="127" y="8"/>
                      <a:pt x="127" y="8"/>
                    </a:cubicBezTo>
                    <a:cubicBezTo>
                      <a:pt x="127" y="8"/>
                      <a:pt x="127" y="8"/>
                      <a:pt x="127" y="8"/>
                    </a:cubicBezTo>
                    <a:cubicBezTo>
                      <a:pt x="127" y="9"/>
                      <a:pt x="127" y="9"/>
                      <a:pt x="127" y="9"/>
                    </a:cubicBezTo>
                    <a:cubicBezTo>
                      <a:pt x="127" y="9"/>
                      <a:pt x="127" y="9"/>
                      <a:pt x="128" y="9"/>
                    </a:cubicBezTo>
                    <a:cubicBezTo>
                      <a:pt x="128" y="9"/>
                      <a:pt x="128" y="10"/>
                      <a:pt x="129" y="10"/>
                    </a:cubicBezTo>
                    <a:cubicBezTo>
                      <a:pt x="129" y="10"/>
                      <a:pt x="129" y="10"/>
                      <a:pt x="129" y="10"/>
                    </a:cubicBezTo>
                    <a:cubicBezTo>
                      <a:pt x="129" y="10"/>
                      <a:pt x="127" y="10"/>
                      <a:pt x="127" y="10"/>
                    </a:cubicBezTo>
                    <a:cubicBezTo>
                      <a:pt x="127" y="10"/>
                      <a:pt x="127" y="10"/>
                      <a:pt x="127" y="10"/>
                    </a:cubicBezTo>
                    <a:cubicBezTo>
                      <a:pt x="127" y="11"/>
                      <a:pt x="126" y="11"/>
                      <a:pt x="126" y="11"/>
                    </a:cubicBezTo>
                    <a:cubicBezTo>
                      <a:pt x="126" y="12"/>
                      <a:pt x="126" y="12"/>
                      <a:pt x="126" y="12"/>
                    </a:cubicBezTo>
                    <a:cubicBezTo>
                      <a:pt x="126" y="12"/>
                      <a:pt x="126" y="12"/>
                      <a:pt x="125" y="12"/>
                    </a:cubicBezTo>
                    <a:cubicBezTo>
                      <a:pt x="125" y="12"/>
                      <a:pt x="124" y="13"/>
                      <a:pt x="124" y="13"/>
                    </a:cubicBezTo>
                    <a:cubicBezTo>
                      <a:pt x="124" y="13"/>
                      <a:pt x="124" y="13"/>
                      <a:pt x="124" y="13"/>
                    </a:cubicBezTo>
                    <a:cubicBezTo>
                      <a:pt x="124" y="12"/>
                      <a:pt x="125" y="12"/>
                      <a:pt x="125" y="12"/>
                    </a:cubicBezTo>
                    <a:cubicBezTo>
                      <a:pt x="125" y="12"/>
                      <a:pt x="125" y="11"/>
                      <a:pt x="124" y="11"/>
                    </a:cubicBezTo>
                    <a:cubicBezTo>
                      <a:pt x="124" y="12"/>
                      <a:pt x="124" y="12"/>
                      <a:pt x="124" y="12"/>
                    </a:cubicBezTo>
                    <a:cubicBezTo>
                      <a:pt x="123" y="12"/>
                      <a:pt x="122" y="12"/>
                      <a:pt x="121" y="13"/>
                    </a:cubicBezTo>
                    <a:cubicBezTo>
                      <a:pt x="120" y="13"/>
                      <a:pt x="120" y="13"/>
                      <a:pt x="120" y="13"/>
                    </a:cubicBezTo>
                    <a:cubicBezTo>
                      <a:pt x="120" y="13"/>
                      <a:pt x="120" y="13"/>
                      <a:pt x="120" y="13"/>
                    </a:cubicBezTo>
                    <a:cubicBezTo>
                      <a:pt x="120" y="14"/>
                      <a:pt x="119" y="14"/>
                      <a:pt x="119" y="15"/>
                    </a:cubicBezTo>
                    <a:cubicBezTo>
                      <a:pt x="119" y="15"/>
                      <a:pt x="119" y="15"/>
                      <a:pt x="119" y="15"/>
                    </a:cubicBezTo>
                    <a:cubicBezTo>
                      <a:pt x="119" y="15"/>
                      <a:pt x="119" y="15"/>
                      <a:pt x="119" y="15"/>
                    </a:cubicBezTo>
                    <a:cubicBezTo>
                      <a:pt x="118" y="15"/>
                      <a:pt x="118" y="15"/>
                      <a:pt x="118" y="15"/>
                    </a:cubicBezTo>
                    <a:cubicBezTo>
                      <a:pt x="118" y="15"/>
                      <a:pt x="118" y="15"/>
                      <a:pt x="118" y="15"/>
                    </a:cubicBezTo>
                    <a:cubicBezTo>
                      <a:pt x="118" y="15"/>
                      <a:pt x="118" y="15"/>
                      <a:pt x="118" y="15"/>
                    </a:cubicBezTo>
                    <a:cubicBezTo>
                      <a:pt x="118" y="14"/>
                      <a:pt x="117" y="14"/>
                      <a:pt x="117" y="14"/>
                    </a:cubicBezTo>
                    <a:cubicBezTo>
                      <a:pt x="117" y="14"/>
                      <a:pt x="117" y="14"/>
                      <a:pt x="117" y="14"/>
                    </a:cubicBezTo>
                    <a:cubicBezTo>
                      <a:pt x="116" y="14"/>
                      <a:pt x="116" y="14"/>
                      <a:pt x="116" y="14"/>
                    </a:cubicBezTo>
                    <a:cubicBezTo>
                      <a:pt x="116" y="14"/>
                      <a:pt x="116" y="15"/>
                      <a:pt x="116" y="15"/>
                    </a:cubicBezTo>
                    <a:cubicBezTo>
                      <a:pt x="115" y="15"/>
                      <a:pt x="115" y="15"/>
                      <a:pt x="114" y="15"/>
                    </a:cubicBezTo>
                    <a:cubicBezTo>
                      <a:pt x="114" y="15"/>
                      <a:pt x="114" y="15"/>
                      <a:pt x="114" y="15"/>
                    </a:cubicBezTo>
                    <a:cubicBezTo>
                      <a:pt x="114" y="15"/>
                      <a:pt x="113" y="16"/>
                      <a:pt x="113" y="16"/>
                    </a:cubicBezTo>
                    <a:cubicBezTo>
                      <a:pt x="113" y="16"/>
                      <a:pt x="113" y="16"/>
                      <a:pt x="113" y="16"/>
                    </a:cubicBezTo>
                    <a:cubicBezTo>
                      <a:pt x="113" y="16"/>
                      <a:pt x="112" y="17"/>
                      <a:pt x="112" y="17"/>
                    </a:cubicBezTo>
                    <a:cubicBezTo>
                      <a:pt x="112" y="18"/>
                      <a:pt x="112" y="18"/>
                      <a:pt x="112" y="18"/>
                    </a:cubicBezTo>
                    <a:cubicBezTo>
                      <a:pt x="112" y="18"/>
                      <a:pt x="112" y="18"/>
                      <a:pt x="112" y="18"/>
                    </a:cubicBezTo>
                    <a:cubicBezTo>
                      <a:pt x="111" y="18"/>
                      <a:pt x="111" y="18"/>
                      <a:pt x="111" y="17"/>
                    </a:cubicBezTo>
                    <a:cubicBezTo>
                      <a:pt x="110" y="17"/>
                      <a:pt x="111" y="17"/>
                      <a:pt x="111" y="17"/>
                    </a:cubicBezTo>
                    <a:cubicBezTo>
                      <a:pt x="112" y="16"/>
                      <a:pt x="112" y="16"/>
                      <a:pt x="112" y="16"/>
                    </a:cubicBezTo>
                    <a:cubicBezTo>
                      <a:pt x="112" y="16"/>
                      <a:pt x="112" y="16"/>
                      <a:pt x="113" y="15"/>
                    </a:cubicBezTo>
                    <a:cubicBezTo>
                      <a:pt x="113" y="15"/>
                      <a:pt x="113" y="15"/>
                      <a:pt x="113" y="15"/>
                    </a:cubicBezTo>
                    <a:cubicBezTo>
                      <a:pt x="114" y="15"/>
                      <a:pt x="114" y="15"/>
                      <a:pt x="114" y="15"/>
                    </a:cubicBezTo>
                    <a:cubicBezTo>
                      <a:pt x="114" y="14"/>
                      <a:pt x="115" y="14"/>
                      <a:pt x="115" y="14"/>
                    </a:cubicBezTo>
                    <a:cubicBezTo>
                      <a:pt x="115" y="14"/>
                      <a:pt x="115" y="14"/>
                      <a:pt x="116" y="14"/>
                    </a:cubicBezTo>
                    <a:cubicBezTo>
                      <a:pt x="117" y="14"/>
                      <a:pt x="117" y="13"/>
                      <a:pt x="118" y="13"/>
                    </a:cubicBezTo>
                    <a:cubicBezTo>
                      <a:pt x="118" y="13"/>
                      <a:pt x="118" y="13"/>
                      <a:pt x="118" y="14"/>
                    </a:cubicBezTo>
                    <a:cubicBezTo>
                      <a:pt x="118" y="14"/>
                      <a:pt x="118" y="13"/>
                      <a:pt x="118" y="13"/>
                    </a:cubicBezTo>
                    <a:cubicBezTo>
                      <a:pt x="119" y="13"/>
                      <a:pt x="119" y="13"/>
                      <a:pt x="119" y="13"/>
                    </a:cubicBezTo>
                    <a:cubicBezTo>
                      <a:pt x="119" y="13"/>
                      <a:pt x="119" y="13"/>
                      <a:pt x="119" y="13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20" y="12"/>
                      <a:pt x="120" y="12"/>
                      <a:pt x="121" y="12"/>
                    </a:cubicBezTo>
                    <a:cubicBezTo>
                      <a:pt x="121" y="12"/>
                      <a:pt x="121" y="12"/>
                      <a:pt x="121" y="12"/>
                    </a:cubicBezTo>
                    <a:cubicBezTo>
                      <a:pt x="122" y="12"/>
                      <a:pt x="122" y="11"/>
                      <a:pt x="123" y="11"/>
                    </a:cubicBezTo>
                    <a:cubicBezTo>
                      <a:pt x="123" y="11"/>
                      <a:pt x="123" y="11"/>
                      <a:pt x="123" y="11"/>
                    </a:cubicBezTo>
                    <a:cubicBezTo>
                      <a:pt x="123" y="10"/>
                      <a:pt x="123" y="10"/>
                      <a:pt x="123" y="10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22" y="10"/>
                      <a:pt x="121" y="11"/>
                      <a:pt x="121" y="11"/>
                    </a:cubicBezTo>
                    <a:cubicBezTo>
                      <a:pt x="121" y="11"/>
                      <a:pt x="120" y="11"/>
                      <a:pt x="120" y="11"/>
                    </a:cubicBezTo>
                    <a:cubicBezTo>
                      <a:pt x="120" y="10"/>
                      <a:pt x="120" y="10"/>
                      <a:pt x="119" y="10"/>
                    </a:cubicBezTo>
                    <a:cubicBezTo>
                      <a:pt x="119" y="10"/>
                      <a:pt x="119" y="10"/>
                      <a:pt x="119" y="10"/>
                    </a:cubicBezTo>
                    <a:cubicBezTo>
                      <a:pt x="119" y="10"/>
                      <a:pt x="118" y="11"/>
                      <a:pt x="118" y="11"/>
                    </a:cubicBezTo>
                    <a:cubicBezTo>
                      <a:pt x="118" y="11"/>
                      <a:pt x="118" y="11"/>
                      <a:pt x="118" y="11"/>
                    </a:cubicBezTo>
                    <a:cubicBezTo>
                      <a:pt x="118" y="11"/>
                      <a:pt x="118" y="12"/>
                      <a:pt x="117" y="12"/>
                    </a:cubicBezTo>
                    <a:cubicBezTo>
                      <a:pt x="117" y="12"/>
                      <a:pt x="117" y="12"/>
                      <a:pt x="117" y="12"/>
                    </a:cubicBezTo>
                    <a:cubicBezTo>
                      <a:pt x="117" y="12"/>
                      <a:pt x="117" y="12"/>
                      <a:pt x="117" y="12"/>
                    </a:cubicBezTo>
                    <a:cubicBezTo>
                      <a:pt x="116" y="12"/>
                      <a:pt x="116" y="12"/>
                      <a:pt x="116" y="12"/>
                    </a:cubicBezTo>
                    <a:cubicBezTo>
                      <a:pt x="116" y="12"/>
                      <a:pt x="116" y="12"/>
                      <a:pt x="116" y="12"/>
                    </a:cubicBezTo>
                    <a:cubicBezTo>
                      <a:pt x="116" y="12"/>
                      <a:pt x="115" y="13"/>
                      <a:pt x="114" y="13"/>
                    </a:cubicBezTo>
                    <a:cubicBezTo>
                      <a:pt x="114" y="13"/>
                      <a:pt x="114" y="13"/>
                      <a:pt x="114" y="13"/>
                    </a:cubicBezTo>
                    <a:cubicBezTo>
                      <a:pt x="114" y="13"/>
                      <a:pt x="114" y="13"/>
                      <a:pt x="114" y="13"/>
                    </a:cubicBezTo>
                    <a:cubicBezTo>
                      <a:pt x="114" y="13"/>
                      <a:pt x="114" y="13"/>
                      <a:pt x="114" y="13"/>
                    </a:cubicBezTo>
                    <a:cubicBezTo>
                      <a:pt x="114" y="13"/>
                      <a:pt x="114" y="13"/>
                      <a:pt x="114" y="13"/>
                    </a:cubicBezTo>
                    <a:cubicBezTo>
                      <a:pt x="113" y="13"/>
                      <a:pt x="113" y="13"/>
                      <a:pt x="112" y="13"/>
                    </a:cubicBezTo>
                    <a:cubicBezTo>
                      <a:pt x="112" y="13"/>
                      <a:pt x="112" y="13"/>
                      <a:pt x="112" y="13"/>
                    </a:cubicBezTo>
                    <a:cubicBezTo>
                      <a:pt x="112" y="13"/>
                      <a:pt x="112" y="14"/>
                      <a:pt x="112" y="14"/>
                    </a:cubicBezTo>
                    <a:cubicBezTo>
                      <a:pt x="112" y="14"/>
                      <a:pt x="112" y="14"/>
                      <a:pt x="112" y="14"/>
                    </a:cubicBezTo>
                    <a:cubicBezTo>
                      <a:pt x="112" y="14"/>
                      <a:pt x="112" y="14"/>
                      <a:pt x="112" y="14"/>
                    </a:cubicBezTo>
                    <a:cubicBezTo>
                      <a:pt x="111" y="14"/>
                      <a:pt x="111" y="15"/>
                      <a:pt x="110" y="15"/>
                    </a:cubicBezTo>
                    <a:cubicBezTo>
                      <a:pt x="110" y="15"/>
                      <a:pt x="110" y="15"/>
                      <a:pt x="110" y="15"/>
                    </a:cubicBezTo>
                    <a:cubicBezTo>
                      <a:pt x="110" y="15"/>
                      <a:pt x="109" y="15"/>
                      <a:pt x="109" y="15"/>
                    </a:cubicBezTo>
                    <a:cubicBezTo>
                      <a:pt x="109" y="15"/>
                      <a:pt x="109" y="15"/>
                      <a:pt x="108" y="15"/>
                    </a:cubicBezTo>
                    <a:cubicBezTo>
                      <a:pt x="108" y="16"/>
                      <a:pt x="108" y="16"/>
                      <a:pt x="108" y="16"/>
                    </a:cubicBezTo>
                    <a:cubicBezTo>
                      <a:pt x="108" y="16"/>
                      <a:pt x="107" y="16"/>
                      <a:pt x="107" y="16"/>
                    </a:cubicBezTo>
                    <a:cubicBezTo>
                      <a:pt x="107" y="16"/>
                      <a:pt x="107" y="17"/>
                      <a:pt x="107" y="17"/>
                    </a:cubicBezTo>
                    <a:cubicBezTo>
                      <a:pt x="107" y="17"/>
                      <a:pt x="107" y="17"/>
                      <a:pt x="107" y="18"/>
                    </a:cubicBezTo>
                    <a:cubicBezTo>
                      <a:pt x="108" y="18"/>
                      <a:pt x="107" y="18"/>
                      <a:pt x="108" y="18"/>
                    </a:cubicBezTo>
                    <a:cubicBezTo>
                      <a:pt x="108" y="19"/>
                      <a:pt x="107" y="19"/>
                      <a:pt x="107" y="19"/>
                    </a:cubicBezTo>
                    <a:cubicBezTo>
                      <a:pt x="107" y="19"/>
                      <a:pt x="107" y="19"/>
                      <a:pt x="106" y="18"/>
                    </a:cubicBezTo>
                    <a:cubicBezTo>
                      <a:pt x="106" y="17"/>
                      <a:pt x="106" y="18"/>
                      <a:pt x="105" y="18"/>
                    </a:cubicBezTo>
                    <a:cubicBezTo>
                      <a:pt x="105" y="18"/>
                      <a:pt x="104" y="18"/>
                      <a:pt x="104" y="18"/>
                    </a:cubicBezTo>
                    <a:cubicBezTo>
                      <a:pt x="103" y="18"/>
                      <a:pt x="104" y="18"/>
                      <a:pt x="104" y="18"/>
                    </a:cubicBezTo>
                    <a:cubicBezTo>
                      <a:pt x="104" y="18"/>
                      <a:pt x="105" y="19"/>
                      <a:pt x="104" y="19"/>
                    </a:cubicBezTo>
                    <a:cubicBezTo>
                      <a:pt x="104" y="19"/>
                      <a:pt x="103" y="18"/>
                      <a:pt x="103" y="18"/>
                    </a:cubicBezTo>
                    <a:cubicBezTo>
                      <a:pt x="102" y="18"/>
                      <a:pt x="102" y="18"/>
                      <a:pt x="101" y="18"/>
                    </a:cubicBezTo>
                    <a:cubicBezTo>
                      <a:pt x="100" y="17"/>
                      <a:pt x="100" y="18"/>
                      <a:pt x="99" y="18"/>
                    </a:cubicBezTo>
                    <a:cubicBezTo>
                      <a:pt x="99" y="18"/>
                      <a:pt x="98" y="17"/>
                      <a:pt x="98" y="17"/>
                    </a:cubicBezTo>
                    <a:cubicBezTo>
                      <a:pt x="97" y="17"/>
                      <a:pt x="96" y="17"/>
                      <a:pt x="96" y="16"/>
                    </a:cubicBezTo>
                    <a:cubicBezTo>
                      <a:pt x="95" y="16"/>
                      <a:pt x="95" y="16"/>
                      <a:pt x="95" y="15"/>
                    </a:cubicBezTo>
                    <a:cubicBezTo>
                      <a:pt x="95" y="15"/>
                      <a:pt x="94" y="15"/>
                      <a:pt x="94" y="15"/>
                    </a:cubicBezTo>
                    <a:cubicBezTo>
                      <a:pt x="94" y="16"/>
                      <a:pt x="94" y="16"/>
                      <a:pt x="94" y="16"/>
                    </a:cubicBezTo>
                    <a:cubicBezTo>
                      <a:pt x="93" y="16"/>
                      <a:pt x="93" y="15"/>
                      <a:pt x="92" y="14"/>
                    </a:cubicBezTo>
                    <a:cubicBezTo>
                      <a:pt x="92" y="14"/>
                      <a:pt x="92" y="14"/>
                      <a:pt x="91" y="14"/>
                    </a:cubicBezTo>
                    <a:cubicBezTo>
                      <a:pt x="90" y="14"/>
                      <a:pt x="86" y="13"/>
                      <a:pt x="86" y="13"/>
                    </a:cubicBezTo>
                    <a:cubicBezTo>
                      <a:pt x="86" y="64"/>
                      <a:pt x="86" y="64"/>
                      <a:pt x="86" y="64"/>
                    </a:cubicBezTo>
                    <a:cubicBezTo>
                      <a:pt x="86" y="64"/>
                      <a:pt x="86" y="64"/>
                      <a:pt x="86" y="64"/>
                    </a:cubicBezTo>
                    <a:cubicBezTo>
                      <a:pt x="86" y="13"/>
                      <a:pt x="86" y="13"/>
                      <a:pt x="86" y="13"/>
                    </a:cubicBezTo>
                    <a:cubicBezTo>
                      <a:pt x="86" y="13"/>
                      <a:pt x="85" y="13"/>
                      <a:pt x="85" y="13"/>
                    </a:cubicBezTo>
                    <a:cubicBezTo>
                      <a:pt x="85" y="13"/>
                      <a:pt x="85" y="13"/>
                      <a:pt x="85" y="13"/>
                    </a:cubicBezTo>
                    <a:cubicBezTo>
                      <a:pt x="85" y="13"/>
                      <a:pt x="84" y="13"/>
                      <a:pt x="84" y="13"/>
                    </a:cubicBezTo>
                    <a:cubicBezTo>
                      <a:pt x="84" y="13"/>
                      <a:pt x="82" y="12"/>
                      <a:pt x="82" y="12"/>
                    </a:cubicBezTo>
                    <a:cubicBezTo>
                      <a:pt x="81" y="11"/>
                      <a:pt x="81" y="11"/>
                      <a:pt x="80" y="11"/>
                    </a:cubicBezTo>
                    <a:cubicBezTo>
                      <a:pt x="78" y="10"/>
                      <a:pt x="77" y="11"/>
                      <a:pt x="77" y="11"/>
                    </a:cubicBezTo>
                    <a:cubicBezTo>
                      <a:pt x="77" y="11"/>
                      <a:pt x="75" y="11"/>
                      <a:pt x="75" y="11"/>
                    </a:cubicBezTo>
                    <a:cubicBezTo>
                      <a:pt x="74" y="11"/>
                      <a:pt x="74" y="11"/>
                      <a:pt x="73" y="11"/>
                    </a:cubicBezTo>
                    <a:cubicBezTo>
                      <a:pt x="72" y="11"/>
                      <a:pt x="72" y="11"/>
                      <a:pt x="72" y="11"/>
                    </a:cubicBezTo>
                    <a:cubicBezTo>
                      <a:pt x="71" y="10"/>
                      <a:pt x="71" y="10"/>
                      <a:pt x="71" y="10"/>
                    </a:cubicBezTo>
                    <a:cubicBezTo>
                      <a:pt x="71" y="10"/>
                      <a:pt x="70" y="10"/>
                      <a:pt x="69" y="10"/>
                    </a:cubicBezTo>
                    <a:cubicBezTo>
                      <a:pt x="69" y="11"/>
                      <a:pt x="67" y="10"/>
                      <a:pt x="66" y="10"/>
                    </a:cubicBezTo>
                    <a:cubicBezTo>
                      <a:pt x="66" y="10"/>
                      <a:pt x="65" y="10"/>
                      <a:pt x="64" y="10"/>
                    </a:cubicBezTo>
                    <a:cubicBezTo>
                      <a:pt x="64" y="10"/>
                      <a:pt x="64" y="10"/>
                      <a:pt x="64" y="9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2" y="9"/>
                      <a:pt x="62" y="10"/>
                      <a:pt x="62" y="9"/>
                    </a:cubicBezTo>
                    <a:cubicBezTo>
                      <a:pt x="62" y="9"/>
                      <a:pt x="61" y="9"/>
                      <a:pt x="60" y="8"/>
                    </a:cubicBezTo>
                    <a:cubicBezTo>
                      <a:pt x="58" y="8"/>
                      <a:pt x="59" y="8"/>
                      <a:pt x="58" y="8"/>
                    </a:cubicBezTo>
                    <a:cubicBezTo>
                      <a:pt x="57" y="8"/>
                      <a:pt x="57" y="9"/>
                      <a:pt x="56" y="9"/>
                    </a:cubicBezTo>
                    <a:cubicBezTo>
                      <a:pt x="56" y="9"/>
                      <a:pt x="56" y="9"/>
                      <a:pt x="56" y="9"/>
                    </a:cubicBezTo>
                    <a:cubicBezTo>
                      <a:pt x="56" y="9"/>
                      <a:pt x="56" y="8"/>
                      <a:pt x="56" y="8"/>
                    </a:cubicBezTo>
                    <a:cubicBezTo>
                      <a:pt x="56" y="8"/>
                      <a:pt x="55" y="8"/>
                      <a:pt x="54" y="8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53" y="9"/>
                      <a:pt x="53" y="9"/>
                      <a:pt x="53" y="9"/>
                    </a:cubicBezTo>
                    <a:cubicBezTo>
                      <a:pt x="53" y="9"/>
                      <a:pt x="52" y="9"/>
                      <a:pt x="52" y="9"/>
                    </a:cubicBezTo>
                    <a:cubicBezTo>
                      <a:pt x="51" y="8"/>
                      <a:pt x="51" y="8"/>
                      <a:pt x="52" y="8"/>
                    </a:cubicBezTo>
                    <a:cubicBezTo>
                      <a:pt x="52" y="8"/>
                      <a:pt x="52" y="8"/>
                      <a:pt x="51" y="8"/>
                    </a:cubicBezTo>
                    <a:cubicBezTo>
                      <a:pt x="51" y="8"/>
                      <a:pt x="50" y="8"/>
                      <a:pt x="50" y="8"/>
                    </a:cubicBezTo>
                    <a:cubicBezTo>
                      <a:pt x="49" y="8"/>
                      <a:pt x="49" y="8"/>
                      <a:pt x="49" y="7"/>
                    </a:cubicBezTo>
                    <a:cubicBezTo>
                      <a:pt x="49" y="7"/>
                      <a:pt x="49" y="7"/>
                      <a:pt x="50" y="7"/>
                    </a:cubicBezTo>
                    <a:cubicBezTo>
                      <a:pt x="50" y="7"/>
                      <a:pt x="50" y="6"/>
                      <a:pt x="49" y="6"/>
                    </a:cubicBezTo>
                    <a:cubicBezTo>
                      <a:pt x="49" y="6"/>
                      <a:pt x="48" y="6"/>
                      <a:pt x="48" y="6"/>
                    </a:cubicBezTo>
                    <a:cubicBezTo>
                      <a:pt x="47" y="6"/>
                      <a:pt x="47" y="6"/>
                      <a:pt x="47" y="6"/>
                    </a:cubicBezTo>
                    <a:cubicBezTo>
                      <a:pt x="47" y="6"/>
                      <a:pt x="46" y="6"/>
                      <a:pt x="45" y="6"/>
                    </a:cubicBezTo>
                    <a:cubicBezTo>
                      <a:pt x="45" y="6"/>
                      <a:pt x="45" y="6"/>
                      <a:pt x="44" y="6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4" y="7"/>
                      <a:pt x="43" y="6"/>
                      <a:pt x="43" y="6"/>
                    </a:cubicBezTo>
                    <a:cubicBezTo>
                      <a:pt x="43" y="6"/>
                      <a:pt x="42" y="6"/>
                      <a:pt x="42" y="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3" y="5"/>
                      <a:pt x="42" y="5"/>
                      <a:pt x="42" y="5"/>
                    </a:cubicBezTo>
                    <a:cubicBezTo>
                      <a:pt x="42" y="5"/>
                      <a:pt x="42" y="5"/>
                      <a:pt x="41" y="5"/>
                    </a:cubicBezTo>
                    <a:cubicBezTo>
                      <a:pt x="41" y="5"/>
                      <a:pt x="41" y="5"/>
                      <a:pt x="40" y="5"/>
                    </a:cubicBezTo>
                    <a:cubicBezTo>
                      <a:pt x="40" y="5"/>
                      <a:pt x="40" y="5"/>
                      <a:pt x="40" y="5"/>
                    </a:cubicBezTo>
                    <a:cubicBezTo>
                      <a:pt x="40" y="5"/>
                      <a:pt x="40" y="6"/>
                      <a:pt x="40" y="5"/>
                    </a:cubicBezTo>
                    <a:cubicBezTo>
                      <a:pt x="40" y="6"/>
                      <a:pt x="40" y="6"/>
                      <a:pt x="40" y="6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8" y="6"/>
                      <a:pt x="38" y="6"/>
                      <a:pt x="39" y="5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9" y="5"/>
                      <a:pt x="40" y="5"/>
                      <a:pt x="39" y="4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9" y="4"/>
                      <a:pt x="38" y="4"/>
                      <a:pt x="38" y="4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8" y="4"/>
                      <a:pt x="37" y="4"/>
                      <a:pt x="37" y="4"/>
                    </a:cubicBezTo>
                    <a:cubicBezTo>
                      <a:pt x="36" y="4"/>
                      <a:pt x="36" y="4"/>
                      <a:pt x="36" y="4"/>
                    </a:cubicBezTo>
                    <a:cubicBezTo>
                      <a:pt x="36" y="4"/>
                      <a:pt x="36" y="3"/>
                      <a:pt x="36" y="3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6" y="3"/>
                      <a:pt x="36" y="3"/>
                      <a:pt x="35" y="4"/>
                    </a:cubicBezTo>
                    <a:cubicBezTo>
                      <a:pt x="35" y="4"/>
                      <a:pt x="35" y="4"/>
                      <a:pt x="34" y="5"/>
                    </a:cubicBezTo>
                    <a:cubicBezTo>
                      <a:pt x="34" y="6"/>
                      <a:pt x="34" y="6"/>
                      <a:pt x="33" y="6"/>
                    </a:cubicBezTo>
                    <a:cubicBezTo>
                      <a:pt x="32" y="7"/>
                      <a:pt x="30" y="7"/>
                      <a:pt x="29" y="7"/>
                    </a:cubicBezTo>
                    <a:cubicBezTo>
                      <a:pt x="29" y="7"/>
                      <a:pt x="28" y="7"/>
                      <a:pt x="28" y="7"/>
                    </a:cubicBezTo>
                    <a:cubicBezTo>
                      <a:pt x="27" y="7"/>
                      <a:pt x="28" y="7"/>
                      <a:pt x="28" y="7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8" y="6"/>
                      <a:pt x="27" y="6"/>
                      <a:pt x="26" y="6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6" y="7"/>
                      <a:pt x="25" y="7"/>
                      <a:pt x="25" y="8"/>
                    </a:cubicBezTo>
                    <a:cubicBezTo>
                      <a:pt x="24" y="8"/>
                      <a:pt x="22" y="9"/>
                      <a:pt x="22" y="9"/>
                    </a:cubicBezTo>
                    <a:cubicBezTo>
                      <a:pt x="21" y="9"/>
                      <a:pt x="21" y="10"/>
                      <a:pt x="21" y="10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10"/>
                      <a:pt x="20" y="10"/>
                      <a:pt x="20" y="9"/>
                    </a:cubicBezTo>
                    <a:cubicBezTo>
                      <a:pt x="19" y="9"/>
                      <a:pt x="19" y="9"/>
                      <a:pt x="19" y="10"/>
                    </a:cubicBezTo>
                    <a:cubicBezTo>
                      <a:pt x="19" y="10"/>
                      <a:pt x="18" y="10"/>
                      <a:pt x="18" y="11"/>
                    </a:cubicBezTo>
                    <a:cubicBezTo>
                      <a:pt x="18" y="11"/>
                      <a:pt x="18" y="11"/>
                      <a:pt x="17" y="11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7" y="11"/>
                      <a:pt x="17" y="11"/>
                      <a:pt x="17" y="12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6" y="12"/>
                      <a:pt x="16" y="13"/>
                      <a:pt x="16" y="13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5" y="13"/>
                      <a:pt x="15" y="15"/>
                      <a:pt x="14" y="16"/>
                    </a:cubicBezTo>
                    <a:cubicBezTo>
                      <a:pt x="14" y="17"/>
                      <a:pt x="12" y="17"/>
                      <a:pt x="10" y="18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8" y="18"/>
                      <a:pt x="6" y="18"/>
                      <a:pt x="6" y="1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8"/>
                      <a:pt x="5" y="18"/>
                      <a:pt x="5" y="18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5" y="21"/>
                      <a:pt x="4" y="20"/>
                      <a:pt x="4" y="20"/>
                    </a:cubicBezTo>
                    <a:cubicBezTo>
                      <a:pt x="4" y="20"/>
                      <a:pt x="3" y="20"/>
                      <a:pt x="3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4" y="21"/>
                      <a:pt x="6" y="22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9" y="23"/>
                      <a:pt x="9" y="23"/>
                    </a:cubicBezTo>
                    <a:cubicBezTo>
                      <a:pt x="9" y="23"/>
                      <a:pt x="12" y="25"/>
                      <a:pt x="13" y="26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3" y="27"/>
                      <a:pt x="13" y="27"/>
                      <a:pt x="14" y="27"/>
                    </a:cubicBezTo>
                    <a:cubicBezTo>
                      <a:pt x="14" y="27"/>
                      <a:pt x="14" y="28"/>
                      <a:pt x="15" y="28"/>
                    </a:cubicBezTo>
                    <a:cubicBezTo>
                      <a:pt x="15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7" y="28"/>
                      <a:pt x="17" y="28"/>
                    </a:cubicBezTo>
                    <a:cubicBezTo>
                      <a:pt x="17" y="28"/>
                      <a:pt x="18" y="28"/>
                      <a:pt x="18" y="28"/>
                    </a:cubicBezTo>
                    <a:cubicBezTo>
                      <a:pt x="19" y="28"/>
                      <a:pt x="19" y="28"/>
                      <a:pt x="20" y="28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21" y="28"/>
                      <a:pt x="20" y="28"/>
                      <a:pt x="20" y="28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19" y="29"/>
                      <a:pt x="19" y="30"/>
                      <a:pt x="19" y="30"/>
                    </a:cubicBezTo>
                    <a:cubicBezTo>
                      <a:pt x="19" y="30"/>
                      <a:pt x="20" y="30"/>
                      <a:pt x="20" y="30"/>
                    </a:cubicBezTo>
                    <a:cubicBezTo>
                      <a:pt x="21" y="31"/>
                      <a:pt x="21" y="30"/>
                      <a:pt x="21" y="30"/>
                    </a:cubicBezTo>
                    <a:cubicBezTo>
                      <a:pt x="21" y="30"/>
                      <a:pt x="22" y="30"/>
                      <a:pt x="22" y="30"/>
                    </a:cubicBezTo>
                    <a:cubicBezTo>
                      <a:pt x="22" y="30"/>
                      <a:pt x="22" y="30"/>
                      <a:pt x="23" y="30"/>
                    </a:cubicBezTo>
                    <a:cubicBezTo>
                      <a:pt x="23" y="30"/>
                      <a:pt x="23" y="30"/>
                      <a:pt x="24" y="30"/>
                    </a:cubicBezTo>
                    <a:cubicBezTo>
                      <a:pt x="24" y="30"/>
                      <a:pt x="24" y="30"/>
                      <a:pt x="24" y="31"/>
                    </a:cubicBezTo>
                    <a:cubicBezTo>
                      <a:pt x="25" y="31"/>
                      <a:pt x="25" y="31"/>
                      <a:pt x="25" y="31"/>
                    </a:cubicBezTo>
                    <a:cubicBezTo>
                      <a:pt x="25" y="31"/>
                      <a:pt x="24" y="32"/>
                      <a:pt x="24" y="32"/>
                    </a:cubicBezTo>
                    <a:cubicBezTo>
                      <a:pt x="24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cubicBezTo>
                      <a:pt x="22" y="31"/>
                      <a:pt x="22" y="31"/>
                      <a:pt x="21" y="31"/>
                    </a:cubicBezTo>
                    <a:cubicBezTo>
                      <a:pt x="21" y="31"/>
                      <a:pt x="20" y="31"/>
                      <a:pt x="20" y="31"/>
                    </a:cubicBezTo>
                    <a:cubicBezTo>
                      <a:pt x="20" y="31"/>
                      <a:pt x="19" y="31"/>
                      <a:pt x="19" y="30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29"/>
                      <a:pt x="18" y="29"/>
                      <a:pt x="18" y="29"/>
                    </a:cubicBezTo>
                    <a:cubicBezTo>
                      <a:pt x="18" y="29"/>
                      <a:pt x="18" y="29"/>
                      <a:pt x="17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8" y="30"/>
                      <a:pt x="18" y="30"/>
                      <a:pt x="19" y="31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9" y="31"/>
                      <a:pt x="21" y="31"/>
                      <a:pt x="21" y="32"/>
                    </a:cubicBezTo>
                    <a:cubicBezTo>
                      <a:pt x="22" y="32"/>
                      <a:pt x="22" y="33"/>
                      <a:pt x="22" y="33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1" y="33"/>
                      <a:pt x="21" y="32"/>
                      <a:pt x="21" y="32"/>
                    </a:cubicBezTo>
                    <a:cubicBezTo>
                      <a:pt x="20" y="32"/>
                      <a:pt x="20" y="32"/>
                      <a:pt x="20" y="33"/>
                    </a:cubicBezTo>
                    <a:cubicBezTo>
                      <a:pt x="20" y="33"/>
                      <a:pt x="19" y="34"/>
                      <a:pt x="19" y="34"/>
                    </a:cubicBezTo>
                    <a:cubicBezTo>
                      <a:pt x="19" y="34"/>
                      <a:pt x="19" y="34"/>
                      <a:pt x="19" y="34"/>
                    </a:cubicBezTo>
                    <a:cubicBezTo>
                      <a:pt x="19" y="33"/>
                      <a:pt x="18" y="33"/>
                      <a:pt x="18" y="33"/>
                    </a:cubicBezTo>
                    <a:cubicBezTo>
                      <a:pt x="18" y="33"/>
                      <a:pt x="18" y="33"/>
                      <a:pt x="17" y="33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7" y="33"/>
                      <a:pt x="17" y="33"/>
                      <a:pt x="16" y="33"/>
                    </a:cubicBezTo>
                    <a:cubicBezTo>
                      <a:pt x="15" y="33"/>
                      <a:pt x="15" y="33"/>
                      <a:pt x="14" y="33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13" y="32"/>
                      <a:pt x="13" y="32"/>
                      <a:pt x="13" y="32"/>
                    </a:cubicBezTo>
                    <a:cubicBezTo>
                      <a:pt x="13" y="32"/>
                      <a:pt x="13" y="32"/>
                      <a:pt x="13" y="32"/>
                    </a:cubicBezTo>
                    <a:cubicBezTo>
                      <a:pt x="13" y="32"/>
                      <a:pt x="13" y="31"/>
                      <a:pt x="13" y="31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3" y="31"/>
                      <a:pt x="13" y="30"/>
                      <a:pt x="13" y="30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2" y="30"/>
                      <a:pt x="11" y="31"/>
                      <a:pt x="11" y="31"/>
                    </a:cubicBezTo>
                    <a:cubicBezTo>
                      <a:pt x="10" y="31"/>
                      <a:pt x="10" y="31"/>
                      <a:pt x="10" y="31"/>
                    </a:cubicBezTo>
                    <a:cubicBezTo>
                      <a:pt x="9" y="31"/>
                      <a:pt x="9" y="31"/>
                      <a:pt x="9" y="31"/>
                    </a:cubicBezTo>
                    <a:cubicBezTo>
                      <a:pt x="9" y="31"/>
                      <a:pt x="8" y="31"/>
                      <a:pt x="8" y="31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6" y="32"/>
                      <a:pt x="7" y="33"/>
                      <a:pt x="7" y="33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6" y="33"/>
                      <a:pt x="5" y="33"/>
                      <a:pt x="3" y="34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2" y="34"/>
                      <a:pt x="1" y="34"/>
                      <a:pt x="1" y="34"/>
                    </a:cubicBezTo>
                    <a:cubicBezTo>
                      <a:pt x="1" y="34"/>
                      <a:pt x="0" y="35"/>
                      <a:pt x="0" y="35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5"/>
                      <a:pt x="0" y="36"/>
                      <a:pt x="0" y="36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1" y="36"/>
                      <a:pt x="1" y="37"/>
                      <a:pt x="2" y="37"/>
                    </a:cubicBezTo>
                    <a:cubicBezTo>
                      <a:pt x="2" y="37"/>
                      <a:pt x="2" y="37"/>
                      <a:pt x="2" y="37"/>
                    </a:cubicBezTo>
                    <a:cubicBezTo>
                      <a:pt x="2" y="37"/>
                      <a:pt x="2" y="37"/>
                      <a:pt x="2" y="37"/>
                    </a:cubicBezTo>
                    <a:cubicBezTo>
                      <a:pt x="3" y="37"/>
                      <a:pt x="3" y="37"/>
                      <a:pt x="4" y="37"/>
                    </a:cubicBezTo>
                    <a:cubicBezTo>
                      <a:pt x="4" y="37"/>
                      <a:pt x="4" y="37"/>
                      <a:pt x="5" y="37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4" y="38"/>
                      <a:pt x="3" y="38"/>
                      <a:pt x="3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3" y="39"/>
                      <a:pt x="3" y="39"/>
                      <a:pt x="4" y="39"/>
                    </a:cubicBezTo>
                    <a:cubicBezTo>
                      <a:pt x="4" y="39"/>
                      <a:pt x="4" y="39"/>
                      <a:pt x="4" y="40"/>
                    </a:cubicBezTo>
                    <a:cubicBezTo>
                      <a:pt x="5" y="40"/>
                      <a:pt x="5" y="40"/>
                      <a:pt x="4" y="40"/>
                    </a:cubicBezTo>
                    <a:cubicBezTo>
                      <a:pt x="4" y="41"/>
                      <a:pt x="4" y="41"/>
                      <a:pt x="5" y="42"/>
                    </a:cubicBezTo>
                    <a:cubicBezTo>
                      <a:pt x="6" y="42"/>
                      <a:pt x="7" y="42"/>
                      <a:pt x="8" y="42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1" y="42"/>
                      <a:pt x="10" y="42"/>
                      <a:pt x="11" y="41"/>
                    </a:cubicBezTo>
                    <a:cubicBezTo>
                      <a:pt x="12" y="41"/>
                      <a:pt x="13" y="42"/>
                      <a:pt x="14" y="42"/>
                    </a:cubicBezTo>
                    <a:cubicBezTo>
                      <a:pt x="14" y="42"/>
                      <a:pt x="14" y="42"/>
                      <a:pt x="14" y="42"/>
                    </a:cubicBezTo>
                    <a:cubicBezTo>
                      <a:pt x="14" y="42"/>
                      <a:pt x="14" y="42"/>
                      <a:pt x="15" y="43"/>
                    </a:cubicBezTo>
                    <a:cubicBezTo>
                      <a:pt x="15" y="43"/>
                      <a:pt x="15" y="43"/>
                      <a:pt x="15" y="43"/>
                    </a:cubicBezTo>
                    <a:cubicBezTo>
                      <a:pt x="15" y="43"/>
                      <a:pt x="15" y="42"/>
                      <a:pt x="15" y="42"/>
                    </a:cubicBezTo>
                    <a:cubicBezTo>
                      <a:pt x="15" y="42"/>
                      <a:pt x="15" y="42"/>
                      <a:pt x="15" y="42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4" y="41"/>
                      <a:pt x="15" y="41"/>
                      <a:pt x="15" y="41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6" y="42"/>
                      <a:pt x="16" y="42"/>
                      <a:pt x="16" y="42"/>
                    </a:cubicBezTo>
                    <a:cubicBezTo>
                      <a:pt x="16" y="43"/>
                      <a:pt x="16" y="43"/>
                      <a:pt x="17" y="43"/>
                    </a:cubicBezTo>
                    <a:cubicBezTo>
                      <a:pt x="17" y="42"/>
                      <a:pt x="17" y="42"/>
                      <a:pt x="17" y="42"/>
                    </a:cubicBezTo>
                    <a:cubicBezTo>
                      <a:pt x="17" y="42"/>
                      <a:pt x="18" y="41"/>
                      <a:pt x="18" y="41"/>
                    </a:cubicBezTo>
                    <a:cubicBezTo>
                      <a:pt x="18" y="41"/>
                      <a:pt x="19" y="40"/>
                      <a:pt x="19" y="40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20" y="40"/>
                      <a:pt x="20" y="40"/>
                      <a:pt x="20" y="40"/>
                    </a:cubicBezTo>
                    <a:cubicBezTo>
                      <a:pt x="20" y="40"/>
                      <a:pt x="21" y="40"/>
                      <a:pt x="21" y="40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21" y="39"/>
                      <a:pt x="22" y="40"/>
                      <a:pt x="22" y="40"/>
                    </a:cubicBezTo>
                    <a:cubicBezTo>
                      <a:pt x="23" y="40"/>
                      <a:pt x="23" y="41"/>
                      <a:pt x="23" y="41"/>
                    </a:cubicBezTo>
                    <a:cubicBezTo>
                      <a:pt x="23" y="41"/>
                      <a:pt x="22" y="42"/>
                      <a:pt x="22" y="42"/>
                    </a:cubicBezTo>
                    <a:cubicBezTo>
                      <a:pt x="22" y="42"/>
                      <a:pt x="21" y="42"/>
                      <a:pt x="21" y="42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21" y="42"/>
                      <a:pt x="21" y="42"/>
                      <a:pt x="21" y="43"/>
                    </a:cubicBezTo>
                    <a:cubicBezTo>
                      <a:pt x="21" y="43"/>
                      <a:pt x="21" y="43"/>
                      <a:pt x="21" y="43"/>
                    </a:cubicBezTo>
                    <a:cubicBezTo>
                      <a:pt x="22" y="43"/>
                      <a:pt x="22" y="43"/>
                      <a:pt x="22" y="43"/>
                    </a:cubicBezTo>
                    <a:cubicBezTo>
                      <a:pt x="22" y="44"/>
                      <a:pt x="22" y="44"/>
                      <a:pt x="22" y="44"/>
                    </a:cubicBezTo>
                    <a:cubicBezTo>
                      <a:pt x="22" y="44"/>
                      <a:pt x="22" y="45"/>
                      <a:pt x="22" y="46"/>
                    </a:cubicBezTo>
                    <a:cubicBezTo>
                      <a:pt x="22" y="47"/>
                      <a:pt x="22" y="46"/>
                      <a:pt x="21" y="47"/>
                    </a:cubicBezTo>
                    <a:cubicBezTo>
                      <a:pt x="21" y="48"/>
                      <a:pt x="20" y="48"/>
                      <a:pt x="20" y="48"/>
                    </a:cubicBezTo>
                    <a:cubicBezTo>
                      <a:pt x="19" y="48"/>
                      <a:pt x="19" y="48"/>
                      <a:pt x="18" y="48"/>
                    </a:cubicBezTo>
                    <a:cubicBezTo>
                      <a:pt x="18" y="48"/>
                      <a:pt x="19" y="47"/>
                      <a:pt x="19" y="47"/>
                    </a:cubicBezTo>
                    <a:cubicBezTo>
                      <a:pt x="19" y="47"/>
                      <a:pt x="19" y="47"/>
                      <a:pt x="18" y="47"/>
                    </a:cubicBezTo>
                    <a:cubicBezTo>
                      <a:pt x="18" y="47"/>
                      <a:pt x="18" y="47"/>
                      <a:pt x="18" y="47"/>
                    </a:cubicBezTo>
                    <a:cubicBezTo>
                      <a:pt x="18" y="47"/>
                      <a:pt x="18" y="47"/>
                      <a:pt x="17" y="48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7" y="48"/>
                      <a:pt x="17" y="49"/>
                      <a:pt x="16" y="49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14" y="50"/>
                      <a:pt x="14" y="49"/>
                      <a:pt x="14" y="49"/>
                    </a:cubicBezTo>
                    <a:cubicBezTo>
                      <a:pt x="14" y="49"/>
                      <a:pt x="13" y="49"/>
                      <a:pt x="13" y="49"/>
                    </a:cubicBezTo>
                    <a:cubicBezTo>
                      <a:pt x="13" y="49"/>
                      <a:pt x="13" y="49"/>
                      <a:pt x="13" y="48"/>
                    </a:cubicBezTo>
                    <a:cubicBezTo>
                      <a:pt x="12" y="48"/>
                      <a:pt x="12" y="49"/>
                      <a:pt x="12" y="49"/>
                    </a:cubicBezTo>
                    <a:cubicBezTo>
                      <a:pt x="11" y="49"/>
                      <a:pt x="11" y="49"/>
                      <a:pt x="11" y="49"/>
                    </a:cubicBezTo>
                    <a:cubicBezTo>
                      <a:pt x="11" y="49"/>
                      <a:pt x="11" y="49"/>
                      <a:pt x="11" y="49"/>
                    </a:cubicBezTo>
                    <a:cubicBezTo>
                      <a:pt x="11" y="50"/>
                      <a:pt x="11" y="50"/>
                      <a:pt x="11" y="50"/>
                    </a:cubicBezTo>
                    <a:cubicBezTo>
                      <a:pt x="10" y="50"/>
                      <a:pt x="10" y="50"/>
                      <a:pt x="10" y="50"/>
                    </a:cubicBezTo>
                    <a:cubicBezTo>
                      <a:pt x="10" y="51"/>
                      <a:pt x="10" y="51"/>
                      <a:pt x="10" y="51"/>
                    </a:cubicBezTo>
                    <a:cubicBezTo>
                      <a:pt x="10" y="51"/>
                      <a:pt x="10" y="51"/>
                      <a:pt x="10" y="51"/>
                    </a:cubicBezTo>
                    <a:cubicBezTo>
                      <a:pt x="10" y="51"/>
                      <a:pt x="10" y="51"/>
                      <a:pt x="10" y="52"/>
                    </a:cubicBezTo>
                    <a:cubicBezTo>
                      <a:pt x="10" y="52"/>
                      <a:pt x="10" y="52"/>
                      <a:pt x="10" y="53"/>
                    </a:cubicBezTo>
                    <a:cubicBezTo>
                      <a:pt x="10" y="53"/>
                      <a:pt x="10" y="53"/>
                      <a:pt x="10" y="53"/>
                    </a:cubicBezTo>
                    <a:cubicBezTo>
                      <a:pt x="10" y="53"/>
                      <a:pt x="10" y="53"/>
                      <a:pt x="10" y="53"/>
                    </a:cubicBezTo>
                    <a:cubicBezTo>
                      <a:pt x="10" y="53"/>
                      <a:pt x="10" y="53"/>
                      <a:pt x="10" y="53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9" y="53"/>
                      <a:pt x="8" y="53"/>
                      <a:pt x="8" y="53"/>
                    </a:cubicBezTo>
                    <a:cubicBezTo>
                      <a:pt x="8" y="54"/>
                      <a:pt x="7" y="54"/>
                      <a:pt x="7" y="55"/>
                    </a:cubicBezTo>
                    <a:cubicBezTo>
                      <a:pt x="7" y="55"/>
                      <a:pt x="7" y="55"/>
                      <a:pt x="7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6" y="56"/>
                      <a:pt x="6" y="57"/>
                      <a:pt x="6" y="57"/>
                    </a:cubicBezTo>
                    <a:cubicBezTo>
                      <a:pt x="6" y="57"/>
                      <a:pt x="6" y="58"/>
                      <a:pt x="7" y="58"/>
                    </a:cubicBezTo>
                    <a:cubicBezTo>
                      <a:pt x="7" y="58"/>
                      <a:pt x="7" y="58"/>
                      <a:pt x="7" y="58"/>
                    </a:cubicBezTo>
                    <a:cubicBezTo>
                      <a:pt x="6" y="58"/>
                      <a:pt x="6" y="58"/>
                      <a:pt x="6" y="58"/>
                    </a:cubicBezTo>
                    <a:cubicBezTo>
                      <a:pt x="6" y="58"/>
                      <a:pt x="6" y="59"/>
                      <a:pt x="7" y="59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7" y="59"/>
                      <a:pt x="7" y="60"/>
                      <a:pt x="7" y="60"/>
                    </a:cubicBezTo>
                    <a:cubicBezTo>
                      <a:pt x="8" y="60"/>
                      <a:pt x="8" y="60"/>
                      <a:pt x="8" y="60"/>
                    </a:cubicBezTo>
                    <a:cubicBezTo>
                      <a:pt x="8" y="60"/>
                      <a:pt x="8" y="60"/>
                      <a:pt x="8" y="60"/>
                    </a:cubicBezTo>
                    <a:cubicBezTo>
                      <a:pt x="8" y="59"/>
                      <a:pt x="8" y="59"/>
                      <a:pt x="8" y="59"/>
                    </a:cubicBezTo>
                    <a:cubicBezTo>
                      <a:pt x="8" y="59"/>
                      <a:pt x="8" y="59"/>
                      <a:pt x="9" y="60"/>
                    </a:cubicBezTo>
                    <a:cubicBezTo>
                      <a:pt x="9" y="60"/>
                      <a:pt x="9" y="60"/>
                      <a:pt x="9" y="60"/>
                    </a:cubicBezTo>
                    <a:cubicBezTo>
                      <a:pt x="9" y="60"/>
                      <a:pt x="10" y="60"/>
                      <a:pt x="10" y="60"/>
                    </a:cubicBezTo>
                    <a:cubicBezTo>
                      <a:pt x="10" y="60"/>
                      <a:pt x="10" y="61"/>
                      <a:pt x="10" y="61"/>
                    </a:cubicBezTo>
                    <a:cubicBezTo>
                      <a:pt x="11" y="61"/>
                      <a:pt x="11" y="61"/>
                      <a:pt x="12" y="61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3" y="61"/>
                      <a:pt x="14" y="61"/>
                      <a:pt x="14" y="61"/>
                    </a:cubicBez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62"/>
                      <a:pt x="13" y="63"/>
                      <a:pt x="13" y="62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13" y="62"/>
                      <a:pt x="12" y="62"/>
                      <a:pt x="12" y="62"/>
                    </a:cubicBezTo>
                    <a:cubicBezTo>
                      <a:pt x="12" y="62"/>
                      <a:pt x="11" y="63"/>
                      <a:pt x="11" y="63"/>
                    </a:cubicBezTo>
                    <a:cubicBezTo>
                      <a:pt x="11" y="62"/>
                      <a:pt x="11" y="62"/>
                      <a:pt x="11" y="62"/>
                    </a:cubicBezTo>
                    <a:cubicBezTo>
                      <a:pt x="12" y="62"/>
                      <a:pt x="12" y="62"/>
                      <a:pt x="12" y="62"/>
                    </a:cubicBezTo>
                    <a:cubicBezTo>
                      <a:pt x="12" y="62"/>
                      <a:pt x="12" y="62"/>
                      <a:pt x="12" y="62"/>
                    </a:cubicBezTo>
                    <a:cubicBezTo>
                      <a:pt x="11" y="62"/>
                      <a:pt x="11" y="61"/>
                      <a:pt x="10" y="61"/>
                    </a:cubicBezTo>
                    <a:cubicBezTo>
                      <a:pt x="10" y="61"/>
                      <a:pt x="9" y="61"/>
                      <a:pt x="9" y="61"/>
                    </a:cubicBezTo>
                    <a:cubicBezTo>
                      <a:pt x="9" y="61"/>
                      <a:pt x="9" y="61"/>
                      <a:pt x="9" y="61"/>
                    </a:cubicBezTo>
                    <a:cubicBezTo>
                      <a:pt x="9" y="62"/>
                      <a:pt x="9" y="62"/>
                      <a:pt x="8" y="62"/>
                    </a:cubicBezTo>
                    <a:cubicBezTo>
                      <a:pt x="8" y="62"/>
                      <a:pt x="8" y="63"/>
                      <a:pt x="8" y="63"/>
                    </a:cubicBezTo>
                    <a:cubicBezTo>
                      <a:pt x="9" y="63"/>
                      <a:pt x="9" y="63"/>
                      <a:pt x="9" y="63"/>
                    </a:cubicBezTo>
                    <a:cubicBezTo>
                      <a:pt x="9" y="63"/>
                      <a:pt x="9" y="63"/>
                      <a:pt x="9" y="63"/>
                    </a:cubicBezTo>
                    <a:cubicBezTo>
                      <a:pt x="9" y="63"/>
                      <a:pt x="9" y="63"/>
                      <a:pt x="9" y="63"/>
                    </a:cubicBezTo>
                    <a:cubicBezTo>
                      <a:pt x="9" y="63"/>
                      <a:pt x="9" y="64"/>
                      <a:pt x="9" y="64"/>
                    </a:cubicBezTo>
                    <a:cubicBezTo>
                      <a:pt x="9" y="64"/>
                      <a:pt x="9" y="64"/>
                      <a:pt x="9" y="64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10" y="65"/>
                      <a:pt x="11" y="65"/>
                      <a:pt x="12" y="65"/>
                    </a:cubicBezTo>
                    <a:cubicBezTo>
                      <a:pt x="12" y="65"/>
                      <a:pt x="12" y="65"/>
                      <a:pt x="12" y="66"/>
                    </a:cubicBezTo>
                    <a:cubicBezTo>
                      <a:pt x="12" y="66"/>
                      <a:pt x="12" y="66"/>
                      <a:pt x="13" y="67"/>
                    </a:cubicBezTo>
                    <a:cubicBezTo>
                      <a:pt x="13" y="67"/>
                      <a:pt x="14" y="67"/>
                      <a:pt x="15" y="67"/>
                    </a:cubicBezTo>
                    <a:cubicBezTo>
                      <a:pt x="16" y="66"/>
                      <a:pt x="16" y="66"/>
                      <a:pt x="16" y="66"/>
                    </a:cubicBezTo>
                    <a:cubicBezTo>
                      <a:pt x="16" y="66"/>
                      <a:pt x="16" y="66"/>
                      <a:pt x="16" y="66"/>
                    </a:cubicBezTo>
                    <a:cubicBezTo>
                      <a:pt x="16" y="66"/>
                      <a:pt x="16" y="66"/>
                      <a:pt x="17" y="66"/>
                    </a:cubicBezTo>
                    <a:cubicBezTo>
                      <a:pt x="17" y="66"/>
                      <a:pt x="17" y="66"/>
                      <a:pt x="17" y="65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17" y="63"/>
                      <a:pt x="17" y="63"/>
                      <a:pt x="18" y="63"/>
                    </a:cubicBezTo>
                    <a:cubicBezTo>
                      <a:pt x="18" y="62"/>
                      <a:pt x="18" y="62"/>
                      <a:pt x="18" y="63"/>
                    </a:cubicBezTo>
                    <a:cubicBezTo>
                      <a:pt x="18" y="63"/>
                      <a:pt x="18" y="63"/>
                      <a:pt x="18" y="63"/>
                    </a:cubicBezTo>
                    <a:cubicBezTo>
                      <a:pt x="18" y="63"/>
                      <a:pt x="18" y="63"/>
                      <a:pt x="18" y="63"/>
                    </a:cubicBezTo>
                    <a:cubicBezTo>
                      <a:pt x="18" y="64"/>
                      <a:pt x="18" y="64"/>
                      <a:pt x="18" y="64"/>
                    </a:cubicBezTo>
                    <a:cubicBezTo>
                      <a:pt x="18" y="65"/>
                      <a:pt x="18" y="65"/>
                      <a:pt x="18" y="65"/>
                    </a:cubicBezTo>
                    <a:cubicBezTo>
                      <a:pt x="18" y="65"/>
                      <a:pt x="18" y="66"/>
                      <a:pt x="19" y="66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19" y="68"/>
                      <a:pt x="19" y="68"/>
                      <a:pt x="19" y="68"/>
                    </a:cubicBezTo>
                    <a:cubicBezTo>
                      <a:pt x="19" y="68"/>
                      <a:pt x="19" y="68"/>
                      <a:pt x="19" y="68"/>
                    </a:cubicBezTo>
                    <a:cubicBezTo>
                      <a:pt x="19" y="69"/>
                      <a:pt x="19" y="69"/>
                      <a:pt x="19" y="69"/>
                    </a:cubicBezTo>
                    <a:cubicBezTo>
                      <a:pt x="19" y="69"/>
                      <a:pt x="19" y="69"/>
                      <a:pt x="19" y="69"/>
                    </a:cubicBezTo>
                    <a:cubicBezTo>
                      <a:pt x="19" y="69"/>
                      <a:pt x="19" y="70"/>
                      <a:pt x="19" y="70"/>
                    </a:cubicBezTo>
                    <a:cubicBezTo>
                      <a:pt x="19" y="70"/>
                      <a:pt x="19" y="70"/>
                      <a:pt x="19" y="70"/>
                    </a:cubicBezTo>
                    <a:cubicBezTo>
                      <a:pt x="19" y="70"/>
                      <a:pt x="20" y="70"/>
                      <a:pt x="20" y="70"/>
                    </a:cubicBezTo>
                    <a:cubicBezTo>
                      <a:pt x="20" y="70"/>
                      <a:pt x="20" y="70"/>
                      <a:pt x="20" y="70"/>
                    </a:cubicBezTo>
                    <a:cubicBezTo>
                      <a:pt x="20" y="70"/>
                      <a:pt x="20" y="70"/>
                      <a:pt x="20" y="70"/>
                    </a:cubicBezTo>
                    <a:cubicBezTo>
                      <a:pt x="20" y="71"/>
                      <a:pt x="19" y="71"/>
                      <a:pt x="20" y="71"/>
                    </a:cubicBezTo>
                    <a:cubicBezTo>
                      <a:pt x="20" y="71"/>
                      <a:pt x="20" y="72"/>
                      <a:pt x="19" y="72"/>
                    </a:cubicBezTo>
                    <a:cubicBezTo>
                      <a:pt x="19" y="72"/>
                      <a:pt x="19" y="72"/>
                      <a:pt x="19" y="73"/>
                    </a:cubicBezTo>
                    <a:cubicBezTo>
                      <a:pt x="20" y="73"/>
                      <a:pt x="20" y="73"/>
                      <a:pt x="20" y="73"/>
                    </a:cubicBezTo>
                    <a:cubicBezTo>
                      <a:pt x="20" y="73"/>
                      <a:pt x="20" y="73"/>
                      <a:pt x="20" y="73"/>
                    </a:cubicBezTo>
                    <a:cubicBezTo>
                      <a:pt x="20" y="73"/>
                      <a:pt x="21" y="72"/>
                      <a:pt x="21" y="72"/>
                    </a:cubicBezTo>
                    <a:cubicBezTo>
                      <a:pt x="21" y="72"/>
                      <a:pt x="21" y="72"/>
                      <a:pt x="21" y="72"/>
                    </a:cubicBezTo>
                    <a:cubicBezTo>
                      <a:pt x="22" y="72"/>
                      <a:pt x="22" y="72"/>
                      <a:pt x="22" y="71"/>
                    </a:cubicBezTo>
                    <a:cubicBezTo>
                      <a:pt x="23" y="71"/>
                      <a:pt x="23" y="71"/>
                      <a:pt x="23" y="71"/>
                    </a:cubicBezTo>
                    <a:cubicBezTo>
                      <a:pt x="23" y="71"/>
                      <a:pt x="23" y="71"/>
                      <a:pt x="23" y="71"/>
                    </a:cubicBezTo>
                    <a:cubicBezTo>
                      <a:pt x="24" y="71"/>
                      <a:pt x="24" y="71"/>
                      <a:pt x="24" y="71"/>
                    </a:cubicBezTo>
                    <a:cubicBezTo>
                      <a:pt x="24" y="71"/>
                      <a:pt x="24" y="71"/>
                      <a:pt x="24" y="71"/>
                    </a:cubicBezTo>
                    <a:cubicBezTo>
                      <a:pt x="24" y="71"/>
                      <a:pt x="24" y="71"/>
                      <a:pt x="24" y="71"/>
                    </a:cubicBezTo>
                    <a:cubicBezTo>
                      <a:pt x="24" y="71"/>
                      <a:pt x="25" y="72"/>
                      <a:pt x="25" y="72"/>
                    </a:cubicBezTo>
                    <a:cubicBezTo>
                      <a:pt x="25" y="72"/>
                      <a:pt x="25" y="72"/>
                      <a:pt x="25" y="72"/>
                    </a:cubicBezTo>
                    <a:cubicBezTo>
                      <a:pt x="26" y="72"/>
                      <a:pt x="26" y="72"/>
                      <a:pt x="26" y="72"/>
                    </a:cubicBezTo>
                    <a:cubicBezTo>
                      <a:pt x="26" y="72"/>
                      <a:pt x="26" y="71"/>
                      <a:pt x="26" y="71"/>
                    </a:cubicBezTo>
                    <a:cubicBezTo>
                      <a:pt x="26" y="71"/>
                      <a:pt x="26" y="71"/>
                      <a:pt x="26" y="71"/>
                    </a:cubicBezTo>
                    <a:cubicBezTo>
                      <a:pt x="26" y="71"/>
                      <a:pt x="27" y="72"/>
                      <a:pt x="27" y="72"/>
                    </a:cubicBezTo>
                    <a:cubicBezTo>
                      <a:pt x="27" y="72"/>
                      <a:pt x="27" y="72"/>
                      <a:pt x="27" y="72"/>
                    </a:cubicBezTo>
                    <a:cubicBezTo>
                      <a:pt x="27" y="72"/>
                      <a:pt x="28" y="73"/>
                      <a:pt x="28" y="73"/>
                    </a:cubicBezTo>
                    <a:cubicBezTo>
                      <a:pt x="28" y="74"/>
                      <a:pt x="28" y="74"/>
                      <a:pt x="28" y="74"/>
                    </a:cubicBezTo>
                    <a:cubicBezTo>
                      <a:pt x="29" y="74"/>
                      <a:pt x="29" y="73"/>
                      <a:pt x="29" y="73"/>
                    </a:cubicBezTo>
                    <a:cubicBezTo>
                      <a:pt x="29" y="73"/>
                      <a:pt x="29" y="73"/>
                      <a:pt x="29" y="73"/>
                    </a:cubicBezTo>
                    <a:cubicBezTo>
                      <a:pt x="29" y="72"/>
                      <a:pt x="29" y="72"/>
                      <a:pt x="29" y="72"/>
                    </a:cubicBezTo>
                    <a:cubicBezTo>
                      <a:pt x="29" y="72"/>
                      <a:pt x="29" y="71"/>
                      <a:pt x="29" y="71"/>
                    </a:cubicBezTo>
                    <a:cubicBezTo>
                      <a:pt x="30" y="71"/>
                      <a:pt x="30" y="71"/>
                      <a:pt x="30" y="71"/>
                    </a:cubicBezTo>
                    <a:cubicBezTo>
                      <a:pt x="30" y="71"/>
                      <a:pt x="30" y="71"/>
                      <a:pt x="30" y="71"/>
                    </a:cubicBezTo>
                    <a:cubicBezTo>
                      <a:pt x="30" y="71"/>
                      <a:pt x="30" y="71"/>
                      <a:pt x="30" y="71"/>
                    </a:cubicBezTo>
                    <a:cubicBezTo>
                      <a:pt x="30" y="71"/>
                      <a:pt x="30" y="72"/>
                      <a:pt x="30" y="72"/>
                    </a:cubicBezTo>
                    <a:cubicBezTo>
                      <a:pt x="30" y="72"/>
                      <a:pt x="30" y="71"/>
                      <a:pt x="31" y="72"/>
                    </a:cubicBezTo>
                    <a:cubicBezTo>
                      <a:pt x="31" y="73"/>
                      <a:pt x="31" y="72"/>
                      <a:pt x="32" y="72"/>
                    </a:cubicBezTo>
                    <a:cubicBezTo>
                      <a:pt x="32" y="72"/>
                      <a:pt x="32" y="72"/>
                      <a:pt x="32" y="72"/>
                    </a:cubicBezTo>
                    <a:cubicBezTo>
                      <a:pt x="33" y="72"/>
                      <a:pt x="34" y="71"/>
                      <a:pt x="34" y="71"/>
                    </a:cubicBezTo>
                    <a:cubicBezTo>
                      <a:pt x="35" y="71"/>
                      <a:pt x="35" y="71"/>
                      <a:pt x="35" y="72"/>
                    </a:cubicBezTo>
                    <a:cubicBezTo>
                      <a:pt x="35" y="72"/>
                      <a:pt x="34" y="72"/>
                      <a:pt x="34" y="73"/>
                    </a:cubicBezTo>
                    <a:cubicBezTo>
                      <a:pt x="34" y="73"/>
                      <a:pt x="34" y="73"/>
                      <a:pt x="34" y="73"/>
                    </a:cubicBezTo>
                    <a:cubicBezTo>
                      <a:pt x="33" y="73"/>
                      <a:pt x="33" y="73"/>
                      <a:pt x="33" y="73"/>
                    </a:cubicBezTo>
                    <a:cubicBezTo>
                      <a:pt x="33" y="73"/>
                      <a:pt x="33" y="74"/>
                      <a:pt x="33" y="74"/>
                    </a:cubicBezTo>
                    <a:cubicBezTo>
                      <a:pt x="33" y="74"/>
                      <a:pt x="33" y="74"/>
                      <a:pt x="33" y="74"/>
                    </a:cubicBezTo>
                    <a:cubicBezTo>
                      <a:pt x="34" y="75"/>
                      <a:pt x="34" y="75"/>
                      <a:pt x="33" y="75"/>
                    </a:cubicBezTo>
                    <a:cubicBezTo>
                      <a:pt x="33" y="75"/>
                      <a:pt x="33" y="75"/>
                      <a:pt x="33" y="76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3" y="78"/>
                      <a:pt x="32" y="78"/>
                      <a:pt x="32" y="78"/>
                    </a:cubicBezTo>
                    <a:cubicBezTo>
                      <a:pt x="32" y="79"/>
                      <a:pt x="32" y="79"/>
                      <a:pt x="32" y="79"/>
                    </a:cubicBezTo>
                    <a:cubicBezTo>
                      <a:pt x="31" y="79"/>
                      <a:pt x="31" y="79"/>
                      <a:pt x="31" y="79"/>
                    </a:cubicBezTo>
                    <a:cubicBezTo>
                      <a:pt x="31" y="79"/>
                      <a:pt x="30" y="80"/>
                      <a:pt x="30" y="80"/>
                    </a:cubicBezTo>
                    <a:cubicBezTo>
                      <a:pt x="29" y="81"/>
                      <a:pt x="30" y="81"/>
                      <a:pt x="30" y="82"/>
                    </a:cubicBezTo>
                    <a:cubicBezTo>
                      <a:pt x="29" y="83"/>
                      <a:pt x="29" y="83"/>
                      <a:pt x="29" y="83"/>
                    </a:cubicBezTo>
                    <a:cubicBezTo>
                      <a:pt x="29" y="82"/>
                      <a:pt x="29" y="82"/>
                      <a:pt x="29" y="82"/>
                    </a:cubicBezTo>
                    <a:cubicBezTo>
                      <a:pt x="28" y="82"/>
                      <a:pt x="28" y="82"/>
                      <a:pt x="28" y="82"/>
                    </a:cubicBezTo>
                    <a:cubicBezTo>
                      <a:pt x="28" y="82"/>
                      <a:pt x="27" y="83"/>
                      <a:pt x="26" y="83"/>
                    </a:cubicBezTo>
                    <a:cubicBezTo>
                      <a:pt x="25" y="84"/>
                      <a:pt x="25" y="84"/>
                      <a:pt x="25" y="84"/>
                    </a:cubicBezTo>
                    <a:cubicBezTo>
                      <a:pt x="24" y="84"/>
                      <a:pt x="24" y="85"/>
                      <a:pt x="24" y="85"/>
                    </a:cubicBezTo>
                    <a:cubicBezTo>
                      <a:pt x="24" y="86"/>
                      <a:pt x="23" y="86"/>
                      <a:pt x="24" y="86"/>
                    </a:cubicBezTo>
                    <a:cubicBezTo>
                      <a:pt x="24" y="86"/>
                      <a:pt x="24" y="86"/>
                      <a:pt x="24" y="86"/>
                    </a:cubicBezTo>
                    <a:cubicBezTo>
                      <a:pt x="24" y="86"/>
                      <a:pt x="23" y="87"/>
                      <a:pt x="23" y="87"/>
                    </a:cubicBezTo>
                    <a:cubicBezTo>
                      <a:pt x="23" y="87"/>
                      <a:pt x="23" y="87"/>
                      <a:pt x="23" y="87"/>
                    </a:cubicBezTo>
                    <a:cubicBezTo>
                      <a:pt x="23" y="87"/>
                      <a:pt x="22" y="87"/>
                      <a:pt x="22" y="87"/>
                    </a:cubicBezTo>
                    <a:cubicBezTo>
                      <a:pt x="22" y="87"/>
                      <a:pt x="22" y="87"/>
                      <a:pt x="22" y="87"/>
                    </a:cubicBezTo>
                    <a:cubicBezTo>
                      <a:pt x="22" y="86"/>
                      <a:pt x="22" y="86"/>
                      <a:pt x="22" y="86"/>
                    </a:cubicBezTo>
                    <a:cubicBezTo>
                      <a:pt x="21" y="86"/>
                      <a:pt x="22" y="86"/>
                      <a:pt x="22" y="86"/>
                    </a:cubicBezTo>
                    <a:cubicBezTo>
                      <a:pt x="22" y="86"/>
                      <a:pt x="21" y="86"/>
                      <a:pt x="21" y="86"/>
                    </a:cubicBezTo>
                    <a:cubicBezTo>
                      <a:pt x="20" y="86"/>
                      <a:pt x="19" y="87"/>
                      <a:pt x="19" y="87"/>
                    </a:cubicBezTo>
                    <a:cubicBezTo>
                      <a:pt x="19" y="87"/>
                      <a:pt x="18" y="87"/>
                      <a:pt x="18" y="88"/>
                    </a:cubicBezTo>
                    <a:cubicBezTo>
                      <a:pt x="18" y="88"/>
                      <a:pt x="17" y="88"/>
                      <a:pt x="17" y="88"/>
                    </a:cubicBezTo>
                    <a:cubicBezTo>
                      <a:pt x="17" y="89"/>
                      <a:pt x="17" y="89"/>
                      <a:pt x="17" y="89"/>
                    </a:cubicBezTo>
                    <a:cubicBezTo>
                      <a:pt x="17" y="89"/>
                      <a:pt x="17" y="89"/>
                      <a:pt x="17" y="89"/>
                    </a:cubicBezTo>
                    <a:cubicBezTo>
                      <a:pt x="17" y="89"/>
                      <a:pt x="17" y="89"/>
                      <a:pt x="17" y="89"/>
                    </a:cubicBezTo>
                    <a:cubicBezTo>
                      <a:pt x="16" y="89"/>
                      <a:pt x="16" y="90"/>
                      <a:pt x="16" y="90"/>
                    </a:cubicBezTo>
                    <a:cubicBezTo>
                      <a:pt x="15" y="90"/>
                      <a:pt x="15" y="90"/>
                      <a:pt x="15" y="90"/>
                    </a:cubicBezTo>
                    <a:cubicBezTo>
                      <a:pt x="15" y="90"/>
                      <a:pt x="15" y="90"/>
                      <a:pt x="15" y="91"/>
                    </a:cubicBezTo>
                    <a:cubicBezTo>
                      <a:pt x="15" y="91"/>
                      <a:pt x="15" y="91"/>
                      <a:pt x="15" y="91"/>
                    </a:cubicBezTo>
                    <a:cubicBezTo>
                      <a:pt x="15" y="91"/>
                      <a:pt x="15" y="91"/>
                      <a:pt x="16" y="91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91"/>
                      <a:pt x="17" y="91"/>
                      <a:pt x="17" y="91"/>
                    </a:cubicBezTo>
                    <a:cubicBezTo>
                      <a:pt x="18" y="90"/>
                      <a:pt x="18" y="90"/>
                      <a:pt x="19" y="90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19" y="89"/>
                      <a:pt x="20" y="89"/>
                      <a:pt x="20" y="88"/>
                    </a:cubicBezTo>
                    <a:cubicBezTo>
                      <a:pt x="20" y="88"/>
                      <a:pt x="20" y="88"/>
                      <a:pt x="20" y="88"/>
                    </a:cubicBezTo>
                    <a:cubicBezTo>
                      <a:pt x="21" y="88"/>
                      <a:pt x="21" y="88"/>
                      <a:pt x="21" y="89"/>
                    </a:cubicBezTo>
                    <a:cubicBezTo>
                      <a:pt x="21" y="89"/>
                      <a:pt x="21" y="89"/>
                      <a:pt x="21" y="89"/>
                    </a:cubicBezTo>
                    <a:cubicBezTo>
                      <a:pt x="21" y="89"/>
                      <a:pt x="21" y="89"/>
                      <a:pt x="21" y="89"/>
                    </a:cubicBezTo>
                    <a:cubicBezTo>
                      <a:pt x="22" y="89"/>
                      <a:pt x="22" y="89"/>
                      <a:pt x="22" y="89"/>
                    </a:cubicBezTo>
                    <a:cubicBezTo>
                      <a:pt x="22" y="89"/>
                      <a:pt x="23" y="88"/>
                      <a:pt x="24" y="88"/>
                    </a:cubicBezTo>
                    <a:cubicBezTo>
                      <a:pt x="24" y="88"/>
                      <a:pt x="24" y="88"/>
                      <a:pt x="24" y="88"/>
                    </a:cubicBezTo>
                    <a:cubicBezTo>
                      <a:pt x="24" y="88"/>
                      <a:pt x="25" y="87"/>
                      <a:pt x="25" y="87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26" y="87"/>
                      <a:pt x="26" y="87"/>
                      <a:pt x="26" y="87"/>
                    </a:cubicBezTo>
                    <a:cubicBezTo>
                      <a:pt x="26" y="87"/>
                      <a:pt x="26" y="87"/>
                      <a:pt x="26" y="87"/>
                    </a:cubicBezTo>
                    <a:cubicBezTo>
                      <a:pt x="26" y="88"/>
                      <a:pt x="27" y="87"/>
                      <a:pt x="27" y="87"/>
                    </a:cubicBezTo>
                    <a:cubicBezTo>
                      <a:pt x="27" y="87"/>
                      <a:pt x="27" y="87"/>
                      <a:pt x="27" y="87"/>
                    </a:cubicBezTo>
                    <a:cubicBezTo>
                      <a:pt x="27" y="86"/>
                      <a:pt x="27" y="86"/>
                      <a:pt x="27" y="86"/>
                    </a:cubicBezTo>
                    <a:cubicBezTo>
                      <a:pt x="28" y="86"/>
                      <a:pt x="28" y="86"/>
                      <a:pt x="29" y="86"/>
                    </a:cubicBezTo>
                    <a:cubicBezTo>
                      <a:pt x="29" y="86"/>
                      <a:pt x="30" y="85"/>
                      <a:pt x="30" y="85"/>
                    </a:cubicBezTo>
                    <a:cubicBezTo>
                      <a:pt x="30" y="85"/>
                      <a:pt x="30" y="84"/>
                      <a:pt x="30" y="84"/>
                    </a:cubicBezTo>
                    <a:cubicBezTo>
                      <a:pt x="30" y="84"/>
                      <a:pt x="31" y="83"/>
                      <a:pt x="32" y="83"/>
                    </a:cubicBezTo>
                    <a:cubicBezTo>
                      <a:pt x="32" y="83"/>
                      <a:pt x="32" y="83"/>
                      <a:pt x="33" y="82"/>
                    </a:cubicBezTo>
                    <a:cubicBezTo>
                      <a:pt x="33" y="82"/>
                      <a:pt x="33" y="82"/>
                      <a:pt x="33" y="82"/>
                    </a:cubicBezTo>
                    <a:cubicBezTo>
                      <a:pt x="34" y="81"/>
                      <a:pt x="34" y="82"/>
                      <a:pt x="34" y="82"/>
                    </a:cubicBezTo>
                    <a:cubicBezTo>
                      <a:pt x="34" y="82"/>
                      <a:pt x="35" y="81"/>
                      <a:pt x="35" y="81"/>
                    </a:cubicBezTo>
                    <a:cubicBezTo>
                      <a:pt x="35" y="81"/>
                      <a:pt x="36" y="81"/>
                      <a:pt x="36" y="81"/>
                    </a:cubicBezTo>
                    <a:cubicBezTo>
                      <a:pt x="36" y="80"/>
                      <a:pt x="37" y="80"/>
                      <a:pt x="37" y="80"/>
                    </a:cubicBezTo>
                    <a:cubicBezTo>
                      <a:pt x="37" y="79"/>
                      <a:pt x="37" y="79"/>
                      <a:pt x="37" y="79"/>
                    </a:cubicBezTo>
                    <a:cubicBezTo>
                      <a:pt x="37" y="79"/>
                      <a:pt x="36" y="79"/>
                      <a:pt x="37" y="79"/>
                    </a:cubicBezTo>
                    <a:cubicBezTo>
                      <a:pt x="37" y="79"/>
                      <a:pt x="37" y="78"/>
                      <a:pt x="38" y="78"/>
                    </a:cubicBezTo>
                    <a:cubicBezTo>
                      <a:pt x="38" y="78"/>
                      <a:pt x="38" y="78"/>
                      <a:pt x="38" y="78"/>
                    </a:cubicBezTo>
                    <a:cubicBezTo>
                      <a:pt x="38" y="78"/>
                      <a:pt x="39" y="78"/>
                      <a:pt x="39" y="78"/>
                    </a:cubicBezTo>
                    <a:cubicBezTo>
                      <a:pt x="39" y="78"/>
                      <a:pt x="39" y="78"/>
                      <a:pt x="39" y="78"/>
                    </a:cubicBezTo>
                    <a:cubicBezTo>
                      <a:pt x="39" y="77"/>
                      <a:pt x="39" y="77"/>
                      <a:pt x="40" y="77"/>
                    </a:cubicBezTo>
                    <a:cubicBezTo>
                      <a:pt x="40" y="77"/>
                      <a:pt x="40" y="77"/>
                      <a:pt x="40" y="77"/>
                    </a:cubicBezTo>
                    <a:cubicBezTo>
                      <a:pt x="41" y="77"/>
                      <a:pt x="41" y="76"/>
                      <a:pt x="41" y="76"/>
                    </a:cubicBezTo>
                    <a:cubicBezTo>
                      <a:pt x="41" y="76"/>
                      <a:pt x="41" y="76"/>
                      <a:pt x="42" y="76"/>
                    </a:cubicBezTo>
                    <a:cubicBezTo>
                      <a:pt x="42" y="76"/>
                      <a:pt x="42" y="76"/>
                      <a:pt x="43" y="75"/>
                    </a:cubicBezTo>
                    <a:cubicBezTo>
                      <a:pt x="43" y="75"/>
                      <a:pt x="43" y="75"/>
                      <a:pt x="43" y="75"/>
                    </a:cubicBezTo>
                    <a:cubicBezTo>
                      <a:pt x="43" y="75"/>
                      <a:pt x="43" y="75"/>
                      <a:pt x="44" y="75"/>
                    </a:cubicBezTo>
                    <a:cubicBezTo>
                      <a:pt x="44" y="75"/>
                      <a:pt x="43" y="75"/>
                      <a:pt x="43" y="74"/>
                    </a:cubicBezTo>
                    <a:cubicBezTo>
                      <a:pt x="43" y="74"/>
                      <a:pt x="44" y="74"/>
                      <a:pt x="44" y="74"/>
                    </a:cubicBezTo>
                    <a:cubicBezTo>
                      <a:pt x="44" y="74"/>
                      <a:pt x="44" y="74"/>
                      <a:pt x="44" y="74"/>
                    </a:cubicBezTo>
                    <a:cubicBezTo>
                      <a:pt x="44" y="74"/>
                      <a:pt x="44" y="73"/>
                      <a:pt x="45" y="73"/>
                    </a:cubicBezTo>
                    <a:cubicBezTo>
                      <a:pt x="45" y="73"/>
                      <a:pt x="45" y="73"/>
                      <a:pt x="45" y="73"/>
                    </a:cubicBezTo>
                    <a:cubicBezTo>
                      <a:pt x="45" y="73"/>
                      <a:pt x="45" y="73"/>
                      <a:pt x="45" y="73"/>
                    </a:cubicBezTo>
                    <a:cubicBezTo>
                      <a:pt x="45" y="73"/>
                      <a:pt x="46" y="72"/>
                      <a:pt x="46" y="72"/>
                    </a:cubicBezTo>
                    <a:cubicBezTo>
                      <a:pt x="46" y="72"/>
                      <a:pt x="46" y="72"/>
                      <a:pt x="46" y="71"/>
                    </a:cubicBezTo>
                    <a:cubicBezTo>
                      <a:pt x="47" y="71"/>
                      <a:pt x="46" y="71"/>
                      <a:pt x="46" y="71"/>
                    </a:cubicBezTo>
                    <a:cubicBezTo>
                      <a:pt x="45" y="70"/>
                      <a:pt x="45" y="70"/>
                      <a:pt x="45" y="70"/>
                    </a:cubicBezTo>
                    <a:cubicBezTo>
                      <a:pt x="44" y="70"/>
                      <a:pt x="44" y="70"/>
                      <a:pt x="44" y="69"/>
                    </a:cubicBezTo>
                    <a:cubicBezTo>
                      <a:pt x="44" y="69"/>
                      <a:pt x="44" y="69"/>
                      <a:pt x="44" y="69"/>
                    </a:cubicBezTo>
                    <a:cubicBezTo>
                      <a:pt x="44" y="69"/>
                      <a:pt x="44" y="69"/>
                      <a:pt x="44" y="69"/>
                    </a:cubicBezTo>
                    <a:cubicBezTo>
                      <a:pt x="45" y="68"/>
                      <a:pt x="45" y="68"/>
                      <a:pt x="46" y="67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6" y="67"/>
                      <a:pt x="47" y="67"/>
                      <a:pt x="47" y="66"/>
                    </a:cubicBezTo>
                    <a:cubicBezTo>
                      <a:pt x="48" y="66"/>
                      <a:pt x="48" y="66"/>
                      <a:pt x="48" y="66"/>
                    </a:cubicBezTo>
                    <a:cubicBezTo>
                      <a:pt x="48" y="66"/>
                      <a:pt x="48" y="65"/>
                      <a:pt x="48" y="65"/>
                    </a:cubicBezTo>
                    <a:cubicBezTo>
                      <a:pt x="48" y="65"/>
                      <a:pt x="48" y="64"/>
                      <a:pt x="48" y="64"/>
                    </a:cubicBezTo>
                    <a:cubicBezTo>
                      <a:pt x="48" y="64"/>
                      <a:pt x="48" y="64"/>
                      <a:pt x="49" y="64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9" y="64"/>
                      <a:pt x="50" y="63"/>
                      <a:pt x="50" y="63"/>
                    </a:cubicBezTo>
                    <a:cubicBezTo>
                      <a:pt x="50" y="63"/>
                      <a:pt x="51" y="61"/>
                      <a:pt x="52" y="61"/>
                    </a:cubicBezTo>
                    <a:cubicBezTo>
                      <a:pt x="52" y="61"/>
                      <a:pt x="52" y="60"/>
                      <a:pt x="52" y="60"/>
                    </a:cubicBezTo>
                    <a:cubicBezTo>
                      <a:pt x="53" y="60"/>
                      <a:pt x="53" y="60"/>
                      <a:pt x="53" y="60"/>
                    </a:cubicBezTo>
                    <a:cubicBezTo>
                      <a:pt x="53" y="60"/>
                      <a:pt x="53" y="60"/>
                      <a:pt x="54" y="59"/>
                    </a:cubicBezTo>
                    <a:cubicBezTo>
                      <a:pt x="54" y="59"/>
                      <a:pt x="55" y="59"/>
                      <a:pt x="56" y="59"/>
                    </a:cubicBezTo>
                    <a:cubicBezTo>
                      <a:pt x="56" y="59"/>
                      <a:pt x="56" y="59"/>
                      <a:pt x="56" y="59"/>
                    </a:cubicBezTo>
                    <a:cubicBezTo>
                      <a:pt x="57" y="59"/>
                      <a:pt x="57" y="59"/>
                      <a:pt x="57" y="59"/>
                    </a:cubicBezTo>
                    <a:cubicBezTo>
                      <a:pt x="57" y="59"/>
                      <a:pt x="57" y="59"/>
                      <a:pt x="57" y="58"/>
                    </a:cubicBezTo>
                    <a:cubicBezTo>
                      <a:pt x="57" y="58"/>
                      <a:pt x="58" y="58"/>
                      <a:pt x="59" y="58"/>
                    </a:cubicBezTo>
                    <a:cubicBezTo>
                      <a:pt x="59" y="58"/>
                      <a:pt x="59" y="58"/>
                      <a:pt x="57" y="59"/>
                    </a:cubicBezTo>
                    <a:cubicBezTo>
                      <a:pt x="57" y="59"/>
                      <a:pt x="57" y="59"/>
                      <a:pt x="57" y="59"/>
                    </a:cubicBezTo>
                    <a:cubicBezTo>
                      <a:pt x="57" y="60"/>
                      <a:pt x="58" y="60"/>
                      <a:pt x="59" y="60"/>
                    </a:cubicBezTo>
                    <a:cubicBezTo>
                      <a:pt x="59" y="60"/>
                      <a:pt x="59" y="60"/>
                      <a:pt x="59" y="60"/>
                    </a:cubicBezTo>
                    <a:cubicBezTo>
                      <a:pt x="60" y="61"/>
                      <a:pt x="60" y="61"/>
                      <a:pt x="59" y="61"/>
                    </a:cubicBezTo>
                    <a:cubicBezTo>
                      <a:pt x="58" y="61"/>
                      <a:pt x="57" y="61"/>
                      <a:pt x="57" y="61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5" y="60"/>
                      <a:pt x="55" y="61"/>
                      <a:pt x="54" y="61"/>
                    </a:cubicBezTo>
                    <a:cubicBezTo>
                      <a:pt x="54" y="61"/>
                      <a:pt x="54" y="61"/>
                      <a:pt x="54" y="61"/>
                    </a:cubicBezTo>
                    <a:cubicBezTo>
                      <a:pt x="54" y="62"/>
                      <a:pt x="53" y="62"/>
                      <a:pt x="53" y="62"/>
                    </a:cubicBezTo>
                    <a:cubicBezTo>
                      <a:pt x="53" y="63"/>
                      <a:pt x="53" y="63"/>
                      <a:pt x="53" y="63"/>
                    </a:cubicBezTo>
                    <a:cubicBezTo>
                      <a:pt x="53" y="63"/>
                      <a:pt x="53" y="64"/>
                      <a:pt x="53" y="65"/>
                    </a:cubicBezTo>
                    <a:cubicBezTo>
                      <a:pt x="53" y="65"/>
                      <a:pt x="52" y="65"/>
                      <a:pt x="51" y="66"/>
                    </a:cubicBezTo>
                    <a:cubicBezTo>
                      <a:pt x="51" y="67"/>
                      <a:pt x="51" y="67"/>
                      <a:pt x="52" y="67"/>
                    </a:cubicBezTo>
                    <a:cubicBezTo>
                      <a:pt x="52" y="67"/>
                      <a:pt x="52" y="67"/>
                      <a:pt x="52" y="67"/>
                    </a:cubicBezTo>
                    <a:cubicBezTo>
                      <a:pt x="53" y="67"/>
                      <a:pt x="53" y="67"/>
                      <a:pt x="53" y="67"/>
                    </a:cubicBezTo>
                    <a:cubicBezTo>
                      <a:pt x="53" y="67"/>
                      <a:pt x="53" y="67"/>
                      <a:pt x="53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2" y="68"/>
                      <a:pt x="52" y="68"/>
                      <a:pt x="51" y="69"/>
                    </a:cubicBezTo>
                    <a:cubicBezTo>
                      <a:pt x="51" y="69"/>
                      <a:pt x="52" y="69"/>
                      <a:pt x="52" y="69"/>
                    </a:cubicBezTo>
                    <a:cubicBezTo>
                      <a:pt x="52" y="69"/>
                      <a:pt x="53" y="69"/>
                      <a:pt x="53" y="69"/>
                    </a:cubicBezTo>
                    <a:cubicBezTo>
                      <a:pt x="53" y="69"/>
                      <a:pt x="55" y="69"/>
                      <a:pt x="55" y="69"/>
                    </a:cubicBezTo>
                    <a:cubicBezTo>
                      <a:pt x="55" y="68"/>
                      <a:pt x="56" y="68"/>
                      <a:pt x="57" y="67"/>
                    </a:cubicBezTo>
                    <a:cubicBezTo>
                      <a:pt x="58" y="67"/>
                      <a:pt x="58" y="66"/>
                      <a:pt x="59" y="66"/>
                    </a:cubicBezTo>
                    <a:cubicBezTo>
                      <a:pt x="59" y="66"/>
                      <a:pt x="60" y="66"/>
                      <a:pt x="60" y="66"/>
                    </a:cubicBezTo>
                    <a:cubicBezTo>
                      <a:pt x="60" y="66"/>
                      <a:pt x="60" y="66"/>
                      <a:pt x="61" y="66"/>
                    </a:cubicBezTo>
                    <a:cubicBezTo>
                      <a:pt x="62" y="66"/>
                      <a:pt x="62" y="65"/>
                      <a:pt x="62" y="65"/>
                    </a:cubicBezTo>
                    <a:cubicBezTo>
                      <a:pt x="62" y="65"/>
                      <a:pt x="63" y="64"/>
                      <a:pt x="63" y="64"/>
                    </a:cubicBezTo>
                    <a:cubicBezTo>
                      <a:pt x="63" y="64"/>
                      <a:pt x="63" y="64"/>
                      <a:pt x="63" y="64"/>
                    </a:cubicBezTo>
                    <a:cubicBezTo>
                      <a:pt x="64" y="64"/>
                      <a:pt x="64" y="63"/>
                      <a:pt x="64" y="63"/>
                    </a:cubicBezTo>
                    <a:cubicBezTo>
                      <a:pt x="63" y="63"/>
                      <a:pt x="63" y="63"/>
                      <a:pt x="63" y="63"/>
                    </a:cubicBezTo>
                    <a:cubicBezTo>
                      <a:pt x="63" y="63"/>
                      <a:pt x="63" y="63"/>
                      <a:pt x="63" y="63"/>
                    </a:cubicBezTo>
                    <a:cubicBezTo>
                      <a:pt x="63" y="62"/>
                      <a:pt x="63" y="62"/>
                      <a:pt x="63" y="62"/>
                    </a:cubicBezTo>
                    <a:cubicBezTo>
                      <a:pt x="63" y="62"/>
                      <a:pt x="63" y="62"/>
                      <a:pt x="62" y="62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62" y="61"/>
                      <a:pt x="63" y="61"/>
                      <a:pt x="63" y="61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3" y="60"/>
                      <a:pt x="64" y="61"/>
                      <a:pt x="64" y="61"/>
                    </a:cubicBezTo>
                    <a:cubicBezTo>
                      <a:pt x="64" y="61"/>
                      <a:pt x="65" y="61"/>
                      <a:pt x="65" y="61"/>
                    </a:cubicBezTo>
                    <a:cubicBezTo>
                      <a:pt x="65" y="60"/>
                      <a:pt x="66" y="60"/>
                      <a:pt x="66" y="60"/>
                    </a:cubicBezTo>
                    <a:cubicBezTo>
                      <a:pt x="66" y="60"/>
                      <a:pt x="67" y="60"/>
                      <a:pt x="67" y="60"/>
                    </a:cubicBezTo>
                    <a:cubicBezTo>
                      <a:pt x="67" y="60"/>
                      <a:pt x="68" y="60"/>
                      <a:pt x="68" y="60"/>
                    </a:cubicBezTo>
                    <a:cubicBezTo>
                      <a:pt x="68" y="61"/>
                      <a:pt x="69" y="61"/>
                      <a:pt x="69" y="61"/>
                    </a:cubicBezTo>
                    <a:cubicBezTo>
                      <a:pt x="70" y="62"/>
                      <a:pt x="70" y="62"/>
                      <a:pt x="70" y="62"/>
                    </a:cubicBezTo>
                    <a:cubicBezTo>
                      <a:pt x="71" y="62"/>
                      <a:pt x="70" y="62"/>
                      <a:pt x="70" y="63"/>
                    </a:cubicBezTo>
                    <a:cubicBezTo>
                      <a:pt x="71" y="63"/>
                      <a:pt x="71" y="63"/>
                      <a:pt x="71" y="63"/>
                    </a:cubicBezTo>
                    <a:cubicBezTo>
                      <a:pt x="72" y="63"/>
                      <a:pt x="72" y="63"/>
                      <a:pt x="72" y="63"/>
                    </a:cubicBezTo>
                    <a:cubicBezTo>
                      <a:pt x="72" y="63"/>
                      <a:pt x="73" y="63"/>
                      <a:pt x="73" y="63"/>
                    </a:cubicBezTo>
                    <a:cubicBezTo>
                      <a:pt x="73" y="63"/>
                      <a:pt x="74" y="63"/>
                      <a:pt x="74" y="63"/>
                    </a:cubicBezTo>
                    <a:cubicBezTo>
                      <a:pt x="74" y="64"/>
                      <a:pt x="74" y="64"/>
                      <a:pt x="74" y="64"/>
                    </a:cubicBezTo>
                    <a:cubicBezTo>
                      <a:pt x="75" y="64"/>
                      <a:pt x="75" y="65"/>
                      <a:pt x="75" y="65"/>
                    </a:cubicBezTo>
                    <a:cubicBezTo>
                      <a:pt x="77" y="66"/>
                      <a:pt x="77" y="66"/>
                      <a:pt x="77" y="66"/>
                    </a:cubicBezTo>
                    <a:cubicBezTo>
                      <a:pt x="78" y="66"/>
                      <a:pt x="79" y="65"/>
                      <a:pt x="80" y="65"/>
                    </a:cubicBezTo>
                    <a:cubicBezTo>
                      <a:pt x="81" y="65"/>
                      <a:pt x="81" y="65"/>
                      <a:pt x="81" y="65"/>
                    </a:cubicBezTo>
                    <a:cubicBezTo>
                      <a:pt x="82" y="65"/>
                      <a:pt x="83" y="65"/>
                      <a:pt x="83" y="6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84" y="64"/>
                      <a:pt x="85" y="65"/>
                      <a:pt x="85" y="65"/>
                    </a:cubicBezTo>
                    <a:cubicBezTo>
                      <a:pt x="85" y="65"/>
                      <a:pt x="85" y="65"/>
                      <a:pt x="85" y="66"/>
                    </a:cubicBezTo>
                    <a:cubicBezTo>
                      <a:pt x="85" y="66"/>
                      <a:pt x="85" y="66"/>
                      <a:pt x="85" y="66"/>
                    </a:cubicBezTo>
                    <a:cubicBezTo>
                      <a:pt x="86" y="67"/>
                      <a:pt x="86" y="67"/>
                      <a:pt x="86" y="67"/>
                    </a:cubicBezTo>
                    <a:cubicBezTo>
                      <a:pt x="87" y="67"/>
                      <a:pt x="88" y="67"/>
                      <a:pt x="89" y="67"/>
                    </a:cubicBezTo>
                    <a:cubicBezTo>
                      <a:pt x="90" y="67"/>
                      <a:pt x="90" y="67"/>
                      <a:pt x="90" y="67"/>
                    </a:cubicBezTo>
                    <a:cubicBezTo>
                      <a:pt x="90" y="66"/>
                      <a:pt x="90" y="66"/>
                      <a:pt x="91" y="66"/>
                    </a:cubicBezTo>
                    <a:cubicBezTo>
                      <a:pt x="91" y="66"/>
                      <a:pt x="91" y="66"/>
                      <a:pt x="91" y="67"/>
                    </a:cubicBezTo>
                    <a:cubicBezTo>
                      <a:pt x="91" y="67"/>
                      <a:pt x="91" y="67"/>
                      <a:pt x="90" y="68"/>
                    </a:cubicBezTo>
                    <a:cubicBezTo>
                      <a:pt x="90" y="68"/>
                      <a:pt x="92" y="69"/>
                      <a:pt x="94" y="70"/>
                    </a:cubicBezTo>
                    <a:cubicBezTo>
                      <a:pt x="94" y="70"/>
                      <a:pt x="94" y="70"/>
                      <a:pt x="95" y="70"/>
                    </a:cubicBezTo>
                    <a:cubicBezTo>
                      <a:pt x="95" y="71"/>
                      <a:pt x="97" y="72"/>
                      <a:pt x="97" y="73"/>
                    </a:cubicBezTo>
                    <a:cubicBezTo>
                      <a:pt x="97" y="71"/>
                      <a:pt x="97" y="71"/>
                      <a:pt x="97" y="71"/>
                    </a:cubicBezTo>
                    <a:cubicBezTo>
                      <a:pt x="97" y="70"/>
                      <a:pt x="97" y="70"/>
                      <a:pt x="97" y="70"/>
                    </a:cubicBezTo>
                    <a:cubicBezTo>
                      <a:pt x="96" y="68"/>
                      <a:pt x="96" y="68"/>
                      <a:pt x="96" y="68"/>
                    </a:cubicBezTo>
                    <a:cubicBezTo>
                      <a:pt x="96" y="68"/>
                      <a:pt x="95" y="67"/>
                      <a:pt x="94" y="67"/>
                    </a:cubicBezTo>
                    <a:cubicBezTo>
                      <a:pt x="95" y="67"/>
                      <a:pt x="96" y="68"/>
                      <a:pt x="96" y="68"/>
                    </a:cubicBezTo>
                    <a:cubicBezTo>
                      <a:pt x="97" y="70"/>
                      <a:pt x="97" y="70"/>
                      <a:pt x="97" y="70"/>
                    </a:cubicBezTo>
                    <a:cubicBezTo>
                      <a:pt x="97" y="71"/>
                      <a:pt x="97" y="71"/>
                      <a:pt x="97" y="71"/>
                    </a:cubicBezTo>
                    <a:cubicBezTo>
                      <a:pt x="97" y="73"/>
                      <a:pt x="97" y="73"/>
                      <a:pt x="97" y="73"/>
                    </a:cubicBezTo>
                    <a:cubicBezTo>
                      <a:pt x="98" y="73"/>
                      <a:pt x="98" y="73"/>
                      <a:pt x="98" y="73"/>
                    </a:cubicBezTo>
                    <a:cubicBezTo>
                      <a:pt x="99" y="74"/>
                      <a:pt x="99" y="74"/>
                      <a:pt x="99" y="74"/>
                    </a:cubicBezTo>
                    <a:cubicBezTo>
                      <a:pt x="100" y="75"/>
                      <a:pt x="103" y="76"/>
                      <a:pt x="105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07" y="78"/>
                      <a:pt x="110" y="79"/>
                      <a:pt x="110" y="80"/>
                    </a:cubicBezTo>
                    <a:cubicBezTo>
                      <a:pt x="111" y="80"/>
                      <a:pt x="112" y="81"/>
                      <a:pt x="112" y="81"/>
                    </a:cubicBezTo>
                    <a:cubicBezTo>
                      <a:pt x="113" y="82"/>
                      <a:pt x="114" y="83"/>
                      <a:pt x="114" y="83"/>
                    </a:cubicBezTo>
                    <a:cubicBezTo>
                      <a:pt x="115" y="84"/>
                      <a:pt x="115" y="85"/>
                      <a:pt x="116" y="85"/>
                    </a:cubicBezTo>
                    <a:cubicBezTo>
                      <a:pt x="116" y="85"/>
                      <a:pt x="117" y="86"/>
                      <a:pt x="117" y="86"/>
                    </a:cubicBezTo>
                    <a:cubicBezTo>
                      <a:pt x="117" y="86"/>
                      <a:pt x="117" y="86"/>
                      <a:pt x="117" y="86"/>
                    </a:cubicBezTo>
                    <a:cubicBezTo>
                      <a:pt x="118" y="86"/>
                      <a:pt x="119" y="88"/>
                      <a:pt x="119" y="88"/>
                    </a:cubicBezTo>
                    <a:cubicBezTo>
                      <a:pt x="119" y="88"/>
                      <a:pt x="119" y="88"/>
                      <a:pt x="119" y="88"/>
                    </a:cubicBezTo>
                    <a:cubicBezTo>
                      <a:pt x="118" y="89"/>
                      <a:pt x="118" y="90"/>
                      <a:pt x="118" y="90"/>
                    </a:cubicBezTo>
                    <a:cubicBezTo>
                      <a:pt x="118" y="91"/>
                      <a:pt x="119" y="91"/>
                      <a:pt x="119" y="91"/>
                    </a:cubicBezTo>
                    <a:cubicBezTo>
                      <a:pt x="119" y="91"/>
                      <a:pt x="120" y="91"/>
                      <a:pt x="121" y="90"/>
                    </a:cubicBezTo>
                    <a:cubicBezTo>
                      <a:pt x="121" y="89"/>
                      <a:pt x="122" y="89"/>
                      <a:pt x="121" y="90"/>
                    </a:cubicBezTo>
                    <a:cubicBezTo>
                      <a:pt x="121" y="90"/>
                      <a:pt x="121" y="91"/>
                      <a:pt x="121" y="92"/>
                    </a:cubicBezTo>
                    <a:cubicBezTo>
                      <a:pt x="120" y="92"/>
                      <a:pt x="120" y="93"/>
                      <a:pt x="121" y="94"/>
                    </a:cubicBezTo>
                    <a:cubicBezTo>
                      <a:pt x="121" y="94"/>
                      <a:pt x="121" y="95"/>
                      <a:pt x="121" y="95"/>
                    </a:cubicBezTo>
                    <a:cubicBezTo>
                      <a:pt x="121" y="95"/>
                      <a:pt x="121" y="96"/>
                      <a:pt x="122" y="96"/>
                    </a:cubicBezTo>
                    <a:cubicBezTo>
                      <a:pt x="122" y="97"/>
                      <a:pt x="123" y="97"/>
                      <a:pt x="123" y="97"/>
                    </a:cubicBezTo>
                    <a:cubicBezTo>
                      <a:pt x="123" y="98"/>
                      <a:pt x="124" y="98"/>
                      <a:pt x="124" y="97"/>
                    </a:cubicBezTo>
                    <a:cubicBezTo>
                      <a:pt x="124" y="97"/>
                      <a:pt x="124" y="97"/>
                      <a:pt x="125" y="96"/>
                    </a:cubicBezTo>
                    <a:cubicBezTo>
                      <a:pt x="125" y="96"/>
                      <a:pt x="126" y="96"/>
                      <a:pt x="125" y="97"/>
                    </a:cubicBezTo>
                    <a:cubicBezTo>
                      <a:pt x="125" y="97"/>
                      <a:pt x="125" y="98"/>
                      <a:pt x="125" y="98"/>
                    </a:cubicBezTo>
                    <a:cubicBezTo>
                      <a:pt x="125" y="98"/>
                      <a:pt x="125" y="99"/>
                      <a:pt x="125" y="99"/>
                    </a:cubicBezTo>
                    <a:cubicBezTo>
                      <a:pt x="126" y="100"/>
                      <a:pt x="126" y="100"/>
                      <a:pt x="126" y="100"/>
                    </a:cubicBezTo>
                    <a:cubicBezTo>
                      <a:pt x="126" y="101"/>
                      <a:pt x="127" y="101"/>
                      <a:pt x="127" y="101"/>
                    </a:cubicBezTo>
                    <a:cubicBezTo>
                      <a:pt x="127" y="101"/>
                      <a:pt x="127" y="101"/>
                      <a:pt x="127" y="101"/>
                    </a:cubicBezTo>
                    <a:cubicBezTo>
                      <a:pt x="127" y="102"/>
                      <a:pt x="127" y="102"/>
                      <a:pt x="127" y="102"/>
                    </a:cubicBezTo>
                    <a:cubicBezTo>
                      <a:pt x="128" y="102"/>
                      <a:pt x="128" y="103"/>
                      <a:pt x="128" y="103"/>
                    </a:cubicBezTo>
                    <a:cubicBezTo>
                      <a:pt x="129" y="104"/>
                      <a:pt x="129" y="104"/>
                      <a:pt x="130" y="103"/>
                    </a:cubicBezTo>
                    <a:cubicBezTo>
                      <a:pt x="130" y="103"/>
                      <a:pt x="130" y="103"/>
                      <a:pt x="130" y="103"/>
                    </a:cubicBezTo>
                    <a:cubicBezTo>
                      <a:pt x="130" y="103"/>
                      <a:pt x="130" y="104"/>
                      <a:pt x="130" y="104"/>
                    </a:cubicBezTo>
                    <a:cubicBezTo>
                      <a:pt x="129" y="105"/>
                      <a:pt x="129" y="105"/>
                      <a:pt x="129" y="105"/>
                    </a:cubicBezTo>
                    <a:cubicBezTo>
                      <a:pt x="129" y="105"/>
                      <a:pt x="128" y="106"/>
                      <a:pt x="128" y="106"/>
                    </a:cubicBezTo>
                    <a:cubicBezTo>
                      <a:pt x="128" y="107"/>
                      <a:pt x="128" y="107"/>
                      <a:pt x="128" y="108"/>
                    </a:cubicBezTo>
                    <a:cubicBezTo>
                      <a:pt x="128" y="108"/>
                      <a:pt x="128" y="108"/>
                      <a:pt x="128" y="108"/>
                    </a:cubicBezTo>
                    <a:cubicBezTo>
                      <a:pt x="128" y="109"/>
                      <a:pt x="128" y="109"/>
                      <a:pt x="128" y="109"/>
                    </a:cubicBezTo>
                    <a:cubicBezTo>
                      <a:pt x="129" y="109"/>
                      <a:pt x="129" y="110"/>
                      <a:pt x="129" y="110"/>
                    </a:cubicBezTo>
                    <a:cubicBezTo>
                      <a:pt x="129" y="110"/>
                      <a:pt x="129" y="110"/>
                      <a:pt x="129" y="110"/>
                    </a:cubicBezTo>
                    <a:cubicBezTo>
                      <a:pt x="129" y="110"/>
                      <a:pt x="129" y="110"/>
                      <a:pt x="129" y="110"/>
                    </a:cubicBezTo>
                    <a:cubicBezTo>
                      <a:pt x="130" y="110"/>
                      <a:pt x="131" y="110"/>
                      <a:pt x="131" y="110"/>
                    </a:cubicBezTo>
                    <a:cubicBezTo>
                      <a:pt x="131" y="110"/>
                      <a:pt x="131" y="110"/>
                      <a:pt x="131" y="110"/>
                    </a:cubicBezTo>
                    <a:cubicBezTo>
                      <a:pt x="131" y="110"/>
                      <a:pt x="131" y="110"/>
                      <a:pt x="131" y="110"/>
                    </a:cubicBezTo>
                    <a:cubicBezTo>
                      <a:pt x="132" y="110"/>
                      <a:pt x="133" y="111"/>
                      <a:pt x="133" y="111"/>
                    </a:cubicBezTo>
                    <a:cubicBezTo>
                      <a:pt x="133" y="111"/>
                      <a:pt x="133" y="112"/>
                      <a:pt x="134" y="112"/>
                    </a:cubicBezTo>
                    <a:cubicBezTo>
                      <a:pt x="134" y="112"/>
                      <a:pt x="134" y="112"/>
                      <a:pt x="134" y="112"/>
                    </a:cubicBezTo>
                    <a:cubicBezTo>
                      <a:pt x="134" y="112"/>
                      <a:pt x="134" y="112"/>
                      <a:pt x="134" y="112"/>
                    </a:cubicBezTo>
                    <a:cubicBezTo>
                      <a:pt x="135" y="112"/>
                      <a:pt x="136" y="112"/>
                      <a:pt x="136" y="112"/>
                    </a:cubicBezTo>
                    <a:cubicBezTo>
                      <a:pt x="136" y="113"/>
                      <a:pt x="137" y="113"/>
                      <a:pt x="137" y="113"/>
                    </a:cubicBezTo>
                    <a:cubicBezTo>
                      <a:pt x="137" y="113"/>
                      <a:pt x="137" y="113"/>
                      <a:pt x="137" y="113"/>
                    </a:cubicBezTo>
                    <a:cubicBezTo>
                      <a:pt x="137" y="113"/>
                      <a:pt x="138" y="113"/>
                      <a:pt x="138" y="113"/>
                    </a:cubicBezTo>
                    <a:cubicBezTo>
                      <a:pt x="138" y="113"/>
                      <a:pt x="138" y="114"/>
                      <a:pt x="138" y="114"/>
                    </a:cubicBezTo>
                    <a:cubicBezTo>
                      <a:pt x="138" y="114"/>
                      <a:pt x="138" y="114"/>
                      <a:pt x="138" y="114"/>
                    </a:cubicBezTo>
                    <a:cubicBezTo>
                      <a:pt x="138" y="114"/>
                      <a:pt x="138" y="115"/>
                      <a:pt x="139" y="115"/>
                    </a:cubicBezTo>
                    <a:cubicBezTo>
                      <a:pt x="139" y="115"/>
                      <a:pt x="140" y="116"/>
                      <a:pt x="140" y="116"/>
                    </a:cubicBezTo>
                    <a:cubicBezTo>
                      <a:pt x="140" y="116"/>
                      <a:pt x="141" y="117"/>
                      <a:pt x="141" y="118"/>
                    </a:cubicBezTo>
                    <a:cubicBezTo>
                      <a:pt x="142" y="118"/>
                      <a:pt x="142" y="118"/>
                      <a:pt x="142" y="118"/>
                    </a:cubicBezTo>
                    <a:cubicBezTo>
                      <a:pt x="142" y="117"/>
                      <a:pt x="142" y="117"/>
                      <a:pt x="142" y="117"/>
                    </a:cubicBezTo>
                    <a:cubicBezTo>
                      <a:pt x="142" y="117"/>
                      <a:pt x="142" y="117"/>
                      <a:pt x="143" y="117"/>
                    </a:cubicBezTo>
                    <a:cubicBezTo>
                      <a:pt x="143" y="116"/>
                      <a:pt x="143" y="117"/>
                      <a:pt x="143" y="117"/>
                    </a:cubicBezTo>
                    <a:cubicBezTo>
                      <a:pt x="143" y="118"/>
                      <a:pt x="143" y="118"/>
                      <a:pt x="143" y="118"/>
                    </a:cubicBezTo>
                    <a:cubicBezTo>
                      <a:pt x="144" y="118"/>
                      <a:pt x="143" y="118"/>
                      <a:pt x="143" y="118"/>
                    </a:cubicBezTo>
                    <a:cubicBezTo>
                      <a:pt x="143" y="118"/>
                      <a:pt x="143" y="118"/>
                      <a:pt x="143" y="118"/>
                    </a:cubicBezTo>
                    <a:cubicBezTo>
                      <a:pt x="143" y="119"/>
                      <a:pt x="144" y="119"/>
                      <a:pt x="144" y="119"/>
                    </a:cubicBezTo>
                    <a:cubicBezTo>
                      <a:pt x="144" y="119"/>
                      <a:pt x="144" y="119"/>
                      <a:pt x="144" y="119"/>
                    </a:cubicBezTo>
                    <a:cubicBezTo>
                      <a:pt x="165" y="119"/>
                      <a:pt x="165" y="119"/>
                      <a:pt x="165" y="119"/>
                    </a:cubicBezTo>
                    <a:cubicBezTo>
                      <a:pt x="192" y="119"/>
                      <a:pt x="192" y="119"/>
                      <a:pt x="192" y="119"/>
                    </a:cubicBezTo>
                    <a:cubicBezTo>
                      <a:pt x="232" y="119"/>
                      <a:pt x="232" y="119"/>
                      <a:pt x="232" y="119"/>
                    </a:cubicBezTo>
                    <a:cubicBezTo>
                      <a:pt x="232" y="118"/>
                      <a:pt x="232" y="118"/>
                      <a:pt x="232" y="118"/>
                    </a:cubicBezTo>
                    <a:cubicBezTo>
                      <a:pt x="232" y="118"/>
                      <a:pt x="232" y="118"/>
                      <a:pt x="232" y="118"/>
                    </a:cubicBezTo>
                    <a:cubicBezTo>
                      <a:pt x="232" y="119"/>
                      <a:pt x="232" y="119"/>
                      <a:pt x="232" y="119"/>
                    </a:cubicBezTo>
                    <a:cubicBezTo>
                      <a:pt x="208" y="119"/>
                      <a:pt x="208" y="119"/>
                      <a:pt x="208" y="119"/>
                    </a:cubicBezTo>
                    <a:cubicBezTo>
                      <a:pt x="192" y="119"/>
                      <a:pt x="192" y="119"/>
                      <a:pt x="192" y="119"/>
                    </a:cubicBezTo>
                    <a:cubicBezTo>
                      <a:pt x="165" y="119"/>
                      <a:pt x="165" y="119"/>
                      <a:pt x="165" y="119"/>
                    </a:cubicBezTo>
                    <a:cubicBezTo>
                      <a:pt x="144" y="119"/>
                      <a:pt x="144" y="119"/>
                      <a:pt x="144" y="119"/>
                    </a:cubicBezTo>
                    <a:cubicBezTo>
                      <a:pt x="144" y="120"/>
                      <a:pt x="145" y="120"/>
                      <a:pt x="145" y="121"/>
                    </a:cubicBezTo>
                    <a:cubicBezTo>
                      <a:pt x="145" y="121"/>
                      <a:pt x="145" y="122"/>
                      <a:pt x="145" y="123"/>
                    </a:cubicBezTo>
                    <a:cubicBezTo>
                      <a:pt x="145" y="123"/>
                      <a:pt x="145" y="123"/>
                      <a:pt x="145" y="123"/>
                    </a:cubicBezTo>
                    <a:cubicBezTo>
                      <a:pt x="146" y="123"/>
                      <a:pt x="146" y="124"/>
                      <a:pt x="146" y="124"/>
                    </a:cubicBezTo>
                    <a:cubicBezTo>
                      <a:pt x="146" y="125"/>
                      <a:pt x="146" y="125"/>
                      <a:pt x="146" y="125"/>
                    </a:cubicBezTo>
                    <a:cubicBezTo>
                      <a:pt x="146" y="126"/>
                      <a:pt x="146" y="126"/>
                      <a:pt x="145" y="126"/>
                    </a:cubicBezTo>
                    <a:cubicBezTo>
                      <a:pt x="145" y="127"/>
                      <a:pt x="145" y="127"/>
                      <a:pt x="145" y="127"/>
                    </a:cubicBezTo>
                    <a:cubicBezTo>
                      <a:pt x="145" y="127"/>
                      <a:pt x="145" y="127"/>
                      <a:pt x="145" y="127"/>
                    </a:cubicBezTo>
                    <a:cubicBezTo>
                      <a:pt x="145" y="126"/>
                      <a:pt x="145" y="126"/>
                      <a:pt x="145" y="126"/>
                    </a:cubicBezTo>
                    <a:cubicBezTo>
                      <a:pt x="145" y="126"/>
                      <a:pt x="145" y="125"/>
                      <a:pt x="145" y="125"/>
                    </a:cubicBezTo>
                    <a:cubicBezTo>
                      <a:pt x="145" y="125"/>
                      <a:pt x="145" y="125"/>
                      <a:pt x="145" y="125"/>
                    </a:cubicBezTo>
                    <a:cubicBezTo>
                      <a:pt x="145" y="125"/>
                      <a:pt x="145" y="124"/>
                      <a:pt x="145" y="124"/>
                    </a:cubicBezTo>
                    <a:cubicBezTo>
                      <a:pt x="144" y="124"/>
                      <a:pt x="144" y="124"/>
                      <a:pt x="144" y="124"/>
                    </a:cubicBezTo>
                    <a:cubicBezTo>
                      <a:pt x="143" y="124"/>
                      <a:pt x="142" y="124"/>
                      <a:pt x="141" y="123"/>
                    </a:cubicBezTo>
                    <a:cubicBezTo>
                      <a:pt x="141" y="123"/>
                      <a:pt x="141" y="123"/>
                      <a:pt x="141" y="123"/>
                    </a:cubicBezTo>
                    <a:cubicBezTo>
                      <a:pt x="141" y="123"/>
                      <a:pt x="141" y="123"/>
                      <a:pt x="141" y="123"/>
                    </a:cubicBezTo>
                    <a:cubicBezTo>
                      <a:pt x="140" y="123"/>
                      <a:pt x="138" y="123"/>
                      <a:pt x="138" y="123"/>
                    </a:cubicBezTo>
                    <a:cubicBezTo>
                      <a:pt x="138" y="123"/>
                      <a:pt x="138" y="123"/>
                      <a:pt x="138" y="123"/>
                    </a:cubicBezTo>
                    <a:cubicBezTo>
                      <a:pt x="138" y="123"/>
                      <a:pt x="138" y="123"/>
                      <a:pt x="138" y="123"/>
                    </a:cubicBezTo>
                    <a:cubicBezTo>
                      <a:pt x="138" y="124"/>
                      <a:pt x="138" y="124"/>
                      <a:pt x="138" y="124"/>
                    </a:cubicBezTo>
                    <a:cubicBezTo>
                      <a:pt x="139" y="126"/>
                      <a:pt x="139" y="126"/>
                      <a:pt x="139" y="126"/>
                    </a:cubicBezTo>
                    <a:cubicBezTo>
                      <a:pt x="140" y="127"/>
                      <a:pt x="140" y="128"/>
                      <a:pt x="140" y="128"/>
                    </a:cubicBezTo>
                    <a:cubicBezTo>
                      <a:pt x="140" y="128"/>
                      <a:pt x="140" y="128"/>
                      <a:pt x="140" y="128"/>
                    </a:cubicBezTo>
                    <a:cubicBezTo>
                      <a:pt x="140" y="129"/>
                      <a:pt x="140" y="129"/>
                      <a:pt x="140" y="130"/>
                    </a:cubicBezTo>
                    <a:cubicBezTo>
                      <a:pt x="141" y="130"/>
                      <a:pt x="141" y="130"/>
                      <a:pt x="140" y="130"/>
                    </a:cubicBezTo>
                    <a:cubicBezTo>
                      <a:pt x="140" y="130"/>
                      <a:pt x="140" y="131"/>
                      <a:pt x="140" y="131"/>
                    </a:cubicBezTo>
                    <a:cubicBezTo>
                      <a:pt x="140" y="131"/>
                      <a:pt x="141" y="132"/>
                      <a:pt x="141" y="132"/>
                    </a:cubicBezTo>
                    <a:cubicBezTo>
                      <a:pt x="141" y="132"/>
                      <a:pt x="141" y="132"/>
                      <a:pt x="141" y="132"/>
                    </a:cubicBezTo>
                    <a:cubicBezTo>
                      <a:pt x="141" y="132"/>
                      <a:pt x="140" y="133"/>
                      <a:pt x="141" y="133"/>
                    </a:cubicBezTo>
                    <a:cubicBezTo>
                      <a:pt x="141" y="133"/>
                      <a:pt x="141" y="133"/>
                      <a:pt x="141" y="133"/>
                    </a:cubicBezTo>
                    <a:cubicBezTo>
                      <a:pt x="141" y="133"/>
                      <a:pt x="141" y="134"/>
                      <a:pt x="141" y="135"/>
                    </a:cubicBezTo>
                    <a:cubicBezTo>
                      <a:pt x="141" y="136"/>
                      <a:pt x="140" y="138"/>
                      <a:pt x="140" y="139"/>
                    </a:cubicBezTo>
                    <a:cubicBezTo>
                      <a:pt x="140" y="140"/>
                      <a:pt x="140" y="142"/>
                      <a:pt x="140" y="142"/>
                    </a:cubicBezTo>
                    <a:cubicBezTo>
                      <a:pt x="140" y="143"/>
                      <a:pt x="139" y="147"/>
                      <a:pt x="139" y="147"/>
                    </a:cubicBezTo>
                    <a:cubicBezTo>
                      <a:pt x="139" y="147"/>
                      <a:pt x="139" y="147"/>
                      <a:pt x="139" y="147"/>
                    </a:cubicBezTo>
                    <a:cubicBezTo>
                      <a:pt x="139" y="147"/>
                      <a:pt x="139" y="148"/>
                      <a:pt x="139" y="148"/>
                    </a:cubicBezTo>
                    <a:cubicBezTo>
                      <a:pt x="139" y="149"/>
                      <a:pt x="139" y="149"/>
                      <a:pt x="139" y="149"/>
                    </a:cubicBezTo>
                    <a:cubicBezTo>
                      <a:pt x="139" y="149"/>
                      <a:pt x="139" y="150"/>
                      <a:pt x="139" y="150"/>
                    </a:cubicBezTo>
                    <a:cubicBezTo>
                      <a:pt x="139" y="150"/>
                      <a:pt x="140" y="152"/>
                      <a:pt x="140" y="152"/>
                    </a:cubicBezTo>
                    <a:cubicBezTo>
                      <a:pt x="140" y="152"/>
                      <a:pt x="140" y="154"/>
                      <a:pt x="140" y="154"/>
                    </a:cubicBezTo>
                    <a:cubicBezTo>
                      <a:pt x="140" y="154"/>
                      <a:pt x="140" y="154"/>
                      <a:pt x="140" y="155"/>
                    </a:cubicBezTo>
                    <a:cubicBezTo>
                      <a:pt x="140" y="156"/>
                      <a:pt x="140" y="156"/>
                      <a:pt x="139" y="157"/>
                    </a:cubicBezTo>
                    <a:cubicBezTo>
                      <a:pt x="139" y="157"/>
                      <a:pt x="139" y="158"/>
                      <a:pt x="139" y="158"/>
                    </a:cubicBezTo>
                    <a:cubicBezTo>
                      <a:pt x="139" y="159"/>
                      <a:pt x="139" y="159"/>
                      <a:pt x="140" y="159"/>
                    </a:cubicBezTo>
                    <a:cubicBezTo>
                      <a:pt x="140" y="159"/>
                      <a:pt x="140" y="160"/>
                      <a:pt x="141" y="160"/>
                    </a:cubicBezTo>
                    <a:cubicBezTo>
                      <a:pt x="141" y="160"/>
                      <a:pt x="141" y="161"/>
                      <a:pt x="141" y="162"/>
                    </a:cubicBezTo>
                    <a:cubicBezTo>
                      <a:pt x="141" y="163"/>
                      <a:pt x="141" y="162"/>
                      <a:pt x="141" y="162"/>
                    </a:cubicBezTo>
                    <a:cubicBezTo>
                      <a:pt x="141" y="163"/>
                      <a:pt x="141" y="163"/>
                      <a:pt x="141" y="164"/>
                    </a:cubicBezTo>
                    <a:cubicBezTo>
                      <a:pt x="141" y="164"/>
                      <a:pt x="141" y="165"/>
                      <a:pt x="141" y="165"/>
                    </a:cubicBezTo>
                    <a:cubicBezTo>
                      <a:pt x="141" y="165"/>
                      <a:pt x="142" y="166"/>
                      <a:pt x="142" y="166"/>
                    </a:cubicBezTo>
                    <a:cubicBezTo>
                      <a:pt x="143" y="166"/>
                      <a:pt x="143" y="166"/>
                      <a:pt x="143" y="166"/>
                    </a:cubicBezTo>
                    <a:cubicBezTo>
                      <a:pt x="143" y="167"/>
                      <a:pt x="143" y="168"/>
                      <a:pt x="144" y="168"/>
                    </a:cubicBezTo>
                    <a:cubicBezTo>
                      <a:pt x="144" y="168"/>
                      <a:pt x="144" y="169"/>
                      <a:pt x="145" y="169"/>
                    </a:cubicBezTo>
                    <a:cubicBezTo>
                      <a:pt x="145" y="169"/>
                      <a:pt x="145" y="169"/>
                      <a:pt x="145" y="169"/>
                    </a:cubicBezTo>
                    <a:cubicBezTo>
                      <a:pt x="145" y="169"/>
                      <a:pt x="145" y="169"/>
                      <a:pt x="145" y="169"/>
                    </a:cubicBezTo>
                    <a:cubicBezTo>
                      <a:pt x="145" y="169"/>
                      <a:pt x="145" y="169"/>
                      <a:pt x="145" y="169"/>
                    </a:cubicBezTo>
                    <a:cubicBezTo>
                      <a:pt x="145" y="169"/>
                      <a:pt x="145" y="168"/>
                      <a:pt x="145" y="168"/>
                    </a:cubicBezTo>
                    <a:cubicBezTo>
                      <a:pt x="145" y="168"/>
                      <a:pt x="145" y="168"/>
                      <a:pt x="146" y="168"/>
                    </a:cubicBezTo>
                    <a:cubicBezTo>
                      <a:pt x="146" y="168"/>
                      <a:pt x="146" y="169"/>
                      <a:pt x="146" y="169"/>
                    </a:cubicBezTo>
                    <a:cubicBezTo>
                      <a:pt x="146" y="169"/>
                      <a:pt x="146" y="169"/>
                      <a:pt x="146" y="169"/>
                    </a:cubicBezTo>
                    <a:cubicBezTo>
                      <a:pt x="146" y="169"/>
                      <a:pt x="146" y="169"/>
                      <a:pt x="146" y="169"/>
                    </a:cubicBezTo>
                    <a:cubicBezTo>
                      <a:pt x="146" y="170"/>
                      <a:pt x="146" y="170"/>
                      <a:pt x="146" y="170"/>
                    </a:cubicBezTo>
                    <a:cubicBezTo>
                      <a:pt x="146" y="170"/>
                      <a:pt x="146" y="171"/>
                      <a:pt x="146" y="171"/>
                    </a:cubicBezTo>
                    <a:cubicBezTo>
                      <a:pt x="146" y="171"/>
                      <a:pt x="146" y="171"/>
                      <a:pt x="146" y="171"/>
                    </a:cubicBezTo>
                    <a:cubicBezTo>
                      <a:pt x="146" y="170"/>
                      <a:pt x="146" y="170"/>
                      <a:pt x="145" y="170"/>
                    </a:cubicBezTo>
                    <a:cubicBezTo>
                      <a:pt x="145" y="170"/>
                      <a:pt x="145" y="170"/>
                      <a:pt x="145" y="171"/>
                    </a:cubicBezTo>
                    <a:cubicBezTo>
                      <a:pt x="145" y="171"/>
                      <a:pt x="145" y="171"/>
                      <a:pt x="146" y="172"/>
                    </a:cubicBezTo>
                    <a:cubicBezTo>
                      <a:pt x="146" y="173"/>
                      <a:pt x="146" y="173"/>
                      <a:pt x="147" y="173"/>
                    </a:cubicBezTo>
                    <a:cubicBezTo>
                      <a:pt x="147" y="173"/>
                      <a:pt x="147" y="173"/>
                      <a:pt x="147" y="173"/>
                    </a:cubicBezTo>
                    <a:cubicBezTo>
                      <a:pt x="147" y="173"/>
                      <a:pt x="148" y="174"/>
                      <a:pt x="148" y="174"/>
                    </a:cubicBezTo>
                    <a:cubicBezTo>
                      <a:pt x="148" y="175"/>
                      <a:pt x="147" y="175"/>
                      <a:pt x="147" y="175"/>
                    </a:cubicBezTo>
                    <a:cubicBezTo>
                      <a:pt x="147" y="175"/>
                      <a:pt x="147" y="176"/>
                      <a:pt x="147" y="176"/>
                    </a:cubicBezTo>
                    <a:cubicBezTo>
                      <a:pt x="148" y="176"/>
                      <a:pt x="149" y="178"/>
                      <a:pt x="149" y="178"/>
                    </a:cubicBezTo>
                    <a:cubicBezTo>
                      <a:pt x="149" y="178"/>
                      <a:pt x="149" y="179"/>
                      <a:pt x="150" y="179"/>
                    </a:cubicBezTo>
                    <a:cubicBezTo>
                      <a:pt x="150" y="180"/>
                      <a:pt x="150" y="180"/>
                      <a:pt x="150" y="180"/>
                    </a:cubicBezTo>
                    <a:cubicBezTo>
                      <a:pt x="151" y="181"/>
                      <a:pt x="151" y="181"/>
                      <a:pt x="151" y="181"/>
                    </a:cubicBezTo>
                    <a:cubicBezTo>
                      <a:pt x="151" y="181"/>
                      <a:pt x="151" y="181"/>
                      <a:pt x="151" y="182"/>
                    </a:cubicBezTo>
                    <a:cubicBezTo>
                      <a:pt x="151" y="182"/>
                      <a:pt x="151" y="182"/>
                      <a:pt x="151" y="182"/>
                    </a:cubicBezTo>
                    <a:cubicBezTo>
                      <a:pt x="151" y="183"/>
                      <a:pt x="151" y="183"/>
                      <a:pt x="151" y="183"/>
                    </a:cubicBezTo>
                    <a:cubicBezTo>
                      <a:pt x="151" y="184"/>
                      <a:pt x="152" y="184"/>
                      <a:pt x="152" y="184"/>
                    </a:cubicBezTo>
                    <a:cubicBezTo>
                      <a:pt x="152" y="184"/>
                      <a:pt x="152" y="184"/>
                      <a:pt x="153" y="184"/>
                    </a:cubicBezTo>
                    <a:cubicBezTo>
                      <a:pt x="153" y="184"/>
                      <a:pt x="153" y="184"/>
                      <a:pt x="153" y="184"/>
                    </a:cubicBezTo>
                    <a:cubicBezTo>
                      <a:pt x="154" y="184"/>
                      <a:pt x="155" y="184"/>
                      <a:pt x="155" y="185"/>
                    </a:cubicBezTo>
                    <a:cubicBezTo>
                      <a:pt x="156" y="185"/>
                      <a:pt x="156" y="185"/>
                      <a:pt x="156" y="185"/>
                    </a:cubicBezTo>
                    <a:cubicBezTo>
                      <a:pt x="157" y="186"/>
                      <a:pt x="157" y="186"/>
                      <a:pt x="157" y="186"/>
                    </a:cubicBezTo>
                    <a:cubicBezTo>
                      <a:pt x="157" y="186"/>
                      <a:pt x="158" y="186"/>
                      <a:pt x="158" y="186"/>
                    </a:cubicBezTo>
                    <a:cubicBezTo>
                      <a:pt x="159" y="186"/>
                      <a:pt x="159" y="186"/>
                      <a:pt x="159" y="186"/>
                    </a:cubicBezTo>
                    <a:cubicBezTo>
                      <a:pt x="158" y="186"/>
                      <a:pt x="159" y="187"/>
                      <a:pt x="159" y="187"/>
                    </a:cubicBezTo>
                    <a:cubicBezTo>
                      <a:pt x="159" y="187"/>
                      <a:pt x="159" y="187"/>
                      <a:pt x="159" y="187"/>
                    </a:cubicBezTo>
                    <a:cubicBezTo>
                      <a:pt x="160" y="187"/>
                      <a:pt x="161" y="188"/>
                      <a:pt x="161" y="189"/>
                    </a:cubicBezTo>
                    <a:cubicBezTo>
                      <a:pt x="162" y="189"/>
                      <a:pt x="162" y="191"/>
                      <a:pt x="163" y="192"/>
                    </a:cubicBezTo>
                    <a:cubicBezTo>
                      <a:pt x="170" y="192"/>
                      <a:pt x="170" y="192"/>
                      <a:pt x="170" y="192"/>
                    </a:cubicBezTo>
                    <a:cubicBezTo>
                      <a:pt x="170" y="192"/>
                      <a:pt x="170" y="192"/>
                      <a:pt x="170" y="192"/>
                    </a:cubicBezTo>
                    <a:cubicBezTo>
                      <a:pt x="179" y="196"/>
                      <a:pt x="179" y="196"/>
                      <a:pt x="179" y="196"/>
                    </a:cubicBezTo>
                    <a:cubicBezTo>
                      <a:pt x="170" y="192"/>
                      <a:pt x="170" y="192"/>
                      <a:pt x="170" y="192"/>
                    </a:cubicBezTo>
                    <a:cubicBezTo>
                      <a:pt x="170" y="192"/>
                      <a:pt x="170" y="192"/>
                      <a:pt x="170" y="192"/>
                    </a:cubicBezTo>
                    <a:cubicBezTo>
                      <a:pt x="163" y="192"/>
                      <a:pt x="163" y="192"/>
                      <a:pt x="163" y="192"/>
                    </a:cubicBezTo>
                    <a:cubicBezTo>
                      <a:pt x="163" y="192"/>
                      <a:pt x="163" y="193"/>
                      <a:pt x="163" y="193"/>
                    </a:cubicBezTo>
                    <a:cubicBezTo>
                      <a:pt x="163" y="194"/>
                      <a:pt x="163" y="194"/>
                      <a:pt x="164" y="194"/>
                    </a:cubicBezTo>
                    <a:cubicBezTo>
                      <a:pt x="164" y="195"/>
                      <a:pt x="164" y="195"/>
                      <a:pt x="164" y="196"/>
                    </a:cubicBezTo>
                    <a:cubicBezTo>
                      <a:pt x="164" y="196"/>
                      <a:pt x="165" y="198"/>
                      <a:pt x="165" y="198"/>
                    </a:cubicBezTo>
                    <a:cubicBezTo>
                      <a:pt x="165" y="199"/>
                      <a:pt x="166" y="199"/>
                      <a:pt x="166" y="200"/>
                    </a:cubicBezTo>
                    <a:cubicBezTo>
                      <a:pt x="166" y="200"/>
                      <a:pt x="166" y="200"/>
                      <a:pt x="166" y="201"/>
                    </a:cubicBezTo>
                    <a:cubicBezTo>
                      <a:pt x="166" y="201"/>
                      <a:pt x="166" y="201"/>
                      <a:pt x="166" y="201"/>
                    </a:cubicBezTo>
                    <a:cubicBezTo>
                      <a:pt x="167" y="202"/>
                      <a:pt x="166" y="201"/>
                      <a:pt x="167" y="202"/>
                    </a:cubicBezTo>
                    <a:cubicBezTo>
                      <a:pt x="167" y="203"/>
                      <a:pt x="167" y="204"/>
                      <a:pt x="168" y="204"/>
                    </a:cubicBezTo>
                    <a:cubicBezTo>
                      <a:pt x="169" y="205"/>
                      <a:pt x="169" y="205"/>
                      <a:pt x="169" y="205"/>
                    </a:cubicBezTo>
                    <a:cubicBezTo>
                      <a:pt x="170" y="205"/>
                      <a:pt x="170" y="206"/>
                      <a:pt x="170" y="206"/>
                    </a:cubicBezTo>
                    <a:cubicBezTo>
                      <a:pt x="170" y="207"/>
                      <a:pt x="171" y="208"/>
                      <a:pt x="172" y="208"/>
                    </a:cubicBezTo>
                    <a:cubicBezTo>
                      <a:pt x="172" y="208"/>
                      <a:pt x="172" y="208"/>
                      <a:pt x="172" y="209"/>
                    </a:cubicBezTo>
                    <a:cubicBezTo>
                      <a:pt x="172" y="209"/>
                      <a:pt x="172" y="209"/>
                      <a:pt x="172" y="210"/>
                    </a:cubicBezTo>
                    <a:cubicBezTo>
                      <a:pt x="172" y="210"/>
                      <a:pt x="172" y="210"/>
                      <a:pt x="172" y="211"/>
                    </a:cubicBezTo>
                    <a:cubicBezTo>
                      <a:pt x="172" y="211"/>
                      <a:pt x="172" y="211"/>
                      <a:pt x="172" y="211"/>
                    </a:cubicBezTo>
                    <a:cubicBezTo>
                      <a:pt x="172" y="211"/>
                      <a:pt x="171" y="211"/>
                      <a:pt x="171" y="211"/>
                    </a:cubicBezTo>
                    <a:cubicBezTo>
                      <a:pt x="171" y="211"/>
                      <a:pt x="170" y="212"/>
                      <a:pt x="170" y="211"/>
                    </a:cubicBezTo>
                    <a:cubicBezTo>
                      <a:pt x="169" y="211"/>
                      <a:pt x="169" y="211"/>
                      <a:pt x="169" y="212"/>
                    </a:cubicBezTo>
                    <a:cubicBezTo>
                      <a:pt x="169" y="212"/>
                      <a:pt x="170" y="212"/>
                      <a:pt x="170" y="213"/>
                    </a:cubicBezTo>
                    <a:cubicBezTo>
                      <a:pt x="171" y="213"/>
                      <a:pt x="170" y="214"/>
                      <a:pt x="171" y="214"/>
                    </a:cubicBezTo>
                    <a:cubicBezTo>
                      <a:pt x="172" y="214"/>
                      <a:pt x="172" y="214"/>
                      <a:pt x="172" y="214"/>
                    </a:cubicBezTo>
                    <a:cubicBezTo>
                      <a:pt x="172" y="215"/>
                      <a:pt x="172" y="215"/>
                      <a:pt x="173" y="215"/>
                    </a:cubicBezTo>
                    <a:cubicBezTo>
                      <a:pt x="173" y="215"/>
                      <a:pt x="173" y="215"/>
                      <a:pt x="173" y="215"/>
                    </a:cubicBezTo>
                    <a:cubicBezTo>
                      <a:pt x="173" y="215"/>
                      <a:pt x="173" y="215"/>
                      <a:pt x="173" y="216"/>
                    </a:cubicBezTo>
                    <a:cubicBezTo>
                      <a:pt x="173" y="216"/>
                      <a:pt x="173" y="216"/>
                      <a:pt x="173" y="216"/>
                    </a:cubicBezTo>
                    <a:cubicBezTo>
                      <a:pt x="174" y="216"/>
                      <a:pt x="174" y="216"/>
                      <a:pt x="174" y="216"/>
                    </a:cubicBezTo>
                    <a:cubicBezTo>
                      <a:pt x="174" y="216"/>
                      <a:pt x="174" y="216"/>
                      <a:pt x="174" y="216"/>
                    </a:cubicBezTo>
                    <a:cubicBezTo>
                      <a:pt x="174" y="216"/>
                      <a:pt x="174" y="216"/>
                      <a:pt x="175" y="216"/>
                    </a:cubicBezTo>
                    <a:cubicBezTo>
                      <a:pt x="175" y="216"/>
                      <a:pt x="175" y="216"/>
                      <a:pt x="175" y="216"/>
                    </a:cubicBezTo>
                    <a:cubicBezTo>
                      <a:pt x="175" y="216"/>
                      <a:pt x="175" y="216"/>
                      <a:pt x="175" y="216"/>
                    </a:cubicBezTo>
                    <a:cubicBezTo>
                      <a:pt x="175" y="216"/>
                      <a:pt x="176" y="217"/>
                      <a:pt x="177" y="218"/>
                    </a:cubicBezTo>
                    <a:cubicBezTo>
                      <a:pt x="177" y="218"/>
                      <a:pt x="177" y="218"/>
                      <a:pt x="178" y="219"/>
                    </a:cubicBezTo>
                    <a:cubicBezTo>
                      <a:pt x="179" y="220"/>
                      <a:pt x="178" y="221"/>
                      <a:pt x="178" y="222"/>
                    </a:cubicBezTo>
                    <a:cubicBezTo>
                      <a:pt x="178" y="223"/>
                      <a:pt x="178" y="223"/>
                      <a:pt x="178" y="223"/>
                    </a:cubicBezTo>
                    <a:cubicBezTo>
                      <a:pt x="178" y="224"/>
                      <a:pt x="179" y="224"/>
                      <a:pt x="179" y="224"/>
                    </a:cubicBezTo>
                    <a:cubicBezTo>
                      <a:pt x="179" y="224"/>
                      <a:pt x="179" y="224"/>
                      <a:pt x="179" y="225"/>
                    </a:cubicBezTo>
                    <a:cubicBezTo>
                      <a:pt x="179" y="225"/>
                      <a:pt x="179" y="225"/>
                      <a:pt x="179" y="225"/>
                    </a:cubicBezTo>
                    <a:cubicBezTo>
                      <a:pt x="180" y="225"/>
                      <a:pt x="180" y="225"/>
                      <a:pt x="180" y="225"/>
                    </a:cubicBezTo>
                    <a:cubicBezTo>
                      <a:pt x="180" y="225"/>
                      <a:pt x="180" y="226"/>
                      <a:pt x="181" y="226"/>
                    </a:cubicBezTo>
                    <a:cubicBezTo>
                      <a:pt x="181" y="227"/>
                      <a:pt x="182" y="227"/>
                      <a:pt x="183" y="228"/>
                    </a:cubicBezTo>
                    <a:cubicBezTo>
                      <a:pt x="183" y="228"/>
                      <a:pt x="183" y="228"/>
                      <a:pt x="184" y="228"/>
                    </a:cubicBezTo>
                    <a:cubicBezTo>
                      <a:pt x="184" y="229"/>
                      <a:pt x="184" y="229"/>
                      <a:pt x="184" y="230"/>
                    </a:cubicBezTo>
                    <a:cubicBezTo>
                      <a:pt x="185" y="230"/>
                      <a:pt x="185" y="231"/>
                      <a:pt x="185" y="231"/>
                    </a:cubicBezTo>
                    <a:cubicBezTo>
                      <a:pt x="185" y="232"/>
                      <a:pt x="185" y="232"/>
                      <a:pt x="186" y="232"/>
                    </a:cubicBezTo>
                    <a:cubicBezTo>
                      <a:pt x="186" y="231"/>
                      <a:pt x="186" y="231"/>
                      <a:pt x="186" y="231"/>
                    </a:cubicBezTo>
                    <a:cubicBezTo>
                      <a:pt x="186" y="231"/>
                      <a:pt x="187" y="230"/>
                      <a:pt x="187" y="230"/>
                    </a:cubicBezTo>
                    <a:cubicBezTo>
                      <a:pt x="187" y="230"/>
                      <a:pt x="187" y="229"/>
                      <a:pt x="187" y="229"/>
                    </a:cubicBezTo>
                    <a:cubicBezTo>
                      <a:pt x="187" y="229"/>
                      <a:pt x="187" y="229"/>
                      <a:pt x="187" y="229"/>
                    </a:cubicBezTo>
                    <a:cubicBezTo>
                      <a:pt x="187" y="229"/>
                      <a:pt x="186" y="229"/>
                      <a:pt x="186" y="228"/>
                    </a:cubicBezTo>
                    <a:cubicBezTo>
                      <a:pt x="186" y="228"/>
                      <a:pt x="186" y="228"/>
                      <a:pt x="186" y="227"/>
                    </a:cubicBezTo>
                    <a:cubicBezTo>
                      <a:pt x="186" y="227"/>
                      <a:pt x="186" y="227"/>
                      <a:pt x="186" y="227"/>
                    </a:cubicBezTo>
                    <a:cubicBezTo>
                      <a:pt x="185" y="227"/>
                      <a:pt x="185" y="227"/>
                      <a:pt x="185" y="227"/>
                    </a:cubicBezTo>
                    <a:cubicBezTo>
                      <a:pt x="185" y="226"/>
                      <a:pt x="185" y="226"/>
                      <a:pt x="185" y="226"/>
                    </a:cubicBezTo>
                    <a:cubicBezTo>
                      <a:pt x="185" y="226"/>
                      <a:pt x="184" y="226"/>
                      <a:pt x="184" y="226"/>
                    </a:cubicBezTo>
                    <a:cubicBezTo>
                      <a:pt x="184" y="226"/>
                      <a:pt x="184" y="226"/>
                      <a:pt x="184" y="226"/>
                    </a:cubicBezTo>
                    <a:cubicBezTo>
                      <a:pt x="184" y="226"/>
                      <a:pt x="184" y="226"/>
                      <a:pt x="184" y="226"/>
                    </a:cubicBezTo>
                    <a:cubicBezTo>
                      <a:pt x="184" y="226"/>
                      <a:pt x="184" y="226"/>
                      <a:pt x="183" y="225"/>
                    </a:cubicBezTo>
                    <a:cubicBezTo>
                      <a:pt x="182" y="224"/>
                      <a:pt x="183" y="225"/>
                      <a:pt x="183" y="224"/>
                    </a:cubicBezTo>
                    <a:cubicBezTo>
                      <a:pt x="183" y="224"/>
                      <a:pt x="183" y="223"/>
                      <a:pt x="182" y="222"/>
                    </a:cubicBezTo>
                    <a:cubicBezTo>
                      <a:pt x="182" y="221"/>
                      <a:pt x="182" y="222"/>
                      <a:pt x="182" y="221"/>
                    </a:cubicBezTo>
                    <a:cubicBezTo>
                      <a:pt x="182" y="220"/>
                      <a:pt x="182" y="221"/>
                      <a:pt x="181" y="220"/>
                    </a:cubicBezTo>
                    <a:cubicBezTo>
                      <a:pt x="181" y="220"/>
                      <a:pt x="181" y="219"/>
                      <a:pt x="181" y="218"/>
                    </a:cubicBezTo>
                    <a:cubicBezTo>
                      <a:pt x="181" y="218"/>
                      <a:pt x="181" y="218"/>
                      <a:pt x="181" y="217"/>
                    </a:cubicBezTo>
                    <a:cubicBezTo>
                      <a:pt x="180" y="217"/>
                      <a:pt x="181" y="216"/>
                      <a:pt x="181" y="216"/>
                    </a:cubicBezTo>
                    <a:cubicBezTo>
                      <a:pt x="181" y="216"/>
                      <a:pt x="180" y="216"/>
                      <a:pt x="180" y="216"/>
                    </a:cubicBezTo>
                    <a:cubicBezTo>
                      <a:pt x="180" y="215"/>
                      <a:pt x="180" y="215"/>
                      <a:pt x="180" y="216"/>
                    </a:cubicBezTo>
                    <a:cubicBezTo>
                      <a:pt x="179" y="216"/>
                      <a:pt x="180" y="216"/>
                      <a:pt x="180" y="216"/>
                    </a:cubicBezTo>
                    <a:cubicBezTo>
                      <a:pt x="180" y="216"/>
                      <a:pt x="180" y="217"/>
                      <a:pt x="179" y="216"/>
                    </a:cubicBezTo>
                    <a:cubicBezTo>
                      <a:pt x="179" y="215"/>
                      <a:pt x="179" y="215"/>
                      <a:pt x="179" y="215"/>
                    </a:cubicBezTo>
                    <a:cubicBezTo>
                      <a:pt x="179" y="215"/>
                      <a:pt x="178" y="215"/>
                      <a:pt x="178" y="214"/>
                    </a:cubicBezTo>
                    <a:cubicBezTo>
                      <a:pt x="178" y="214"/>
                      <a:pt x="178" y="214"/>
                      <a:pt x="178" y="213"/>
                    </a:cubicBezTo>
                    <a:cubicBezTo>
                      <a:pt x="178" y="213"/>
                      <a:pt x="177" y="213"/>
                      <a:pt x="177" y="212"/>
                    </a:cubicBezTo>
                    <a:cubicBezTo>
                      <a:pt x="176" y="212"/>
                      <a:pt x="177" y="212"/>
                      <a:pt x="176" y="211"/>
                    </a:cubicBezTo>
                    <a:cubicBezTo>
                      <a:pt x="176" y="210"/>
                      <a:pt x="176" y="210"/>
                      <a:pt x="176" y="210"/>
                    </a:cubicBezTo>
                    <a:cubicBezTo>
                      <a:pt x="176" y="210"/>
                      <a:pt x="176" y="210"/>
                      <a:pt x="176" y="209"/>
                    </a:cubicBezTo>
                    <a:cubicBezTo>
                      <a:pt x="175" y="209"/>
                      <a:pt x="176" y="209"/>
                      <a:pt x="175" y="209"/>
                    </a:cubicBezTo>
                    <a:cubicBezTo>
                      <a:pt x="175" y="208"/>
                      <a:pt x="175" y="208"/>
                      <a:pt x="175" y="208"/>
                    </a:cubicBezTo>
                    <a:cubicBezTo>
                      <a:pt x="175" y="208"/>
                      <a:pt x="175" y="208"/>
                      <a:pt x="175" y="208"/>
                    </a:cubicBezTo>
                    <a:cubicBezTo>
                      <a:pt x="174" y="207"/>
                      <a:pt x="174" y="207"/>
                      <a:pt x="174" y="207"/>
                    </a:cubicBezTo>
                    <a:cubicBezTo>
                      <a:pt x="174" y="207"/>
                      <a:pt x="174" y="207"/>
                      <a:pt x="174" y="207"/>
                    </a:cubicBezTo>
                    <a:cubicBezTo>
                      <a:pt x="174" y="207"/>
                      <a:pt x="174" y="207"/>
                      <a:pt x="174" y="207"/>
                    </a:cubicBezTo>
                    <a:cubicBezTo>
                      <a:pt x="174" y="207"/>
                      <a:pt x="174" y="207"/>
                      <a:pt x="174" y="206"/>
                    </a:cubicBezTo>
                    <a:cubicBezTo>
                      <a:pt x="174" y="206"/>
                      <a:pt x="174" y="206"/>
                      <a:pt x="173" y="206"/>
                    </a:cubicBezTo>
                    <a:cubicBezTo>
                      <a:pt x="173" y="205"/>
                      <a:pt x="173" y="205"/>
                      <a:pt x="172" y="204"/>
                    </a:cubicBezTo>
                    <a:cubicBezTo>
                      <a:pt x="172" y="204"/>
                      <a:pt x="171" y="203"/>
                      <a:pt x="171" y="202"/>
                    </a:cubicBezTo>
                    <a:cubicBezTo>
                      <a:pt x="170" y="202"/>
                      <a:pt x="170" y="199"/>
                      <a:pt x="170" y="199"/>
                    </a:cubicBezTo>
                    <a:cubicBezTo>
                      <a:pt x="170" y="199"/>
                      <a:pt x="170" y="198"/>
                      <a:pt x="170" y="198"/>
                    </a:cubicBezTo>
                    <a:cubicBezTo>
                      <a:pt x="169" y="198"/>
                      <a:pt x="169" y="198"/>
                      <a:pt x="169" y="197"/>
                    </a:cubicBezTo>
                    <a:cubicBezTo>
                      <a:pt x="169" y="197"/>
                      <a:pt x="170" y="197"/>
                      <a:pt x="170" y="197"/>
                    </a:cubicBezTo>
                    <a:cubicBezTo>
                      <a:pt x="170" y="197"/>
                      <a:pt x="170" y="197"/>
                      <a:pt x="170" y="197"/>
                    </a:cubicBezTo>
                    <a:cubicBezTo>
                      <a:pt x="170" y="196"/>
                      <a:pt x="170" y="195"/>
                      <a:pt x="169" y="195"/>
                    </a:cubicBezTo>
                    <a:cubicBezTo>
                      <a:pt x="169" y="195"/>
                      <a:pt x="169" y="195"/>
                      <a:pt x="169" y="195"/>
                    </a:cubicBezTo>
                    <a:cubicBezTo>
                      <a:pt x="169" y="195"/>
                      <a:pt x="170" y="195"/>
                      <a:pt x="170" y="195"/>
                    </a:cubicBezTo>
                    <a:cubicBezTo>
                      <a:pt x="170" y="195"/>
                      <a:pt x="171" y="196"/>
                      <a:pt x="171" y="196"/>
                    </a:cubicBezTo>
                    <a:cubicBezTo>
                      <a:pt x="172" y="197"/>
                      <a:pt x="172" y="196"/>
                      <a:pt x="172" y="196"/>
                    </a:cubicBezTo>
                    <a:cubicBezTo>
                      <a:pt x="172" y="196"/>
                      <a:pt x="173" y="196"/>
                      <a:pt x="173" y="196"/>
                    </a:cubicBezTo>
                    <a:cubicBezTo>
                      <a:pt x="174" y="196"/>
                      <a:pt x="173" y="196"/>
                      <a:pt x="173" y="197"/>
                    </a:cubicBezTo>
                    <a:cubicBezTo>
                      <a:pt x="173" y="197"/>
                      <a:pt x="174" y="197"/>
                      <a:pt x="174" y="197"/>
                    </a:cubicBezTo>
                    <a:cubicBezTo>
                      <a:pt x="175" y="197"/>
                      <a:pt x="175" y="197"/>
                      <a:pt x="175" y="198"/>
                    </a:cubicBezTo>
                    <a:cubicBezTo>
                      <a:pt x="175" y="198"/>
                      <a:pt x="175" y="198"/>
                      <a:pt x="175" y="198"/>
                    </a:cubicBezTo>
                    <a:cubicBezTo>
                      <a:pt x="175" y="199"/>
                      <a:pt x="175" y="200"/>
                      <a:pt x="176" y="201"/>
                    </a:cubicBezTo>
                    <a:cubicBezTo>
                      <a:pt x="177" y="203"/>
                      <a:pt x="178" y="206"/>
                      <a:pt x="178" y="206"/>
                    </a:cubicBezTo>
                    <a:cubicBezTo>
                      <a:pt x="179" y="207"/>
                      <a:pt x="179" y="208"/>
                      <a:pt x="180" y="209"/>
                    </a:cubicBezTo>
                    <a:cubicBezTo>
                      <a:pt x="181" y="210"/>
                      <a:pt x="180" y="209"/>
                      <a:pt x="181" y="210"/>
                    </a:cubicBezTo>
                    <a:cubicBezTo>
                      <a:pt x="181" y="211"/>
                      <a:pt x="181" y="211"/>
                      <a:pt x="182" y="211"/>
                    </a:cubicBezTo>
                    <a:cubicBezTo>
                      <a:pt x="182" y="211"/>
                      <a:pt x="182" y="211"/>
                      <a:pt x="183" y="211"/>
                    </a:cubicBezTo>
                    <a:cubicBezTo>
                      <a:pt x="183" y="211"/>
                      <a:pt x="183" y="211"/>
                      <a:pt x="183" y="212"/>
                    </a:cubicBezTo>
                    <a:cubicBezTo>
                      <a:pt x="183" y="212"/>
                      <a:pt x="184" y="213"/>
                      <a:pt x="183" y="213"/>
                    </a:cubicBezTo>
                    <a:cubicBezTo>
                      <a:pt x="183" y="214"/>
                      <a:pt x="184" y="214"/>
                      <a:pt x="184" y="214"/>
                    </a:cubicBezTo>
                    <a:cubicBezTo>
                      <a:pt x="185" y="214"/>
                      <a:pt x="185" y="214"/>
                      <a:pt x="185" y="215"/>
                    </a:cubicBezTo>
                    <a:cubicBezTo>
                      <a:pt x="186" y="215"/>
                      <a:pt x="185" y="215"/>
                      <a:pt x="186" y="216"/>
                    </a:cubicBezTo>
                    <a:cubicBezTo>
                      <a:pt x="186" y="216"/>
                      <a:pt x="186" y="216"/>
                      <a:pt x="187" y="216"/>
                    </a:cubicBezTo>
                    <a:cubicBezTo>
                      <a:pt x="187" y="216"/>
                      <a:pt x="187" y="216"/>
                      <a:pt x="187" y="217"/>
                    </a:cubicBezTo>
                    <a:cubicBezTo>
                      <a:pt x="188" y="218"/>
                      <a:pt x="187" y="219"/>
                      <a:pt x="187" y="220"/>
                    </a:cubicBezTo>
                    <a:cubicBezTo>
                      <a:pt x="187" y="220"/>
                      <a:pt x="187" y="220"/>
                      <a:pt x="187" y="221"/>
                    </a:cubicBezTo>
                    <a:cubicBezTo>
                      <a:pt x="188" y="221"/>
                      <a:pt x="188" y="221"/>
                      <a:pt x="188" y="221"/>
                    </a:cubicBezTo>
                    <a:cubicBezTo>
                      <a:pt x="189" y="221"/>
                      <a:pt x="189" y="221"/>
                      <a:pt x="189" y="221"/>
                    </a:cubicBezTo>
                    <a:cubicBezTo>
                      <a:pt x="189" y="221"/>
                      <a:pt x="190" y="222"/>
                      <a:pt x="190" y="222"/>
                    </a:cubicBezTo>
                    <a:cubicBezTo>
                      <a:pt x="190" y="222"/>
                      <a:pt x="190" y="222"/>
                      <a:pt x="191" y="222"/>
                    </a:cubicBezTo>
                    <a:cubicBezTo>
                      <a:pt x="192" y="223"/>
                      <a:pt x="191" y="223"/>
                      <a:pt x="191" y="223"/>
                    </a:cubicBezTo>
                    <a:cubicBezTo>
                      <a:pt x="191" y="223"/>
                      <a:pt x="192" y="224"/>
                      <a:pt x="192" y="225"/>
                    </a:cubicBezTo>
                    <a:cubicBezTo>
                      <a:pt x="192" y="225"/>
                      <a:pt x="193" y="225"/>
                      <a:pt x="193" y="226"/>
                    </a:cubicBezTo>
                    <a:cubicBezTo>
                      <a:pt x="193" y="226"/>
                      <a:pt x="193" y="226"/>
                      <a:pt x="194" y="227"/>
                    </a:cubicBezTo>
                    <a:cubicBezTo>
                      <a:pt x="194" y="227"/>
                      <a:pt x="196" y="229"/>
                      <a:pt x="196" y="230"/>
                    </a:cubicBezTo>
                    <a:cubicBezTo>
                      <a:pt x="197" y="231"/>
                      <a:pt x="197" y="231"/>
                      <a:pt x="198" y="232"/>
                    </a:cubicBezTo>
                    <a:cubicBezTo>
                      <a:pt x="199" y="232"/>
                      <a:pt x="198" y="232"/>
                      <a:pt x="199" y="233"/>
                    </a:cubicBezTo>
                    <a:cubicBezTo>
                      <a:pt x="199" y="234"/>
                      <a:pt x="199" y="236"/>
                      <a:pt x="199" y="236"/>
                    </a:cubicBezTo>
                    <a:cubicBezTo>
                      <a:pt x="199" y="236"/>
                      <a:pt x="200" y="236"/>
                      <a:pt x="200" y="237"/>
                    </a:cubicBezTo>
                    <a:cubicBezTo>
                      <a:pt x="200" y="237"/>
                      <a:pt x="200" y="237"/>
                      <a:pt x="200" y="238"/>
                    </a:cubicBezTo>
                    <a:cubicBezTo>
                      <a:pt x="200" y="239"/>
                      <a:pt x="200" y="240"/>
                      <a:pt x="200" y="240"/>
                    </a:cubicBezTo>
                    <a:cubicBezTo>
                      <a:pt x="200" y="240"/>
                      <a:pt x="200" y="240"/>
                      <a:pt x="200" y="240"/>
                    </a:cubicBezTo>
                    <a:cubicBezTo>
                      <a:pt x="201" y="241"/>
                      <a:pt x="200" y="241"/>
                      <a:pt x="200" y="241"/>
                    </a:cubicBezTo>
                    <a:cubicBezTo>
                      <a:pt x="200" y="241"/>
                      <a:pt x="199" y="241"/>
                      <a:pt x="199" y="242"/>
                    </a:cubicBezTo>
                    <a:cubicBezTo>
                      <a:pt x="199" y="242"/>
                      <a:pt x="199" y="242"/>
                      <a:pt x="200" y="244"/>
                    </a:cubicBezTo>
                    <a:cubicBezTo>
                      <a:pt x="201" y="245"/>
                      <a:pt x="202" y="246"/>
                      <a:pt x="202" y="246"/>
                    </a:cubicBezTo>
                    <a:cubicBezTo>
                      <a:pt x="203" y="247"/>
                      <a:pt x="203" y="247"/>
                      <a:pt x="204" y="247"/>
                    </a:cubicBezTo>
                    <a:cubicBezTo>
                      <a:pt x="204" y="248"/>
                      <a:pt x="205" y="248"/>
                      <a:pt x="205" y="249"/>
                    </a:cubicBezTo>
                    <a:cubicBezTo>
                      <a:pt x="206" y="250"/>
                      <a:pt x="207" y="250"/>
                      <a:pt x="207" y="250"/>
                    </a:cubicBezTo>
                    <a:cubicBezTo>
                      <a:pt x="208" y="250"/>
                      <a:pt x="208" y="250"/>
                      <a:pt x="209" y="251"/>
                    </a:cubicBezTo>
                    <a:cubicBezTo>
                      <a:pt x="210" y="251"/>
                      <a:pt x="210" y="251"/>
                      <a:pt x="210" y="251"/>
                    </a:cubicBezTo>
                    <a:cubicBezTo>
                      <a:pt x="211" y="251"/>
                      <a:pt x="211" y="252"/>
                      <a:pt x="212" y="252"/>
                    </a:cubicBezTo>
                    <a:cubicBezTo>
                      <a:pt x="212" y="253"/>
                      <a:pt x="213" y="253"/>
                      <a:pt x="213" y="254"/>
                    </a:cubicBezTo>
                    <a:cubicBezTo>
                      <a:pt x="214" y="254"/>
                      <a:pt x="215" y="254"/>
                      <a:pt x="215" y="255"/>
                    </a:cubicBezTo>
                    <a:cubicBezTo>
                      <a:pt x="216" y="255"/>
                      <a:pt x="217" y="255"/>
                      <a:pt x="217" y="256"/>
                    </a:cubicBezTo>
                    <a:cubicBezTo>
                      <a:pt x="218" y="256"/>
                      <a:pt x="219" y="256"/>
                      <a:pt x="220" y="256"/>
                    </a:cubicBezTo>
                    <a:cubicBezTo>
                      <a:pt x="221" y="256"/>
                      <a:pt x="221" y="257"/>
                      <a:pt x="221" y="258"/>
                    </a:cubicBezTo>
                    <a:cubicBezTo>
                      <a:pt x="222" y="258"/>
                      <a:pt x="222" y="258"/>
                      <a:pt x="223" y="258"/>
                    </a:cubicBezTo>
                    <a:cubicBezTo>
                      <a:pt x="223" y="258"/>
                      <a:pt x="223" y="258"/>
                      <a:pt x="224" y="259"/>
                    </a:cubicBezTo>
                    <a:cubicBezTo>
                      <a:pt x="224" y="259"/>
                      <a:pt x="225" y="259"/>
                      <a:pt x="225" y="259"/>
                    </a:cubicBezTo>
                    <a:cubicBezTo>
                      <a:pt x="226" y="259"/>
                      <a:pt x="226" y="259"/>
                      <a:pt x="227" y="260"/>
                    </a:cubicBezTo>
                    <a:cubicBezTo>
                      <a:pt x="228" y="260"/>
                      <a:pt x="228" y="260"/>
                      <a:pt x="229" y="260"/>
                    </a:cubicBezTo>
                    <a:cubicBezTo>
                      <a:pt x="229" y="260"/>
                      <a:pt x="231" y="260"/>
                      <a:pt x="231" y="259"/>
                    </a:cubicBezTo>
                    <a:cubicBezTo>
                      <a:pt x="232" y="259"/>
                      <a:pt x="232" y="259"/>
                      <a:pt x="232" y="259"/>
                    </a:cubicBezTo>
                    <a:cubicBezTo>
                      <a:pt x="232" y="259"/>
                      <a:pt x="233" y="258"/>
                      <a:pt x="233" y="258"/>
                    </a:cubicBezTo>
                    <a:cubicBezTo>
                      <a:pt x="234" y="258"/>
                      <a:pt x="234" y="258"/>
                      <a:pt x="235" y="258"/>
                    </a:cubicBezTo>
                    <a:cubicBezTo>
                      <a:pt x="236" y="258"/>
                      <a:pt x="236" y="258"/>
                      <a:pt x="236" y="258"/>
                    </a:cubicBezTo>
                    <a:cubicBezTo>
                      <a:pt x="237" y="259"/>
                      <a:pt x="238" y="260"/>
                      <a:pt x="239" y="261"/>
                    </a:cubicBezTo>
                    <a:cubicBezTo>
                      <a:pt x="239" y="262"/>
                      <a:pt x="239" y="262"/>
                      <a:pt x="239" y="262"/>
                    </a:cubicBezTo>
                    <a:cubicBezTo>
                      <a:pt x="240" y="262"/>
                      <a:pt x="241" y="264"/>
                      <a:pt x="242" y="265"/>
                    </a:cubicBezTo>
                    <a:cubicBezTo>
                      <a:pt x="243" y="263"/>
                      <a:pt x="243" y="263"/>
                      <a:pt x="243" y="263"/>
                    </a:cubicBezTo>
                    <a:cubicBezTo>
                      <a:pt x="243" y="262"/>
                      <a:pt x="243" y="262"/>
                      <a:pt x="243" y="262"/>
                    </a:cubicBezTo>
                    <a:cubicBezTo>
                      <a:pt x="244" y="259"/>
                      <a:pt x="244" y="259"/>
                      <a:pt x="244" y="259"/>
                    </a:cubicBezTo>
                    <a:cubicBezTo>
                      <a:pt x="245" y="258"/>
                      <a:pt x="245" y="258"/>
                      <a:pt x="245" y="258"/>
                    </a:cubicBezTo>
                    <a:cubicBezTo>
                      <a:pt x="247" y="258"/>
                      <a:pt x="247" y="258"/>
                      <a:pt x="247" y="258"/>
                    </a:cubicBezTo>
                    <a:cubicBezTo>
                      <a:pt x="247" y="257"/>
                      <a:pt x="247" y="257"/>
                      <a:pt x="247" y="257"/>
                    </a:cubicBezTo>
                    <a:cubicBezTo>
                      <a:pt x="247" y="257"/>
                      <a:pt x="247" y="256"/>
                      <a:pt x="247" y="256"/>
                    </a:cubicBezTo>
                    <a:cubicBezTo>
                      <a:pt x="246" y="255"/>
                      <a:pt x="244" y="254"/>
                      <a:pt x="244" y="254"/>
                    </a:cubicBezTo>
                    <a:cubicBezTo>
                      <a:pt x="246" y="253"/>
                      <a:pt x="246" y="253"/>
                      <a:pt x="246" y="253"/>
                    </a:cubicBezTo>
                    <a:cubicBezTo>
                      <a:pt x="246" y="252"/>
                      <a:pt x="246" y="252"/>
                      <a:pt x="246" y="252"/>
                    </a:cubicBezTo>
                    <a:cubicBezTo>
                      <a:pt x="246" y="252"/>
                      <a:pt x="246" y="252"/>
                      <a:pt x="246" y="252"/>
                    </a:cubicBezTo>
                    <a:cubicBezTo>
                      <a:pt x="246" y="253"/>
                      <a:pt x="246" y="253"/>
                      <a:pt x="246" y="253"/>
                    </a:cubicBezTo>
                    <a:cubicBezTo>
                      <a:pt x="244" y="254"/>
                      <a:pt x="244" y="254"/>
                      <a:pt x="244" y="254"/>
                    </a:cubicBezTo>
                    <a:cubicBezTo>
                      <a:pt x="244" y="254"/>
                      <a:pt x="246" y="255"/>
                      <a:pt x="247" y="256"/>
                    </a:cubicBezTo>
                    <a:cubicBezTo>
                      <a:pt x="247" y="256"/>
                      <a:pt x="247" y="257"/>
                      <a:pt x="247" y="257"/>
                    </a:cubicBezTo>
                    <a:cubicBezTo>
                      <a:pt x="247" y="258"/>
                      <a:pt x="247" y="258"/>
                      <a:pt x="247" y="258"/>
                    </a:cubicBezTo>
                    <a:cubicBezTo>
                      <a:pt x="245" y="258"/>
                      <a:pt x="245" y="258"/>
                      <a:pt x="245" y="258"/>
                    </a:cubicBezTo>
                    <a:cubicBezTo>
                      <a:pt x="244" y="259"/>
                      <a:pt x="244" y="259"/>
                      <a:pt x="244" y="259"/>
                    </a:cubicBezTo>
                    <a:cubicBezTo>
                      <a:pt x="243" y="262"/>
                      <a:pt x="243" y="262"/>
                      <a:pt x="243" y="262"/>
                    </a:cubicBezTo>
                    <a:cubicBezTo>
                      <a:pt x="243" y="263"/>
                      <a:pt x="243" y="263"/>
                      <a:pt x="243" y="263"/>
                    </a:cubicBezTo>
                    <a:cubicBezTo>
                      <a:pt x="242" y="265"/>
                      <a:pt x="242" y="265"/>
                      <a:pt x="242" y="265"/>
                    </a:cubicBezTo>
                    <a:cubicBezTo>
                      <a:pt x="243" y="265"/>
                      <a:pt x="243" y="265"/>
                      <a:pt x="243" y="266"/>
                    </a:cubicBezTo>
                    <a:cubicBezTo>
                      <a:pt x="244" y="266"/>
                      <a:pt x="244" y="266"/>
                      <a:pt x="245" y="267"/>
                    </a:cubicBezTo>
                    <a:cubicBezTo>
                      <a:pt x="246" y="267"/>
                      <a:pt x="246" y="267"/>
                      <a:pt x="246" y="267"/>
                    </a:cubicBezTo>
                    <a:cubicBezTo>
                      <a:pt x="247" y="267"/>
                      <a:pt x="247" y="267"/>
                      <a:pt x="248" y="267"/>
                    </a:cubicBezTo>
                    <a:cubicBezTo>
                      <a:pt x="248" y="267"/>
                      <a:pt x="248" y="268"/>
                      <a:pt x="249" y="268"/>
                    </a:cubicBezTo>
                    <a:cubicBezTo>
                      <a:pt x="249" y="268"/>
                      <a:pt x="249" y="267"/>
                      <a:pt x="249" y="267"/>
                    </a:cubicBezTo>
                    <a:cubicBezTo>
                      <a:pt x="249" y="267"/>
                      <a:pt x="249" y="268"/>
                      <a:pt x="249" y="268"/>
                    </a:cubicBezTo>
                    <a:cubicBezTo>
                      <a:pt x="249" y="268"/>
                      <a:pt x="249" y="268"/>
                      <a:pt x="249" y="268"/>
                    </a:cubicBezTo>
                    <a:cubicBezTo>
                      <a:pt x="250" y="268"/>
                      <a:pt x="250" y="268"/>
                      <a:pt x="250" y="268"/>
                    </a:cubicBezTo>
                    <a:cubicBezTo>
                      <a:pt x="251" y="269"/>
                      <a:pt x="253" y="269"/>
                      <a:pt x="253" y="270"/>
                    </a:cubicBezTo>
                    <a:cubicBezTo>
                      <a:pt x="253" y="270"/>
                      <a:pt x="254" y="270"/>
                      <a:pt x="255" y="270"/>
                    </a:cubicBezTo>
                    <a:cubicBezTo>
                      <a:pt x="255" y="270"/>
                      <a:pt x="255" y="270"/>
                      <a:pt x="255" y="270"/>
                    </a:cubicBezTo>
                    <a:cubicBezTo>
                      <a:pt x="255" y="270"/>
                      <a:pt x="256" y="270"/>
                      <a:pt x="256" y="270"/>
                    </a:cubicBezTo>
                    <a:cubicBezTo>
                      <a:pt x="256" y="270"/>
                      <a:pt x="256" y="270"/>
                      <a:pt x="256" y="269"/>
                    </a:cubicBezTo>
                    <a:cubicBezTo>
                      <a:pt x="256" y="269"/>
                      <a:pt x="256" y="269"/>
                      <a:pt x="256" y="269"/>
                    </a:cubicBezTo>
                    <a:cubicBezTo>
                      <a:pt x="256" y="269"/>
                      <a:pt x="256" y="269"/>
                      <a:pt x="256" y="269"/>
                    </a:cubicBezTo>
                    <a:cubicBezTo>
                      <a:pt x="257" y="269"/>
                      <a:pt x="257" y="269"/>
                      <a:pt x="257" y="269"/>
                    </a:cubicBezTo>
                    <a:cubicBezTo>
                      <a:pt x="257" y="269"/>
                      <a:pt x="257" y="269"/>
                      <a:pt x="257" y="269"/>
                    </a:cubicBezTo>
                    <a:cubicBezTo>
                      <a:pt x="257" y="269"/>
                      <a:pt x="257" y="270"/>
                      <a:pt x="257" y="270"/>
                    </a:cubicBezTo>
                    <a:cubicBezTo>
                      <a:pt x="257" y="270"/>
                      <a:pt x="258" y="271"/>
                      <a:pt x="258" y="271"/>
                    </a:cubicBezTo>
                    <a:cubicBezTo>
                      <a:pt x="258" y="271"/>
                      <a:pt x="258" y="271"/>
                      <a:pt x="258" y="271"/>
                    </a:cubicBezTo>
                    <a:cubicBezTo>
                      <a:pt x="258" y="271"/>
                      <a:pt x="258" y="271"/>
                      <a:pt x="258" y="271"/>
                    </a:cubicBezTo>
                    <a:cubicBezTo>
                      <a:pt x="258" y="271"/>
                      <a:pt x="258" y="271"/>
                      <a:pt x="257" y="271"/>
                    </a:cubicBezTo>
                    <a:cubicBezTo>
                      <a:pt x="257" y="271"/>
                      <a:pt x="257" y="271"/>
                      <a:pt x="257" y="271"/>
                    </a:cubicBezTo>
                    <a:cubicBezTo>
                      <a:pt x="257" y="271"/>
                      <a:pt x="257" y="272"/>
                      <a:pt x="257" y="272"/>
                    </a:cubicBezTo>
                    <a:cubicBezTo>
                      <a:pt x="257" y="272"/>
                      <a:pt x="257" y="272"/>
                      <a:pt x="257" y="272"/>
                    </a:cubicBezTo>
                    <a:cubicBezTo>
                      <a:pt x="258" y="272"/>
                      <a:pt x="258" y="273"/>
                      <a:pt x="258" y="273"/>
                    </a:cubicBezTo>
                    <a:cubicBezTo>
                      <a:pt x="259" y="273"/>
                      <a:pt x="259" y="274"/>
                      <a:pt x="260" y="274"/>
                    </a:cubicBezTo>
                    <a:cubicBezTo>
                      <a:pt x="260" y="274"/>
                      <a:pt x="260" y="275"/>
                      <a:pt x="261" y="276"/>
                    </a:cubicBezTo>
                    <a:cubicBezTo>
                      <a:pt x="261" y="276"/>
                      <a:pt x="261" y="277"/>
                      <a:pt x="262" y="277"/>
                    </a:cubicBezTo>
                    <a:cubicBezTo>
                      <a:pt x="262" y="277"/>
                      <a:pt x="262" y="277"/>
                      <a:pt x="262" y="277"/>
                    </a:cubicBezTo>
                    <a:cubicBezTo>
                      <a:pt x="263" y="277"/>
                      <a:pt x="263" y="278"/>
                      <a:pt x="263" y="278"/>
                    </a:cubicBezTo>
                    <a:cubicBezTo>
                      <a:pt x="263" y="278"/>
                      <a:pt x="263" y="278"/>
                      <a:pt x="263" y="278"/>
                    </a:cubicBezTo>
                    <a:cubicBezTo>
                      <a:pt x="263" y="279"/>
                      <a:pt x="263" y="279"/>
                      <a:pt x="263" y="279"/>
                    </a:cubicBezTo>
                    <a:cubicBezTo>
                      <a:pt x="263" y="279"/>
                      <a:pt x="263" y="279"/>
                      <a:pt x="263" y="279"/>
                    </a:cubicBezTo>
                    <a:cubicBezTo>
                      <a:pt x="263" y="279"/>
                      <a:pt x="263" y="279"/>
                      <a:pt x="263" y="279"/>
                    </a:cubicBezTo>
                    <a:cubicBezTo>
                      <a:pt x="263" y="280"/>
                      <a:pt x="263" y="280"/>
                      <a:pt x="263" y="280"/>
                    </a:cubicBezTo>
                    <a:cubicBezTo>
                      <a:pt x="263" y="280"/>
                      <a:pt x="263" y="280"/>
                      <a:pt x="263" y="280"/>
                    </a:cubicBezTo>
                    <a:cubicBezTo>
                      <a:pt x="263" y="281"/>
                      <a:pt x="262" y="281"/>
                      <a:pt x="262" y="281"/>
                    </a:cubicBezTo>
                    <a:cubicBezTo>
                      <a:pt x="262" y="282"/>
                      <a:pt x="262" y="282"/>
                      <a:pt x="262" y="282"/>
                    </a:cubicBezTo>
                    <a:cubicBezTo>
                      <a:pt x="262" y="282"/>
                      <a:pt x="263" y="282"/>
                      <a:pt x="263" y="283"/>
                    </a:cubicBezTo>
                    <a:cubicBezTo>
                      <a:pt x="264" y="283"/>
                      <a:pt x="264" y="283"/>
                      <a:pt x="265" y="284"/>
                    </a:cubicBezTo>
                    <a:cubicBezTo>
                      <a:pt x="265" y="284"/>
                      <a:pt x="265" y="284"/>
                      <a:pt x="265" y="284"/>
                    </a:cubicBezTo>
                    <a:cubicBezTo>
                      <a:pt x="265" y="284"/>
                      <a:pt x="265" y="284"/>
                      <a:pt x="265" y="283"/>
                    </a:cubicBezTo>
                    <a:cubicBezTo>
                      <a:pt x="266" y="283"/>
                      <a:pt x="265" y="283"/>
                      <a:pt x="265" y="283"/>
                    </a:cubicBezTo>
                    <a:cubicBezTo>
                      <a:pt x="265" y="283"/>
                      <a:pt x="265" y="283"/>
                      <a:pt x="265" y="283"/>
                    </a:cubicBezTo>
                    <a:cubicBezTo>
                      <a:pt x="265" y="282"/>
                      <a:pt x="264" y="282"/>
                      <a:pt x="264" y="282"/>
                    </a:cubicBezTo>
                    <a:cubicBezTo>
                      <a:pt x="264" y="282"/>
                      <a:pt x="265" y="282"/>
                      <a:pt x="265" y="282"/>
                    </a:cubicBezTo>
                    <a:cubicBezTo>
                      <a:pt x="266" y="282"/>
                      <a:pt x="266" y="282"/>
                      <a:pt x="266" y="282"/>
                    </a:cubicBezTo>
                    <a:cubicBezTo>
                      <a:pt x="267" y="283"/>
                      <a:pt x="267" y="283"/>
                      <a:pt x="267" y="283"/>
                    </a:cubicBezTo>
                    <a:cubicBezTo>
                      <a:pt x="266" y="283"/>
                      <a:pt x="266" y="284"/>
                      <a:pt x="266" y="284"/>
                    </a:cubicBezTo>
                    <a:cubicBezTo>
                      <a:pt x="267" y="284"/>
                      <a:pt x="267" y="284"/>
                      <a:pt x="267" y="284"/>
                    </a:cubicBezTo>
                    <a:cubicBezTo>
                      <a:pt x="267" y="284"/>
                      <a:pt x="267" y="285"/>
                      <a:pt x="268" y="285"/>
                    </a:cubicBezTo>
                    <a:cubicBezTo>
                      <a:pt x="268" y="285"/>
                      <a:pt x="269" y="285"/>
                      <a:pt x="269" y="286"/>
                    </a:cubicBezTo>
                    <a:cubicBezTo>
                      <a:pt x="270" y="286"/>
                      <a:pt x="270" y="286"/>
                      <a:pt x="270" y="286"/>
                    </a:cubicBezTo>
                    <a:cubicBezTo>
                      <a:pt x="269" y="287"/>
                      <a:pt x="269" y="287"/>
                      <a:pt x="269" y="287"/>
                    </a:cubicBezTo>
                    <a:cubicBezTo>
                      <a:pt x="269" y="288"/>
                      <a:pt x="269" y="288"/>
                      <a:pt x="270" y="288"/>
                    </a:cubicBezTo>
                    <a:cubicBezTo>
                      <a:pt x="270" y="288"/>
                      <a:pt x="270" y="288"/>
                      <a:pt x="270" y="288"/>
                    </a:cubicBezTo>
                    <a:cubicBezTo>
                      <a:pt x="271" y="288"/>
                      <a:pt x="270" y="288"/>
                      <a:pt x="270" y="288"/>
                    </a:cubicBezTo>
                    <a:cubicBezTo>
                      <a:pt x="270" y="288"/>
                      <a:pt x="270" y="287"/>
                      <a:pt x="270" y="287"/>
                    </a:cubicBezTo>
                    <a:cubicBezTo>
                      <a:pt x="270" y="287"/>
                      <a:pt x="271" y="287"/>
                      <a:pt x="271" y="288"/>
                    </a:cubicBezTo>
                    <a:cubicBezTo>
                      <a:pt x="271" y="288"/>
                      <a:pt x="271" y="288"/>
                      <a:pt x="271" y="288"/>
                    </a:cubicBezTo>
                    <a:cubicBezTo>
                      <a:pt x="271" y="289"/>
                      <a:pt x="271" y="289"/>
                      <a:pt x="272" y="289"/>
                    </a:cubicBezTo>
                    <a:cubicBezTo>
                      <a:pt x="272" y="289"/>
                      <a:pt x="272" y="289"/>
                      <a:pt x="272" y="289"/>
                    </a:cubicBezTo>
                    <a:cubicBezTo>
                      <a:pt x="272" y="287"/>
                      <a:pt x="272" y="287"/>
                      <a:pt x="272" y="287"/>
                    </a:cubicBezTo>
                    <a:lnTo>
                      <a:pt x="272" y="286"/>
                    </a:lnTo>
                    <a:close/>
                    <a:moveTo>
                      <a:pt x="318" y="127"/>
                    </a:moveTo>
                    <a:cubicBezTo>
                      <a:pt x="319" y="127"/>
                      <a:pt x="319" y="127"/>
                      <a:pt x="319" y="127"/>
                    </a:cubicBezTo>
                    <a:cubicBezTo>
                      <a:pt x="318" y="127"/>
                      <a:pt x="318" y="127"/>
                      <a:pt x="318" y="127"/>
                    </a:cubicBezTo>
                    <a:cubicBezTo>
                      <a:pt x="318" y="127"/>
                      <a:pt x="318" y="127"/>
                      <a:pt x="318" y="127"/>
                    </a:cubicBezTo>
                    <a:close/>
                    <a:moveTo>
                      <a:pt x="285" y="147"/>
                    </a:moveTo>
                    <a:cubicBezTo>
                      <a:pt x="285" y="148"/>
                      <a:pt x="285" y="148"/>
                      <a:pt x="285" y="148"/>
                    </a:cubicBezTo>
                    <a:cubicBezTo>
                      <a:pt x="284" y="148"/>
                      <a:pt x="283" y="149"/>
                      <a:pt x="283" y="149"/>
                    </a:cubicBezTo>
                    <a:cubicBezTo>
                      <a:pt x="283" y="149"/>
                      <a:pt x="282" y="150"/>
                      <a:pt x="281" y="151"/>
                    </a:cubicBezTo>
                    <a:cubicBezTo>
                      <a:pt x="280" y="151"/>
                      <a:pt x="278" y="152"/>
                      <a:pt x="278" y="152"/>
                    </a:cubicBezTo>
                    <a:cubicBezTo>
                      <a:pt x="277" y="153"/>
                      <a:pt x="276" y="153"/>
                      <a:pt x="276" y="153"/>
                    </a:cubicBezTo>
                    <a:cubicBezTo>
                      <a:pt x="275" y="154"/>
                      <a:pt x="274" y="154"/>
                      <a:pt x="274" y="154"/>
                    </a:cubicBezTo>
                    <a:cubicBezTo>
                      <a:pt x="273" y="154"/>
                      <a:pt x="273" y="154"/>
                      <a:pt x="272" y="153"/>
                    </a:cubicBezTo>
                    <a:cubicBezTo>
                      <a:pt x="272" y="153"/>
                      <a:pt x="271" y="153"/>
                      <a:pt x="271" y="153"/>
                    </a:cubicBezTo>
                    <a:cubicBezTo>
                      <a:pt x="271" y="153"/>
                      <a:pt x="270" y="153"/>
                      <a:pt x="270" y="152"/>
                    </a:cubicBezTo>
                    <a:cubicBezTo>
                      <a:pt x="271" y="152"/>
                      <a:pt x="271" y="151"/>
                      <a:pt x="271" y="151"/>
                    </a:cubicBezTo>
                    <a:cubicBezTo>
                      <a:pt x="271" y="151"/>
                      <a:pt x="270" y="150"/>
                      <a:pt x="271" y="150"/>
                    </a:cubicBezTo>
                    <a:cubicBezTo>
                      <a:pt x="272" y="150"/>
                      <a:pt x="272" y="150"/>
                      <a:pt x="272" y="149"/>
                    </a:cubicBezTo>
                    <a:cubicBezTo>
                      <a:pt x="272" y="149"/>
                      <a:pt x="272" y="148"/>
                      <a:pt x="273" y="148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3" y="149"/>
                      <a:pt x="273" y="149"/>
                      <a:pt x="273" y="149"/>
                    </a:cubicBezTo>
                    <a:cubicBezTo>
                      <a:pt x="274" y="149"/>
                      <a:pt x="274" y="148"/>
                      <a:pt x="274" y="149"/>
                    </a:cubicBezTo>
                    <a:cubicBezTo>
                      <a:pt x="273" y="150"/>
                      <a:pt x="274" y="150"/>
                      <a:pt x="273" y="150"/>
                    </a:cubicBezTo>
                    <a:cubicBezTo>
                      <a:pt x="273" y="150"/>
                      <a:pt x="272" y="150"/>
                      <a:pt x="272" y="150"/>
                    </a:cubicBezTo>
                    <a:cubicBezTo>
                      <a:pt x="272" y="150"/>
                      <a:pt x="271" y="151"/>
                      <a:pt x="271" y="151"/>
                    </a:cubicBezTo>
                    <a:cubicBezTo>
                      <a:pt x="271" y="151"/>
                      <a:pt x="271" y="151"/>
                      <a:pt x="272" y="151"/>
                    </a:cubicBezTo>
                    <a:cubicBezTo>
                      <a:pt x="272" y="151"/>
                      <a:pt x="272" y="151"/>
                      <a:pt x="272" y="151"/>
                    </a:cubicBezTo>
                    <a:cubicBezTo>
                      <a:pt x="273" y="151"/>
                      <a:pt x="273" y="151"/>
                      <a:pt x="273" y="151"/>
                    </a:cubicBezTo>
                    <a:cubicBezTo>
                      <a:pt x="273" y="151"/>
                      <a:pt x="273" y="151"/>
                      <a:pt x="273" y="151"/>
                    </a:cubicBezTo>
                    <a:cubicBezTo>
                      <a:pt x="274" y="151"/>
                      <a:pt x="274" y="151"/>
                      <a:pt x="275" y="150"/>
                    </a:cubicBezTo>
                    <a:cubicBezTo>
                      <a:pt x="275" y="150"/>
                      <a:pt x="275" y="149"/>
                      <a:pt x="276" y="149"/>
                    </a:cubicBezTo>
                    <a:cubicBezTo>
                      <a:pt x="276" y="149"/>
                      <a:pt x="277" y="148"/>
                      <a:pt x="277" y="148"/>
                    </a:cubicBezTo>
                    <a:cubicBezTo>
                      <a:pt x="278" y="148"/>
                      <a:pt x="279" y="148"/>
                      <a:pt x="279" y="148"/>
                    </a:cubicBezTo>
                    <a:cubicBezTo>
                      <a:pt x="280" y="149"/>
                      <a:pt x="280" y="149"/>
                      <a:pt x="280" y="149"/>
                    </a:cubicBezTo>
                    <a:cubicBezTo>
                      <a:pt x="280" y="149"/>
                      <a:pt x="280" y="149"/>
                      <a:pt x="280" y="148"/>
                    </a:cubicBezTo>
                    <a:cubicBezTo>
                      <a:pt x="280" y="148"/>
                      <a:pt x="281" y="148"/>
                      <a:pt x="281" y="148"/>
                    </a:cubicBezTo>
                    <a:cubicBezTo>
                      <a:pt x="282" y="148"/>
                      <a:pt x="282" y="148"/>
                      <a:pt x="282" y="148"/>
                    </a:cubicBezTo>
                    <a:cubicBezTo>
                      <a:pt x="282" y="148"/>
                      <a:pt x="283" y="147"/>
                      <a:pt x="284" y="147"/>
                    </a:cubicBezTo>
                    <a:cubicBezTo>
                      <a:pt x="284" y="147"/>
                      <a:pt x="284" y="147"/>
                      <a:pt x="284" y="147"/>
                    </a:cubicBezTo>
                    <a:cubicBezTo>
                      <a:pt x="284" y="147"/>
                      <a:pt x="284" y="147"/>
                      <a:pt x="284" y="147"/>
                    </a:cubicBezTo>
                    <a:cubicBezTo>
                      <a:pt x="284" y="147"/>
                      <a:pt x="284" y="146"/>
                      <a:pt x="284" y="147"/>
                    </a:cubicBezTo>
                    <a:cubicBezTo>
                      <a:pt x="284" y="147"/>
                      <a:pt x="285" y="147"/>
                      <a:pt x="285" y="147"/>
                    </a:cubicBezTo>
                    <a:close/>
                    <a:moveTo>
                      <a:pt x="249" y="123"/>
                    </a:moveTo>
                    <a:cubicBezTo>
                      <a:pt x="249" y="123"/>
                      <a:pt x="249" y="123"/>
                      <a:pt x="249" y="123"/>
                    </a:cubicBezTo>
                    <a:cubicBezTo>
                      <a:pt x="246" y="124"/>
                      <a:pt x="246" y="124"/>
                      <a:pt x="246" y="124"/>
                    </a:cubicBezTo>
                    <a:cubicBezTo>
                      <a:pt x="246" y="124"/>
                      <a:pt x="246" y="124"/>
                      <a:pt x="246" y="124"/>
                    </a:cubicBezTo>
                    <a:lnTo>
                      <a:pt x="249" y="123"/>
                    </a:lnTo>
                    <a:close/>
                    <a:moveTo>
                      <a:pt x="246" y="123"/>
                    </a:moveTo>
                    <a:cubicBezTo>
                      <a:pt x="246" y="123"/>
                      <a:pt x="246" y="123"/>
                      <a:pt x="246" y="123"/>
                    </a:cubicBezTo>
                    <a:cubicBezTo>
                      <a:pt x="244" y="124"/>
                      <a:pt x="244" y="124"/>
                      <a:pt x="244" y="124"/>
                    </a:cubicBezTo>
                    <a:cubicBezTo>
                      <a:pt x="244" y="124"/>
                      <a:pt x="244" y="124"/>
                      <a:pt x="244" y="124"/>
                    </a:cubicBezTo>
                    <a:lnTo>
                      <a:pt x="246" y="123"/>
                    </a:lnTo>
                    <a:close/>
                    <a:moveTo>
                      <a:pt x="243" y="123"/>
                    </a:moveTo>
                    <a:cubicBezTo>
                      <a:pt x="243" y="123"/>
                      <a:pt x="243" y="123"/>
                      <a:pt x="243" y="123"/>
                    </a:cubicBezTo>
                    <a:cubicBezTo>
                      <a:pt x="243" y="123"/>
                      <a:pt x="243" y="123"/>
                      <a:pt x="243" y="123"/>
                    </a:cubicBezTo>
                    <a:cubicBezTo>
                      <a:pt x="242" y="123"/>
                      <a:pt x="242" y="123"/>
                      <a:pt x="242" y="123"/>
                    </a:cubicBezTo>
                    <a:lnTo>
                      <a:pt x="243" y="123"/>
                    </a:lnTo>
                    <a:close/>
                    <a:moveTo>
                      <a:pt x="242" y="129"/>
                    </a:moveTo>
                    <a:cubicBezTo>
                      <a:pt x="243" y="129"/>
                      <a:pt x="244" y="128"/>
                      <a:pt x="244" y="128"/>
                    </a:cubicBezTo>
                    <a:cubicBezTo>
                      <a:pt x="245" y="127"/>
                      <a:pt x="245" y="127"/>
                      <a:pt x="246" y="126"/>
                    </a:cubicBezTo>
                    <a:cubicBezTo>
                      <a:pt x="247" y="126"/>
                      <a:pt x="248" y="125"/>
                      <a:pt x="249" y="125"/>
                    </a:cubicBezTo>
                    <a:cubicBezTo>
                      <a:pt x="249" y="125"/>
                      <a:pt x="249" y="125"/>
                      <a:pt x="249" y="125"/>
                    </a:cubicBezTo>
                    <a:cubicBezTo>
                      <a:pt x="249" y="125"/>
                      <a:pt x="249" y="125"/>
                      <a:pt x="249" y="125"/>
                    </a:cubicBezTo>
                    <a:cubicBezTo>
                      <a:pt x="250" y="125"/>
                      <a:pt x="250" y="124"/>
                      <a:pt x="251" y="124"/>
                    </a:cubicBezTo>
                    <a:cubicBezTo>
                      <a:pt x="252" y="123"/>
                      <a:pt x="252" y="123"/>
                      <a:pt x="252" y="123"/>
                    </a:cubicBezTo>
                    <a:cubicBezTo>
                      <a:pt x="252" y="122"/>
                      <a:pt x="251" y="122"/>
                      <a:pt x="252" y="122"/>
                    </a:cubicBezTo>
                    <a:cubicBezTo>
                      <a:pt x="253" y="121"/>
                      <a:pt x="253" y="121"/>
                      <a:pt x="253" y="121"/>
                    </a:cubicBezTo>
                    <a:cubicBezTo>
                      <a:pt x="253" y="122"/>
                      <a:pt x="253" y="122"/>
                      <a:pt x="253" y="122"/>
                    </a:cubicBezTo>
                    <a:cubicBezTo>
                      <a:pt x="253" y="122"/>
                      <a:pt x="254" y="122"/>
                      <a:pt x="254" y="121"/>
                    </a:cubicBezTo>
                    <a:cubicBezTo>
                      <a:pt x="254" y="120"/>
                      <a:pt x="254" y="120"/>
                      <a:pt x="254" y="120"/>
                    </a:cubicBezTo>
                    <a:cubicBezTo>
                      <a:pt x="254" y="120"/>
                      <a:pt x="254" y="121"/>
                      <a:pt x="254" y="121"/>
                    </a:cubicBezTo>
                    <a:cubicBezTo>
                      <a:pt x="254" y="121"/>
                      <a:pt x="255" y="122"/>
                      <a:pt x="255" y="121"/>
                    </a:cubicBezTo>
                    <a:cubicBezTo>
                      <a:pt x="255" y="121"/>
                      <a:pt x="255" y="120"/>
                      <a:pt x="255" y="120"/>
                    </a:cubicBezTo>
                    <a:cubicBezTo>
                      <a:pt x="255" y="120"/>
                      <a:pt x="255" y="119"/>
                      <a:pt x="255" y="119"/>
                    </a:cubicBezTo>
                    <a:cubicBezTo>
                      <a:pt x="256" y="119"/>
                      <a:pt x="255" y="119"/>
                      <a:pt x="256" y="120"/>
                    </a:cubicBezTo>
                    <a:cubicBezTo>
                      <a:pt x="258" y="120"/>
                      <a:pt x="258" y="120"/>
                      <a:pt x="258" y="120"/>
                    </a:cubicBezTo>
                    <a:cubicBezTo>
                      <a:pt x="259" y="120"/>
                      <a:pt x="260" y="120"/>
                      <a:pt x="260" y="120"/>
                    </a:cubicBezTo>
                    <a:cubicBezTo>
                      <a:pt x="260" y="120"/>
                      <a:pt x="260" y="120"/>
                      <a:pt x="260" y="120"/>
                    </a:cubicBezTo>
                    <a:cubicBezTo>
                      <a:pt x="261" y="120"/>
                      <a:pt x="261" y="121"/>
                      <a:pt x="262" y="122"/>
                    </a:cubicBezTo>
                    <a:cubicBezTo>
                      <a:pt x="261" y="122"/>
                      <a:pt x="261" y="122"/>
                      <a:pt x="261" y="122"/>
                    </a:cubicBezTo>
                    <a:cubicBezTo>
                      <a:pt x="261" y="122"/>
                      <a:pt x="262" y="123"/>
                      <a:pt x="262" y="123"/>
                    </a:cubicBezTo>
                    <a:cubicBezTo>
                      <a:pt x="262" y="123"/>
                      <a:pt x="263" y="124"/>
                      <a:pt x="263" y="124"/>
                    </a:cubicBezTo>
                    <a:cubicBezTo>
                      <a:pt x="264" y="124"/>
                      <a:pt x="264" y="124"/>
                      <a:pt x="264" y="124"/>
                    </a:cubicBezTo>
                    <a:cubicBezTo>
                      <a:pt x="265" y="124"/>
                      <a:pt x="266" y="125"/>
                      <a:pt x="266" y="125"/>
                    </a:cubicBezTo>
                    <a:cubicBezTo>
                      <a:pt x="266" y="125"/>
                      <a:pt x="266" y="125"/>
                      <a:pt x="266" y="125"/>
                    </a:cubicBezTo>
                    <a:cubicBezTo>
                      <a:pt x="265" y="125"/>
                      <a:pt x="265" y="125"/>
                      <a:pt x="265" y="125"/>
                    </a:cubicBezTo>
                    <a:cubicBezTo>
                      <a:pt x="265" y="125"/>
                      <a:pt x="265" y="126"/>
                      <a:pt x="265" y="126"/>
                    </a:cubicBezTo>
                    <a:cubicBezTo>
                      <a:pt x="266" y="126"/>
                      <a:pt x="266" y="126"/>
                      <a:pt x="266" y="127"/>
                    </a:cubicBezTo>
                    <a:cubicBezTo>
                      <a:pt x="266" y="127"/>
                      <a:pt x="266" y="127"/>
                      <a:pt x="266" y="127"/>
                    </a:cubicBezTo>
                    <a:cubicBezTo>
                      <a:pt x="266" y="127"/>
                      <a:pt x="266" y="128"/>
                      <a:pt x="266" y="128"/>
                    </a:cubicBezTo>
                    <a:cubicBezTo>
                      <a:pt x="266" y="128"/>
                      <a:pt x="266" y="128"/>
                      <a:pt x="266" y="128"/>
                    </a:cubicBezTo>
                    <a:cubicBezTo>
                      <a:pt x="266" y="129"/>
                      <a:pt x="267" y="129"/>
                      <a:pt x="267" y="129"/>
                    </a:cubicBezTo>
                    <a:cubicBezTo>
                      <a:pt x="267" y="129"/>
                      <a:pt x="267" y="129"/>
                      <a:pt x="267" y="130"/>
                    </a:cubicBezTo>
                    <a:cubicBezTo>
                      <a:pt x="267" y="130"/>
                      <a:pt x="267" y="130"/>
                      <a:pt x="267" y="130"/>
                    </a:cubicBezTo>
                    <a:cubicBezTo>
                      <a:pt x="267" y="130"/>
                      <a:pt x="267" y="131"/>
                      <a:pt x="267" y="131"/>
                    </a:cubicBezTo>
                    <a:cubicBezTo>
                      <a:pt x="267" y="131"/>
                      <a:pt x="268" y="131"/>
                      <a:pt x="268" y="131"/>
                    </a:cubicBezTo>
                    <a:cubicBezTo>
                      <a:pt x="268" y="131"/>
                      <a:pt x="268" y="131"/>
                      <a:pt x="268" y="131"/>
                    </a:cubicBezTo>
                    <a:cubicBezTo>
                      <a:pt x="268" y="131"/>
                      <a:pt x="268" y="131"/>
                      <a:pt x="268" y="131"/>
                    </a:cubicBezTo>
                    <a:cubicBezTo>
                      <a:pt x="268" y="132"/>
                      <a:pt x="270" y="132"/>
                      <a:pt x="270" y="132"/>
                    </a:cubicBezTo>
                    <a:cubicBezTo>
                      <a:pt x="271" y="132"/>
                      <a:pt x="271" y="132"/>
                      <a:pt x="271" y="132"/>
                    </a:cubicBezTo>
                    <a:cubicBezTo>
                      <a:pt x="271" y="132"/>
                      <a:pt x="273" y="133"/>
                      <a:pt x="273" y="133"/>
                    </a:cubicBezTo>
                    <a:cubicBezTo>
                      <a:pt x="274" y="133"/>
                      <a:pt x="275" y="133"/>
                      <a:pt x="275" y="133"/>
                    </a:cubicBezTo>
                    <a:cubicBezTo>
                      <a:pt x="275" y="133"/>
                      <a:pt x="276" y="133"/>
                      <a:pt x="277" y="133"/>
                    </a:cubicBezTo>
                    <a:cubicBezTo>
                      <a:pt x="277" y="133"/>
                      <a:pt x="278" y="134"/>
                      <a:pt x="278" y="134"/>
                    </a:cubicBezTo>
                    <a:cubicBezTo>
                      <a:pt x="278" y="134"/>
                      <a:pt x="278" y="134"/>
                      <a:pt x="278" y="134"/>
                    </a:cubicBezTo>
                    <a:cubicBezTo>
                      <a:pt x="279" y="135"/>
                      <a:pt x="280" y="136"/>
                      <a:pt x="280" y="137"/>
                    </a:cubicBezTo>
                    <a:cubicBezTo>
                      <a:pt x="281" y="137"/>
                      <a:pt x="281" y="137"/>
                      <a:pt x="281" y="137"/>
                    </a:cubicBezTo>
                    <a:cubicBezTo>
                      <a:pt x="281" y="137"/>
                      <a:pt x="281" y="138"/>
                      <a:pt x="282" y="138"/>
                    </a:cubicBezTo>
                    <a:cubicBezTo>
                      <a:pt x="282" y="138"/>
                      <a:pt x="283" y="139"/>
                      <a:pt x="282" y="139"/>
                    </a:cubicBezTo>
                    <a:cubicBezTo>
                      <a:pt x="282" y="139"/>
                      <a:pt x="282" y="139"/>
                      <a:pt x="282" y="139"/>
                    </a:cubicBezTo>
                    <a:cubicBezTo>
                      <a:pt x="281" y="139"/>
                      <a:pt x="281" y="139"/>
                      <a:pt x="281" y="139"/>
                    </a:cubicBezTo>
                    <a:cubicBezTo>
                      <a:pt x="281" y="139"/>
                      <a:pt x="281" y="139"/>
                      <a:pt x="281" y="139"/>
                    </a:cubicBezTo>
                    <a:cubicBezTo>
                      <a:pt x="281" y="139"/>
                      <a:pt x="283" y="143"/>
                      <a:pt x="284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4" y="143"/>
                      <a:pt x="286" y="142"/>
                      <a:pt x="286" y="142"/>
                    </a:cubicBezTo>
                    <a:cubicBezTo>
                      <a:pt x="287" y="142"/>
                      <a:pt x="288" y="142"/>
                      <a:pt x="288" y="142"/>
                    </a:cubicBezTo>
                    <a:cubicBezTo>
                      <a:pt x="289" y="142"/>
                      <a:pt x="289" y="142"/>
                      <a:pt x="289" y="143"/>
                    </a:cubicBezTo>
                    <a:cubicBezTo>
                      <a:pt x="290" y="143"/>
                      <a:pt x="291" y="143"/>
                      <a:pt x="291" y="143"/>
                    </a:cubicBezTo>
                    <a:cubicBezTo>
                      <a:pt x="291" y="143"/>
                      <a:pt x="291" y="142"/>
                      <a:pt x="291" y="142"/>
                    </a:cubicBezTo>
                    <a:cubicBezTo>
                      <a:pt x="290" y="142"/>
                      <a:pt x="290" y="142"/>
                      <a:pt x="291" y="141"/>
                    </a:cubicBezTo>
                    <a:cubicBezTo>
                      <a:pt x="292" y="141"/>
                      <a:pt x="291" y="141"/>
                      <a:pt x="292" y="141"/>
                    </a:cubicBezTo>
                    <a:cubicBezTo>
                      <a:pt x="293" y="141"/>
                      <a:pt x="294" y="140"/>
                      <a:pt x="294" y="140"/>
                    </a:cubicBezTo>
                    <a:cubicBezTo>
                      <a:pt x="294" y="140"/>
                      <a:pt x="295" y="140"/>
                      <a:pt x="295" y="140"/>
                    </a:cubicBezTo>
                    <a:cubicBezTo>
                      <a:pt x="298" y="138"/>
                      <a:pt x="298" y="138"/>
                      <a:pt x="298" y="138"/>
                    </a:cubicBezTo>
                    <a:cubicBezTo>
                      <a:pt x="308" y="137"/>
                      <a:pt x="308" y="137"/>
                      <a:pt x="308" y="137"/>
                    </a:cubicBezTo>
                    <a:cubicBezTo>
                      <a:pt x="311" y="136"/>
                      <a:pt x="311" y="136"/>
                      <a:pt x="311" y="136"/>
                    </a:cubicBezTo>
                    <a:cubicBezTo>
                      <a:pt x="313" y="130"/>
                      <a:pt x="313" y="130"/>
                      <a:pt x="313" y="130"/>
                    </a:cubicBezTo>
                    <a:cubicBezTo>
                      <a:pt x="314" y="129"/>
                      <a:pt x="314" y="129"/>
                      <a:pt x="314" y="129"/>
                    </a:cubicBezTo>
                    <a:cubicBezTo>
                      <a:pt x="313" y="130"/>
                      <a:pt x="313" y="130"/>
                      <a:pt x="313" y="130"/>
                    </a:cubicBezTo>
                    <a:cubicBezTo>
                      <a:pt x="311" y="136"/>
                      <a:pt x="311" y="136"/>
                      <a:pt x="311" y="136"/>
                    </a:cubicBezTo>
                    <a:cubicBezTo>
                      <a:pt x="308" y="137"/>
                      <a:pt x="308" y="137"/>
                      <a:pt x="308" y="137"/>
                    </a:cubicBezTo>
                    <a:cubicBezTo>
                      <a:pt x="298" y="138"/>
                      <a:pt x="298" y="138"/>
                      <a:pt x="298" y="138"/>
                    </a:cubicBezTo>
                    <a:cubicBezTo>
                      <a:pt x="295" y="140"/>
                      <a:pt x="295" y="140"/>
                      <a:pt x="295" y="140"/>
                    </a:cubicBezTo>
                    <a:cubicBezTo>
                      <a:pt x="295" y="140"/>
                      <a:pt x="295" y="140"/>
                      <a:pt x="295" y="141"/>
                    </a:cubicBezTo>
                    <a:cubicBezTo>
                      <a:pt x="294" y="141"/>
                      <a:pt x="294" y="141"/>
                      <a:pt x="294" y="141"/>
                    </a:cubicBezTo>
                    <a:cubicBezTo>
                      <a:pt x="293" y="142"/>
                      <a:pt x="293" y="142"/>
                      <a:pt x="293" y="142"/>
                    </a:cubicBezTo>
                    <a:cubicBezTo>
                      <a:pt x="294" y="142"/>
                      <a:pt x="294" y="142"/>
                      <a:pt x="294" y="142"/>
                    </a:cubicBezTo>
                    <a:cubicBezTo>
                      <a:pt x="293" y="143"/>
                      <a:pt x="293" y="143"/>
                      <a:pt x="293" y="144"/>
                    </a:cubicBezTo>
                    <a:cubicBezTo>
                      <a:pt x="293" y="144"/>
                      <a:pt x="293" y="144"/>
                      <a:pt x="293" y="144"/>
                    </a:cubicBezTo>
                    <a:cubicBezTo>
                      <a:pt x="293" y="144"/>
                      <a:pt x="293" y="145"/>
                      <a:pt x="292" y="145"/>
                    </a:cubicBezTo>
                    <a:cubicBezTo>
                      <a:pt x="292" y="145"/>
                      <a:pt x="291" y="146"/>
                      <a:pt x="290" y="146"/>
                    </a:cubicBezTo>
                    <a:cubicBezTo>
                      <a:pt x="290" y="146"/>
                      <a:pt x="290" y="146"/>
                      <a:pt x="289" y="146"/>
                    </a:cubicBezTo>
                    <a:cubicBezTo>
                      <a:pt x="289" y="146"/>
                      <a:pt x="289" y="145"/>
                      <a:pt x="288" y="145"/>
                    </a:cubicBezTo>
                    <a:cubicBezTo>
                      <a:pt x="287" y="145"/>
                      <a:pt x="287" y="145"/>
                      <a:pt x="286" y="145"/>
                    </a:cubicBezTo>
                    <a:cubicBezTo>
                      <a:pt x="286" y="145"/>
                      <a:pt x="285" y="145"/>
                      <a:pt x="285" y="145"/>
                    </a:cubicBezTo>
                    <a:cubicBezTo>
                      <a:pt x="284" y="146"/>
                      <a:pt x="283" y="146"/>
                      <a:pt x="283" y="146"/>
                    </a:cubicBezTo>
                    <a:cubicBezTo>
                      <a:pt x="283" y="146"/>
                      <a:pt x="283" y="146"/>
                      <a:pt x="282" y="146"/>
                    </a:cubicBezTo>
                    <a:cubicBezTo>
                      <a:pt x="282" y="145"/>
                      <a:pt x="281" y="146"/>
                      <a:pt x="282" y="145"/>
                    </a:cubicBezTo>
                    <a:cubicBezTo>
                      <a:pt x="283" y="144"/>
                      <a:pt x="282" y="144"/>
                      <a:pt x="283" y="144"/>
                    </a:cubicBezTo>
                    <a:cubicBezTo>
                      <a:pt x="283" y="144"/>
                      <a:pt x="283" y="144"/>
                      <a:pt x="283" y="144"/>
                    </a:cubicBezTo>
                    <a:cubicBezTo>
                      <a:pt x="283" y="143"/>
                      <a:pt x="280" y="140"/>
                      <a:pt x="280" y="140"/>
                    </a:cubicBezTo>
                    <a:cubicBezTo>
                      <a:pt x="279" y="140"/>
                      <a:pt x="279" y="139"/>
                      <a:pt x="279" y="139"/>
                    </a:cubicBezTo>
                    <a:cubicBezTo>
                      <a:pt x="278" y="139"/>
                      <a:pt x="278" y="139"/>
                      <a:pt x="278" y="139"/>
                    </a:cubicBezTo>
                    <a:cubicBezTo>
                      <a:pt x="278" y="139"/>
                      <a:pt x="278" y="138"/>
                      <a:pt x="277" y="137"/>
                    </a:cubicBezTo>
                    <a:cubicBezTo>
                      <a:pt x="277" y="137"/>
                      <a:pt x="277" y="137"/>
                      <a:pt x="277" y="137"/>
                    </a:cubicBezTo>
                    <a:cubicBezTo>
                      <a:pt x="277" y="137"/>
                      <a:pt x="277" y="137"/>
                      <a:pt x="277" y="137"/>
                    </a:cubicBezTo>
                    <a:cubicBezTo>
                      <a:pt x="277" y="137"/>
                      <a:pt x="277" y="137"/>
                      <a:pt x="276" y="137"/>
                    </a:cubicBezTo>
                    <a:cubicBezTo>
                      <a:pt x="276" y="137"/>
                      <a:pt x="276" y="137"/>
                      <a:pt x="276" y="137"/>
                    </a:cubicBezTo>
                    <a:cubicBezTo>
                      <a:pt x="276" y="137"/>
                      <a:pt x="276" y="137"/>
                      <a:pt x="276" y="137"/>
                    </a:cubicBezTo>
                    <a:cubicBezTo>
                      <a:pt x="276" y="138"/>
                      <a:pt x="276" y="138"/>
                      <a:pt x="276" y="138"/>
                    </a:cubicBezTo>
                    <a:cubicBezTo>
                      <a:pt x="277" y="138"/>
                      <a:pt x="277" y="139"/>
                      <a:pt x="277" y="139"/>
                    </a:cubicBezTo>
                    <a:cubicBezTo>
                      <a:pt x="277" y="140"/>
                      <a:pt x="277" y="140"/>
                      <a:pt x="276" y="140"/>
                    </a:cubicBezTo>
                    <a:cubicBezTo>
                      <a:pt x="276" y="141"/>
                      <a:pt x="276" y="141"/>
                      <a:pt x="276" y="141"/>
                    </a:cubicBezTo>
                    <a:cubicBezTo>
                      <a:pt x="276" y="141"/>
                      <a:pt x="275" y="142"/>
                      <a:pt x="275" y="143"/>
                    </a:cubicBezTo>
                    <a:cubicBezTo>
                      <a:pt x="275" y="143"/>
                      <a:pt x="275" y="143"/>
                      <a:pt x="275" y="143"/>
                    </a:cubicBezTo>
                    <a:cubicBezTo>
                      <a:pt x="276" y="143"/>
                      <a:pt x="276" y="145"/>
                      <a:pt x="276" y="145"/>
                    </a:cubicBezTo>
                    <a:cubicBezTo>
                      <a:pt x="276" y="145"/>
                      <a:pt x="275" y="145"/>
                      <a:pt x="275" y="146"/>
                    </a:cubicBezTo>
                    <a:cubicBezTo>
                      <a:pt x="275" y="146"/>
                      <a:pt x="274" y="147"/>
                      <a:pt x="274" y="146"/>
                    </a:cubicBezTo>
                    <a:cubicBezTo>
                      <a:pt x="273" y="146"/>
                      <a:pt x="273" y="146"/>
                      <a:pt x="273" y="146"/>
                    </a:cubicBezTo>
                    <a:cubicBezTo>
                      <a:pt x="273" y="145"/>
                      <a:pt x="273" y="145"/>
                      <a:pt x="273" y="144"/>
                    </a:cubicBezTo>
                    <a:cubicBezTo>
                      <a:pt x="273" y="144"/>
                      <a:pt x="272" y="142"/>
                      <a:pt x="272" y="142"/>
                    </a:cubicBezTo>
                    <a:cubicBezTo>
                      <a:pt x="272" y="142"/>
                      <a:pt x="271" y="142"/>
                      <a:pt x="271" y="142"/>
                    </a:cubicBezTo>
                    <a:cubicBezTo>
                      <a:pt x="270" y="143"/>
                      <a:pt x="270" y="142"/>
                      <a:pt x="270" y="143"/>
                    </a:cubicBezTo>
                    <a:cubicBezTo>
                      <a:pt x="270" y="143"/>
                      <a:pt x="270" y="144"/>
                      <a:pt x="269" y="144"/>
                    </a:cubicBezTo>
                    <a:cubicBezTo>
                      <a:pt x="269" y="144"/>
                      <a:pt x="269" y="144"/>
                      <a:pt x="269" y="144"/>
                    </a:cubicBezTo>
                    <a:cubicBezTo>
                      <a:pt x="269" y="143"/>
                      <a:pt x="268" y="143"/>
                      <a:pt x="269" y="143"/>
                    </a:cubicBezTo>
                    <a:cubicBezTo>
                      <a:pt x="269" y="142"/>
                      <a:pt x="269" y="142"/>
                      <a:pt x="269" y="142"/>
                    </a:cubicBezTo>
                    <a:cubicBezTo>
                      <a:pt x="270" y="142"/>
                      <a:pt x="270" y="141"/>
                      <a:pt x="270" y="141"/>
                    </a:cubicBezTo>
                    <a:cubicBezTo>
                      <a:pt x="270" y="141"/>
                      <a:pt x="271" y="140"/>
                      <a:pt x="271" y="139"/>
                    </a:cubicBezTo>
                    <a:cubicBezTo>
                      <a:pt x="271" y="138"/>
                      <a:pt x="270" y="137"/>
                      <a:pt x="270" y="137"/>
                    </a:cubicBezTo>
                    <a:cubicBezTo>
                      <a:pt x="270" y="137"/>
                      <a:pt x="271" y="136"/>
                      <a:pt x="269" y="136"/>
                    </a:cubicBezTo>
                    <a:cubicBezTo>
                      <a:pt x="267" y="135"/>
                      <a:pt x="266" y="134"/>
                      <a:pt x="266" y="134"/>
                    </a:cubicBezTo>
                    <a:cubicBezTo>
                      <a:pt x="265" y="134"/>
                      <a:pt x="265" y="134"/>
                      <a:pt x="265" y="134"/>
                    </a:cubicBezTo>
                    <a:cubicBezTo>
                      <a:pt x="265" y="135"/>
                      <a:pt x="265" y="135"/>
                      <a:pt x="265" y="135"/>
                    </a:cubicBezTo>
                    <a:cubicBezTo>
                      <a:pt x="265" y="135"/>
                      <a:pt x="265" y="136"/>
                      <a:pt x="265" y="136"/>
                    </a:cubicBezTo>
                    <a:cubicBezTo>
                      <a:pt x="265" y="136"/>
                      <a:pt x="265" y="136"/>
                      <a:pt x="265" y="136"/>
                    </a:cubicBezTo>
                    <a:cubicBezTo>
                      <a:pt x="264" y="136"/>
                      <a:pt x="264" y="136"/>
                      <a:pt x="264" y="136"/>
                    </a:cubicBezTo>
                    <a:cubicBezTo>
                      <a:pt x="264" y="137"/>
                      <a:pt x="264" y="137"/>
                      <a:pt x="264" y="137"/>
                    </a:cubicBezTo>
                    <a:cubicBezTo>
                      <a:pt x="264" y="137"/>
                      <a:pt x="264" y="138"/>
                      <a:pt x="264" y="138"/>
                    </a:cubicBezTo>
                    <a:cubicBezTo>
                      <a:pt x="264" y="138"/>
                      <a:pt x="263" y="138"/>
                      <a:pt x="263" y="138"/>
                    </a:cubicBezTo>
                    <a:cubicBezTo>
                      <a:pt x="263" y="138"/>
                      <a:pt x="263" y="137"/>
                      <a:pt x="263" y="137"/>
                    </a:cubicBezTo>
                    <a:cubicBezTo>
                      <a:pt x="262" y="137"/>
                      <a:pt x="262" y="138"/>
                      <a:pt x="262" y="138"/>
                    </a:cubicBezTo>
                    <a:cubicBezTo>
                      <a:pt x="261" y="138"/>
                      <a:pt x="261" y="139"/>
                      <a:pt x="261" y="139"/>
                    </a:cubicBezTo>
                    <a:cubicBezTo>
                      <a:pt x="261" y="139"/>
                      <a:pt x="261" y="141"/>
                      <a:pt x="261" y="141"/>
                    </a:cubicBezTo>
                    <a:cubicBezTo>
                      <a:pt x="261" y="141"/>
                      <a:pt x="261" y="141"/>
                      <a:pt x="261" y="142"/>
                    </a:cubicBezTo>
                    <a:cubicBezTo>
                      <a:pt x="260" y="142"/>
                      <a:pt x="260" y="142"/>
                      <a:pt x="260" y="143"/>
                    </a:cubicBezTo>
                    <a:cubicBezTo>
                      <a:pt x="260" y="143"/>
                      <a:pt x="260" y="143"/>
                      <a:pt x="260" y="144"/>
                    </a:cubicBezTo>
                    <a:cubicBezTo>
                      <a:pt x="260" y="144"/>
                      <a:pt x="261" y="146"/>
                      <a:pt x="261" y="147"/>
                    </a:cubicBezTo>
                    <a:cubicBezTo>
                      <a:pt x="261" y="147"/>
                      <a:pt x="261" y="149"/>
                      <a:pt x="261" y="149"/>
                    </a:cubicBezTo>
                    <a:cubicBezTo>
                      <a:pt x="260" y="150"/>
                      <a:pt x="260" y="152"/>
                      <a:pt x="260" y="152"/>
                    </a:cubicBezTo>
                    <a:cubicBezTo>
                      <a:pt x="259" y="152"/>
                      <a:pt x="258" y="153"/>
                      <a:pt x="258" y="153"/>
                    </a:cubicBezTo>
                    <a:cubicBezTo>
                      <a:pt x="258" y="153"/>
                      <a:pt x="257" y="153"/>
                      <a:pt x="257" y="152"/>
                    </a:cubicBezTo>
                    <a:cubicBezTo>
                      <a:pt x="256" y="151"/>
                      <a:pt x="256" y="150"/>
                      <a:pt x="256" y="149"/>
                    </a:cubicBezTo>
                    <a:cubicBezTo>
                      <a:pt x="256" y="149"/>
                      <a:pt x="256" y="148"/>
                      <a:pt x="256" y="148"/>
                    </a:cubicBezTo>
                    <a:cubicBezTo>
                      <a:pt x="256" y="148"/>
                      <a:pt x="256" y="148"/>
                      <a:pt x="256" y="148"/>
                    </a:cubicBezTo>
                    <a:cubicBezTo>
                      <a:pt x="256" y="147"/>
                      <a:pt x="256" y="146"/>
                      <a:pt x="256" y="146"/>
                    </a:cubicBezTo>
                    <a:cubicBezTo>
                      <a:pt x="256" y="145"/>
                      <a:pt x="256" y="145"/>
                      <a:pt x="256" y="145"/>
                    </a:cubicBezTo>
                    <a:cubicBezTo>
                      <a:pt x="256" y="144"/>
                      <a:pt x="256" y="144"/>
                      <a:pt x="256" y="143"/>
                    </a:cubicBezTo>
                    <a:cubicBezTo>
                      <a:pt x="257" y="141"/>
                      <a:pt x="257" y="141"/>
                      <a:pt x="257" y="141"/>
                    </a:cubicBezTo>
                    <a:cubicBezTo>
                      <a:pt x="257" y="140"/>
                      <a:pt x="257" y="140"/>
                      <a:pt x="257" y="139"/>
                    </a:cubicBezTo>
                    <a:cubicBezTo>
                      <a:pt x="257" y="139"/>
                      <a:pt x="257" y="138"/>
                      <a:pt x="257" y="139"/>
                    </a:cubicBezTo>
                    <a:cubicBezTo>
                      <a:pt x="256" y="139"/>
                      <a:pt x="256" y="139"/>
                      <a:pt x="256" y="140"/>
                    </a:cubicBezTo>
                    <a:cubicBezTo>
                      <a:pt x="256" y="140"/>
                      <a:pt x="255" y="141"/>
                      <a:pt x="255" y="140"/>
                    </a:cubicBezTo>
                    <a:cubicBezTo>
                      <a:pt x="255" y="140"/>
                      <a:pt x="255" y="139"/>
                      <a:pt x="255" y="139"/>
                    </a:cubicBezTo>
                    <a:cubicBezTo>
                      <a:pt x="256" y="138"/>
                      <a:pt x="256" y="138"/>
                      <a:pt x="256" y="138"/>
                    </a:cubicBezTo>
                    <a:cubicBezTo>
                      <a:pt x="256" y="137"/>
                      <a:pt x="257" y="137"/>
                      <a:pt x="257" y="137"/>
                    </a:cubicBezTo>
                    <a:cubicBezTo>
                      <a:pt x="257" y="137"/>
                      <a:pt x="258" y="135"/>
                      <a:pt x="258" y="135"/>
                    </a:cubicBezTo>
                    <a:cubicBezTo>
                      <a:pt x="258" y="135"/>
                      <a:pt x="258" y="134"/>
                      <a:pt x="259" y="134"/>
                    </a:cubicBezTo>
                    <a:cubicBezTo>
                      <a:pt x="259" y="133"/>
                      <a:pt x="259" y="133"/>
                      <a:pt x="259" y="134"/>
                    </a:cubicBezTo>
                    <a:cubicBezTo>
                      <a:pt x="259" y="134"/>
                      <a:pt x="259" y="134"/>
                      <a:pt x="259" y="134"/>
                    </a:cubicBezTo>
                    <a:cubicBezTo>
                      <a:pt x="259" y="134"/>
                      <a:pt x="260" y="134"/>
                      <a:pt x="260" y="134"/>
                    </a:cubicBezTo>
                    <a:cubicBezTo>
                      <a:pt x="260" y="134"/>
                      <a:pt x="260" y="134"/>
                      <a:pt x="260" y="134"/>
                    </a:cubicBezTo>
                    <a:cubicBezTo>
                      <a:pt x="260" y="134"/>
                      <a:pt x="260" y="134"/>
                      <a:pt x="260" y="134"/>
                    </a:cubicBezTo>
                    <a:cubicBezTo>
                      <a:pt x="261" y="135"/>
                      <a:pt x="261" y="134"/>
                      <a:pt x="261" y="134"/>
                    </a:cubicBezTo>
                    <a:cubicBezTo>
                      <a:pt x="261" y="134"/>
                      <a:pt x="261" y="133"/>
                      <a:pt x="262" y="133"/>
                    </a:cubicBezTo>
                    <a:cubicBezTo>
                      <a:pt x="263" y="133"/>
                      <a:pt x="263" y="133"/>
                      <a:pt x="263" y="133"/>
                    </a:cubicBezTo>
                    <a:cubicBezTo>
                      <a:pt x="263" y="133"/>
                      <a:pt x="263" y="133"/>
                      <a:pt x="264" y="133"/>
                    </a:cubicBezTo>
                    <a:cubicBezTo>
                      <a:pt x="264" y="133"/>
                      <a:pt x="264" y="133"/>
                      <a:pt x="265" y="133"/>
                    </a:cubicBezTo>
                    <a:cubicBezTo>
                      <a:pt x="265" y="133"/>
                      <a:pt x="265" y="133"/>
                      <a:pt x="265" y="133"/>
                    </a:cubicBezTo>
                    <a:cubicBezTo>
                      <a:pt x="266" y="134"/>
                      <a:pt x="266" y="134"/>
                      <a:pt x="267" y="134"/>
                    </a:cubicBezTo>
                    <a:cubicBezTo>
                      <a:pt x="267" y="133"/>
                      <a:pt x="267" y="133"/>
                      <a:pt x="268" y="133"/>
                    </a:cubicBezTo>
                    <a:cubicBezTo>
                      <a:pt x="269" y="134"/>
                      <a:pt x="270" y="134"/>
                      <a:pt x="268" y="133"/>
                    </a:cubicBezTo>
                    <a:cubicBezTo>
                      <a:pt x="267" y="132"/>
                      <a:pt x="268" y="132"/>
                      <a:pt x="267" y="132"/>
                    </a:cubicBezTo>
                    <a:cubicBezTo>
                      <a:pt x="267" y="131"/>
                      <a:pt x="267" y="131"/>
                      <a:pt x="266" y="131"/>
                    </a:cubicBezTo>
                    <a:cubicBezTo>
                      <a:pt x="266" y="131"/>
                      <a:pt x="265" y="131"/>
                      <a:pt x="265" y="131"/>
                    </a:cubicBezTo>
                    <a:cubicBezTo>
                      <a:pt x="265" y="131"/>
                      <a:pt x="265" y="130"/>
                      <a:pt x="265" y="130"/>
                    </a:cubicBezTo>
                    <a:cubicBezTo>
                      <a:pt x="265" y="130"/>
                      <a:pt x="265" y="130"/>
                      <a:pt x="264" y="130"/>
                    </a:cubicBezTo>
                    <a:cubicBezTo>
                      <a:pt x="263" y="130"/>
                      <a:pt x="263" y="130"/>
                      <a:pt x="262" y="130"/>
                    </a:cubicBezTo>
                    <a:cubicBezTo>
                      <a:pt x="262" y="130"/>
                      <a:pt x="261" y="130"/>
                      <a:pt x="261" y="130"/>
                    </a:cubicBezTo>
                    <a:cubicBezTo>
                      <a:pt x="261" y="130"/>
                      <a:pt x="260" y="131"/>
                      <a:pt x="260" y="131"/>
                    </a:cubicBezTo>
                    <a:cubicBezTo>
                      <a:pt x="260" y="131"/>
                      <a:pt x="259" y="131"/>
                      <a:pt x="259" y="131"/>
                    </a:cubicBezTo>
                    <a:cubicBezTo>
                      <a:pt x="259" y="131"/>
                      <a:pt x="259" y="130"/>
                      <a:pt x="259" y="131"/>
                    </a:cubicBezTo>
                    <a:cubicBezTo>
                      <a:pt x="258" y="131"/>
                      <a:pt x="259" y="131"/>
                      <a:pt x="258" y="131"/>
                    </a:cubicBezTo>
                    <a:cubicBezTo>
                      <a:pt x="258" y="131"/>
                      <a:pt x="257" y="131"/>
                      <a:pt x="257" y="130"/>
                    </a:cubicBezTo>
                    <a:cubicBezTo>
                      <a:pt x="257" y="130"/>
                      <a:pt x="257" y="130"/>
                      <a:pt x="257" y="129"/>
                    </a:cubicBezTo>
                    <a:cubicBezTo>
                      <a:pt x="256" y="129"/>
                      <a:pt x="255" y="129"/>
                      <a:pt x="255" y="129"/>
                    </a:cubicBezTo>
                    <a:cubicBezTo>
                      <a:pt x="255" y="129"/>
                      <a:pt x="255" y="129"/>
                      <a:pt x="254" y="129"/>
                    </a:cubicBezTo>
                    <a:cubicBezTo>
                      <a:pt x="254" y="130"/>
                      <a:pt x="254" y="130"/>
                      <a:pt x="254" y="129"/>
                    </a:cubicBezTo>
                    <a:cubicBezTo>
                      <a:pt x="254" y="129"/>
                      <a:pt x="255" y="128"/>
                      <a:pt x="254" y="128"/>
                    </a:cubicBezTo>
                    <a:cubicBezTo>
                      <a:pt x="253" y="128"/>
                      <a:pt x="253" y="128"/>
                      <a:pt x="253" y="128"/>
                    </a:cubicBezTo>
                    <a:cubicBezTo>
                      <a:pt x="253" y="128"/>
                      <a:pt x="252" y="128"/>
                      <a:pt x="252" y="129"/>
                    </a:cubicBezTo>
                    <a:cubicBezTo>
                      <a:pt x="252" y="129"/>
                      <a:pt x="252" y="129"/>
                      <a:pt x="251" y="129"/>
                    </a:cubicBezTo>
                    <a:cubicBezTo>
                      <a:pt x="251" y="129"/>
                      <a:pt x="250" y="129"/>
                      <a:pt x="250" y="130"/>
                    </a:cubicBezTo>
                    <a:cubicBezTo>
                      <a:pt x="250" y="130"/>
                      <a:pt x="249" y="130"/>
                      <a:pt x="249" y="130"/>
                    </a:cubicBezTo>
                    <a:cubicBezTo>
                      <a:pt x="249" y="130"/>
                      <a:pt x="249" y="131"/>
                      <a:pt x="248" y="131"/>
                    </a:cubicBezTo>
                    <a:cubicBezTo>
                      <a:pt x="247" y="130"/>
                      <a:pt x="247" y="130"/>
                      <a:pt x="247" y="130"/>
                    </a:cubicBezTo>
                    <a:cubicBezTo>
                      <a:pt x="247" y="129"/>
                      <a:pt x="248" y="129"/>
                      <a:pt x="247" y="129"/>
                    </a:cubicBezTo>
                    <a:cubicBezTo>
                      <a:pt x="246" y="129"/>
                      <a:pt x="245" y="129"/>
                      <a:pt x="244" y="129"/>
                    </a:cubicBezTo>
                    <a:cubicBezTo>
                      <a:pt x="244" y="130"/>
                      <a:pt x="244" y="130"/>
                      <a:pt x="243" y="130"/>
                    </a:cubicBezTo>
                    <a:cubicBezTo>
                      <a:pt x="242" y="130"/>
                      <a:pt x="242" y="129"/>
                      <a:pt x="242" y="129"/>
                    </a:cubicBezTo>
                    <a:close/>
                    <a:moveTo>
                      <a:pt x="239" y="121"/>
                    </a:moveTo>
                    <a:cubicBezTo>
                      <a:pt x="241" y="121"/>
                      <a:pt x="241" y="121"/>
                      <a:pt x="241" y="121"/>
                    </a:cubicBezTo>
                    <a:cubicBezTo>
                      <a:pt x="241" y="121"/>
                      <a:pt x="241" y="121"/>
                      <a:pt x="241" y="121"/>
                    </a:cubicBezTo>
                    <a:cubicBezTo>
                      <a:pt x="239" y="121"/>
                      <a:pt x="239" y="121"/>
                      <a:pt x="239" y="121"/>
                    </a:cubicBezTo>
                    <a:cubicBezTo>
                      <a:pt x="238" y="122"/>
                      <a:pt x="238" y="122"/>
                      <a:pt x="238" y="122"/>
                    </a:cubicBezTo>
                    <a:lnTo>
                      <a:pt x="239" y="121"/>
                    </a:lnTo>
                    <a:close/>
                    <a:moveTo>
                      <a:pt x="238" y="122"/>
                    </a:moveTo>
                    <a:cubicBezTo>
                      <a:pt x="238" y="122"/>
                      <a:pt x="238" y="122"/>
                      <a:pt x="238" y="122"/>
                    </a:cubicBezTo>
                    <a:cubicBezTo>
                      <a:pt x="238" y="121"/>
                      <a:pt x="238" y="121"/>
                      <a:pt x="238" y="121"/>
                    </a:cubicBezTo>
                    <a:lnTo>
                      <a:pt x="238" y="122"/>
                    </a:lnTo>
                    <a:close/>
                    <a:moveTo>
                      <a:pt x="238" y="121"/>
                    </a:moveTo>
                    <a:cubicBezTo>
                      <a:pt x="238" y="121"/>
                      <a:pt x="238" y="121"/>
                      <a:pt x="238" y="121"/>
                    </a:cubicBezTo>
                    <a:cubicBezTo>
                      <a:pt x="237" y="121"/>
                      <a:pt x="237" y="121"/>
                      <a:pt x="237" y="121"/>
                    </a:cubicBezTo>
                    <a:lnTo>
                      <a:pt x="238" y="121"/>
                    </a:lnTo>
                    <a:close/>
                    <a:moveTo>
                      <a:pt x="235" y="121"/>
                    </a:moveTo>
                    <a:cubicBezTo>
                      <a:pt x="234" y="121"/>
                      <a:pt x="234" y="121"/>
                      <a:pt x="234" y="121"/>
                    </a:cubicBezTo>
                    <a:cubicBezTo>
                      <a:pt x="234" y="121"/>
                      <a:pt x="234" y="121"/>
                      <a:pt x="234" y="121"/>
                    </a:cubicBezTo>
                    <a:lnTo>
                      <a:pt x="235" y="121"/>
                    </a:lnTo>
                    <a:close/>
                    <a:moveTo>
                      <a:pt x="89" y="64"/>
                    </a:moveTo>
                    <a:cubicBezTo>
                      <a:pt x="89" y="64"/>
                      <a:pt x="89" y="64"/>
                      <a:pt x="89" y="64"/>
                    </a:cubicBezTo>
                    <a:cubicBezTo>
                      <a:pt x="89" y="64"/>
                      <a:pt x="89" y="64"/>
                      <a:pt x="89" y="64"/>
                    </a:cubicBezTo>
                    <a:close/>
                    <a:moveTo>
                      <a:pt x="92" y="65"/>
                    </a:moveTo>
                    <a:cubicBezTo>
                      <a:pt x="92" y="64"/>
                      <a:pt x="92" y="64"/>
                      <a:pt x="92" y="64"/>
                    </a:cubicBezTo>
                    <a:cubicBezTo>
                      <a:pt x="91" y="64"/>
                      <a:pt x="91" y="64"/>
                      <a:pt x="91" y="64"/>
                    </a:cubicBezTo>
                    <a:cubicBezTo>
                      <a:pt x="90" y="64"/>
                      <a:pt x="90" y="64"/>
                      <a:pt x="90" y="64"/>
                    </a:cubicBezTo>
                    <a:cubicBezTo>
                      <a:pt x="91" y="64"/>
                      <a:pt x="91" y="64"/>
                      <a:pt x="91" y="64"/>
                    </a:cubicBezTo>
                    <a:cubicBezTo>
                      <a:pt x="92" y="64"/>
                      <a:pt x="92" y="64"/>
                      <a:pt x="92" y="64"/>
                    </a:cubicBezTo>
                    <a:cubicBezTo>
                      <a:pt x="92" y="65"/>
                      <a:pt x="92" y="65"/>
                      <a:pt x="92" y="65"/>
                    </a:cubicBezTo>
                    <a:close/>
                    <a:moveTo>
                      <a:pt x="202" y="203"/>
                    </a:moveTo>
                    <a:cubicBezTo>
                      <a:pt x="202" y="200"/>
                      <a:pt x="202" y="200"/>
                      <a:pt x="202" y="200"/>
                    </a:cubicBezTo>
                    <a:cubicBezTo>
                      <a:pt x="202" y="200"/>
                      <a:pt x="201" y="200"/>
                      <a:pt x="201" y="199"/>
                    </a:cubicBezTo>
                    <a:cubicBezTo>
                      <a:pt x="201" y="200"/>
                      <a:pt x="202" y="200"/>
                      <a:pt x="202" y="200"/>
                    </a:cubicBezTo>
                    <a:cubicBezTo>
                      <a:pt x="202" y="203"/>
                      <a:pt x="202" y="203"/>
                      <a:pt x="202" y="203"/>
                    </a:cubicBezTo>
                    <a:cubicBezTo>
                      <a:pt x="202" y="203"/>
                      <a:pt x="203" y="204"/>
                      <a:pt x="203" y="204"/>
                    </a:cubicBezTo>
                    <a:cubicBezTo>
                      <a:pt x="203" y="204"/>
                      <a:pt x="202" y="203"/>
                      <a:pt x="202" y="203"/>
                    </a:cubicBezTo>
                    <a:close/>
                    <a:moveTo>
                      <a:pt x="206" y="206"/>
                    </a:moveTo>
                    <a:cubicBezTo>
                      <a:pt x="206" y="206"/>
                      <a:pt x="206" y="206"/>
                      <a:pt x="206" y="206"/>
                    </a:cubicBezTo>
                    <a:cubicBezTo>
                      <a:pt x="206" y="206"/>
                      <a:pt x="206" y="206"/>
                      <a:pt x="206" y="206"/>
                    </a:cubicBezTo>
                    <a:cubicBezTo>
                      <a:pt x="207" y="206"/>
                      <a:pt x="208" y="205"/>
                      <a:pt x="208" y="204"/>
                    </a:cubicBezTo>
                    <a:cubicBezTo>
                      <a:pt x="208" y="205"/>
                      <a:pt x="207" y="206"/>
                      <a:pt x="206" y="206"/>
                    </a:cubicBezTo>
                    <a:close/>
                    <a:moveTo>
                      <a:pt x="210" y="203"/>
                    </a:moveTo>
                    <a:cubicBezTo>
                      <a:pt x="208" y="203"/>
                      <a:pt x="209" y="203"/>
                      <a:pt x="209" y="204"/>
                    </a:cubicBezTo>
                    <a:cubicBezTo>
                      <a:pt x="209" y="203"/>
                      <a:pt x="208" y="203"/>
                      <a:pt x="210" y="203"/>
                    </a:cubicBezTo>
                    <a:cubicBezTo>
                      <a:pt x="211" y="203"/>
                      <a:pt x="211" y="203"/>
                      <a:pt x="212" y="204"/>
                    </a:cubicBezTo>
                    <a:cubicBezTo>
                      <a:pt x="211" y="203"/>
                      <a:pt x="211" y="203"/>
                      <a:pt x="210" y="203"/>
                    </a:cubicBezTo>
                    <a:close/>
                    <a:moveTo>
                      <a:pt x="214" y="204"/>
                    </a:moveTo>
                    <a:cubicBezTo>
                      <a:pt x="214" y="204"/>
                      <a:pt x="214" y="204"/>
                      <a:pt x="214" y="204"/>
                    </a:cubicBezTo>
                    <a:cubicBezTo>
                      <a:pt x="214" y="204"/>
                      <a:pt x="214" y="204"/>
                      <a:pt x="214" y="204"/>
                    </a:cubicBezTo>
                    <a:cubicBezTo>
                      <a:pt x="214" y="204"/>
                      <a:pt x="214" y="204"/>
                      <a:pt x="214" y="204"/>
                    </a:cubicBezTo>
                    <a:close/>
                    <a:moveTo>
                      <a:pt x="215" y="209"/>
                    </a:moveTo>
                    <a:cubicBezTo>
                      <a:pt x="215" y="208"/>
                      <a:pt x="215" y="208"/>
                      <a:pt x="215" y="207"/>
                    </a:cubicBezTo>
                    <a:cubicBezTo>
                      <a:pt x="215" y="208"/>
                      <a:pt x="215" y="208"/>
                      <a:pt x="215" y="209"/>
                    </a:cubicBezTo>
                    <a:cubicBezTo>
                      <a:pt x="215" y="209"/>
                      <a:pt x="215" y="209"/>
                      <a:pt x="216" y="209"/>
                    </a:cubicBezTo>
                    <a:cubicBezTo>
                      <a:pt x="215" y="209"/>
                      <a:pt x="215" y="209"/>
                      <a:pt x="215" y="209"/>
                    </a:cubicBezTo>
                    <a:close/>
                    <a:moveTo>
                      <a:pt x="217" y="211"/>
                    </a:moveTo>
                    <a:cubicBezTo>
                      <a:pt x="217" y="211"/>
                      <a:pt x="217" y="211"/>
                      <a:pt x="217" y="211"/>
                    </a:cubicBezTo>
                    <a:cubicBezTo>
                      <a:pt x="217" y="211"/>
                      <a:pt x="217" y="211"/>
                      <a:pt x="217" y="211"/>
                    </a:cubicBezTo>
                    <a:cubicBezTo>
                      <a:pt x="217" y="211"/>
                      <a:pt x="217" y="211"/>
                      <a:pt x="217" y="211"/>
                    </a:cubicBezTo>
                    <a:close/>
                    <a:moveTo>
                      <a:pt x="220" y="216"/>
                    </a:moveTo>
                    <a:cubicBezTo>
                      <a:pt x="219" y="214"/>
                      <a:pt x="219" y="214"/>
                      <a:pt x="219" y="214"/>
                    </a:cubicBezTo>
                    <a:cubicBezTo>
                      <a:pt x="219" y="214"/>
                      <a:pt x="219" y="214"/>
                      <a:pt x="219" y="213"/>
                    </a:cubicBezTo>
                    <a:cubicBezTo>
                      <a:pt x="219" y="214"/>
                      <a:pt x="219" y="214"/>
                      <a:pt x="219" y="214"/>
                    </a:cubicBezTo>
                    <a:cubicBezTo>
                      <a:pt x="220" y="216"/>
                      <a:pt x="220" y="216"/>
                      <a:pt x="220" y="216"/>
                    </a:cubicBezTo>
                    <a:cubicBezTo>
                      <a:pt x="220" y="216"/>
                      <a:pt x="220" y="217"/>
                      <a:pt x="220" y="218"/>
                    </a:cubicBezTo>
                    <a:cubicBezTo>
                      <a:pt x="220" y="217"/>
                      <a:pt x="220" y="216"/>
                      <a:pt x="220" y="216"/>
                    </a:cubicBezTo>
                    <a:close/>
                    <a:moveTo>
                      <a:pt x="252" y="251"/>
                    </a:moveTo>
                    <a:cubicBezTo>
                      <a:pt x="252" y="251"/>
                      <a:pt x="253" y="251"/>
                      <a:pt x="253" y="251"/>
                    </a:cubicBezTo>
                    <a:cubicBezTo>
                      <a:pt x="253" y="251"/>
                      <a:pt x="252" y="251"/>
                      <a:pt x="252" y="251"/>
                    </a:cubicBezTo>
                    <a:close/>
                    <a:moveTo>
                      <a:pt x="252" y="262"/>
                    </a:moveTo>
                    <a:cubicBezTo>
                      <a:pt x="252" y="262"/>
                      <a:pt x="252" y="263"/>
                      <a:pt x="252" y="263"/>
                    </a:cubicBezTo>
                    <a:cubicBezTo>
                      <a:pt x="252" y="263"/>
                      <a:pt x="252" y="264"/>
                      <a:pt x="252" y="264"/>
                    </a:cubicBezTo>
                    <a:cubicBezTo>
                      <a:pt x="252" y="264"/>
                      <a:pt x="252" y="264"/>
                      <a:pt x="252" y="264"/>
                    </a:cubicBezTo>
                    <a:cubicBezTo>
                      <a:pt x="252" y="264"/>
                      <a:pt x="252" y="264"/>
                      <a:pt x="251" y="265"/>
                    </a:cubicBezTo>
                    <a:cubicBezTo>
                      <a:pt x="252" y="264"/>
                      <a:pt x="252" y="264"/>
                      <a:pt x="252" y="264"/>
                    </a:cubicBezTo>
                    <a:cubicBezTo>
                      <a:pt x="252" y="264"/>
                      <a:pt x="252" y="263"/>
                      <a:pt x="252" y="263"/>
                    </a:cubicBezTo>
                    <a:cubicBezTo>
                      <a:pt x="252" y="263"/>
                      <a:pt x="252" y="262"/>
                      <a:pt x="252" y="262"/>
                    </a:cubicBezTo>
                    <a:cubicBezTo>
                      <a:pt x="255" y="260"/>
                      <a:pt x="255" y="260"/>
                      <a:pt x="255" y="260"/>
                    </a:cubicBezTo>
                    <a:lnTo>
                      <a:pt x="252" y="262"/>
                    </a:lnTo>
                    <a:close/>
                    <a:moveTo>
                      <a:pt x="259" y="270"/>
                    </a:moveTo>
                    <a:cubicBezTo>
                      <a:pt x="258" y="271"/>
                      <a:pt x="258" y="271"/>
                      <a:pt x="258" y="271"/>
                    </a:cubicBezTo>
                    <a:cubicBezTo>
                      <a:pt x="258" y="271"/>
                      <a:pt x="258" y="271"/>
                      <a:pt x="258" y="271"/>
                    </a:cubicBezTo>
                    <a:cubicBezTo>
                      <a:pt x="259" y="270"/>
                      <a:pt x="259" y="270"/>
                      <a:pt x="259" y="270"/>
                    </a:cubicBezTo>
                    <a:cubicBezTo>
                      <a:pt x="260" y="268"/>
                      <a:pt x="260" y="268"/>
                      <a:pt x="260" y="268"/>
                    </a:cubicBezTo>
                    <a:lnTo>
                      <a:pt x="259" y="270"/>
                    </a:lnTo>
                    <a:close/>
                    <a:moveTo>
                      <a:pt x="264" y="267"/>
                    </a:moveTo>
                    <a:cubicBezTo>
                      <a:pt x="263" y="267"/>
                      <a:pt x="263" y="268"/>
                      <a:pt x="262" y="268"/>
                    </a:cubicBezTo>
                    <a:cubicBezTo>
                      <a:pt x="262" y="268"/>
                      <a:pt x="260" y="267"/>
                      <a:pt x="260" y="267"/>
                    </a:cubicBezTo>
                    <a:cubicBezTo>
                      <a:pt x="260" y="267"/>
                      <a:pt x="260" y="267"/>
                      <a:pt x="260" y="267"/>
                    </a:cubicBezTo>
                    <a:cubicBezTo>
                      <a:pt x="260" y="267"/>
                      <a:pt x="262" y="268"/>
                      <a:pt x="262" y="268"/>
                    </a:cubicBezTo>
                    <a:cubicBezTo>
                      <a:pt x="263" y="268"/>
                      <a:pt x="263" y="267"/>
                      <a:pt x="264" y="267"/>
                    </a:cubicBezTo>
                    <a:cubicBezTo>
                      <a:pt x="264" y="266"/>
                      <a:pt x="265" y="264"/>
                      <a:pt x="265" y="263"/>
                    </a:cubicBezTo>
                    <a:cubicBezTo>
                      <a:pt x="265" y="263"/>
                      <a:pt x="266" y="263"/>
                      <a:pt x="266" y="263"/>
                    </a:cubicBezTo>
                    <a:cubicBezTo>
                      <a:pt x="266" y="263"/>
                      <a:pt x="265" y="263"/>
                      <a:pt x="265" y="263"/>
                    </a:cubicBezTo>
                    <a:cubicBezTo>
                      <a:pt x="265" y="264"/>
                      <a:pt x="264" y="266"/>
                      <a:pt x="264" y="267"/>
                    </a:cubicBezTo>
                    <a:close/>
                    <a:moveTo>
                      <a:pt x="268" y="280"/>
                    </a:moveTo>
                    <a:cubicBezTo>
                      <a:pt x="267" y="280"/>
                      <a:pt x="266" y="279"/>
                      <a:pt x="266" y="279"/>
                    </a:cubicBezTo>
                    <a:cubicBezTo>
                      <a:pt x="266" y="279"/>
                      <a:pt x="266" y="279"/>
                      <a:pt x="266" y="279"/>
                    </a:cubicBezTo>
                    <a:cubicBezTo>
                      <a:pt x="265" y="278"/>
                      <a:pt x="265" y="278"/>
                      <a:pt x="265" y="278"/>
                    </a:cubicBezTo>
                    <a:cubicBezTo>
                      <a:pt x="266" y="279"/>
                      <a:pt x="266" y="279"/>
                      <a:pt x="266" y="279"/>
                    </a:cubicBezTo>
                    <a:cubicBezTo>
                      <a:pt x="266" y="279"/>
                      <a:pt x="266" y="279"/>
                      <a:pt x="266" y="279"/>
                    </a:cubicBezTo>
                    <a:cubicBezTo>
                      <a:pt x="266" y="279"/>
                      <a:pt x="267" y="280"/>
                      <a:pt x="268" y="280"/>
                    </a:cubicBezTo>
                    <a:cubicBezTo>
                      <a:pt x="268" y="280"/>
                      <a:pt x="268" y="280"/>
                      <a:pt x="268" y="280"/>
                    </a:cubicBezTo>
                    <a:cubicBezTo>
                      <a:pt x="268" y="280"/>
                      <a:pt x="268" y="280"/>
                      <a:pt x="268" y="28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83" name="Freeform 218">
                <a:extLst>
                  <a:ext uri="{FF2B5EF4-FFF2-40B4-BE49-F238E27FC236}">
                    <a16:creationId xmlns:a16="http://schemas.microsoft.com/office/drawing/2014/main" id="{F36E3CA6-953E-4287-85FB-505A1DD2DC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2337"/>
                <a:ext cx="5" cy="10"/>
              </a:xfrm>
              <a:custGeom>
                <a:avLst/>
                <a:gdLst>
                  <a:gd name="T0" fmla="*/ 0 w 2"/>
                  <a:gd name="T1" fmla="*/ 3 h 4"/>
                  <a:gd name="T2" fmla="*/ 1 w 2"/>
                  <a:gd name="T3" fmla="*/ 3 h 4"/>
                  <a:gd name="T4" fmla="*/ 1 w 2"/>
                  <a:gd name="T5" fmla="*/ 3 h 4"/>
                  <a:gd name="T6" fmla="*/ 2 w 2"/>
                  <a:gd name="T7" fmla="*/ 4 h 4"/>
                  <a:gd name="T8" fmla="*/ 2 w 2"/>
                  <a:gd name="T9" fmla="*/ 4 h 4"/>
                  <a:gd name="T10" fmla="*/ 2 w 2"/>
                  <a:gd name="T11" fmla="*/ 3 h 4"/>
                  <a:gd name="T12" fmla="*/ 2 w 2"/>
                  <a:gd name="T13" fmla="*/ 3 h 4"/>
                  <a:gd name="T14" fmla="*/ 2 w 2"/>
                  <a:gd name="T15" fmla="*/ 2 h 4"/>
                  <a:gd name="T16" fmla="*/ 2 w 2"/>
                  <a:gd name="T17" fmla="*/ 2 h 4"/>
                  <a:gd name="T18" fmla="*/ 2 w 2"/>
                  <a:gd name="T19" fmla="*/ 1 h 4"/>
                  <a:gd name="T20" fmla="*/ 2 w 2"/>
                  <a:gd name="T21" fmla="*/ 0 h 4"/>
                  <a:gd name="T22" fmla="*/ 2 w 2"/>
                  <a:gd name="T23" fmla="*/ 0 h 4"/>
                  <a:gd name="T24" fmla="*/ 1 w 2"/>
                  <a:gd name="T25" fmla="*/ 0 h 4"/>
                  <a:gd name="T26" fmla="*/ 1 w 2"/>
                  <a:gd name="T27" fmla="*/ 1 h 4"/>
                  <a:gd name="T28" fmla="*/ 1 w 2"/>
                  <a:gd name="T29" fmla="*/ 1 h 4"/>
                  <a:gd name="T30" fmla="*/ 0 w 2"/>
                  <a:gd name="T31" fmla="*/ 2 h 4"/>
                  <a:gd name="T32" fmla="*/ 0 w 2"/>
                  <a:gd name="T33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" h="4">
                    <a:moveTo>
                      <a:pt x="0" y="3"/>
                    </a:moveTo>
                    <a:cubicBezTo>
                      <a:pt x="0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62" name="Freeform 220">
              <a:extLst>
                <a:ext uri="{FF2B5EF4-FFF2-40B4-BE49-F238E27FC236}">
                  <a16:creationId xmlns:a16="http://schemas.microsoft.com/office/drawing/2014/main" id="{8F961E71-80CA-48D9-A14E-C7018DCF3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9" y="2347"/>
              <a:ext cx="4" cy="4"/>
            </a:xfrm>
            <a:custGeom>
              <a:avLst/>
              <a:gdLst>
                <a:gd name="T0" fmla="*/ 0 w 2"/>
                <a:gd name="T1" fmla="*/ 1 h 2"/>
                <a:gd name="T2" fmla="*/ 0 w 2"/>
                <a:gd name="T3" fmla="*/ 2 h 2"/>
                <a:gd name="T4" fmla="*/ 0 w 2"/>
                <a:gd name="T5" fmla="*/ 2 h 2"/>
                <a:gd name="T6" fmla="*/ 1 w 2"/>
                <a:gd name="T7" fmla="*/ 2 h 2"/>
                <a:gd name="T8" fmla="*/ 1 w 2"/>
                <a:gd name="T9" fmla="*/ 2 h 2"/>
                <a:gd name="T10" fmla="*/ 1 w 2"/>
                <a:gd name="T11" fmla="*/ 0 h 2"/>
                <a:gd name="T12" fmla="*/ 1 w 2"/>
                <a:gd name="T13" fmla="*/ 0 h 2"/>
                <a:gd name="T14" fmla="*/ 1 w 2"/>
                <a:gd name="T15" fmla="*/ 0 h 2"/>
                <a:gd name="T16" fmla="*/ 0 w 2"/>
                <a:gd name="T17" fmla="*/ 0 h 2"/>
                <a:gd name="T18" fmla="*/ 0 w 2"/>
                <a:gd name="T1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6" name="Freeform 221">
              <a:extLst>
                <a:ext uri="{FF2B5EF4-FFF2-40B4-BE49-F238E27FC236}">
                  <a16:creationId xmlns:a16="http://schemas.microsoft.com/office/drawing/2014/main" id="{4271AE7C-FC47-41E6-B668-36A071677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" y="2408"/>
              <a:ext cx="3" cy="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1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7" name="Freeform 222">
              <a:extLst>
                <a:ext uri="{FF2B5EF4-FFF2-40B4-BE49-F238E27FC236}">
                  <a16:creationId xmlns:a16="http://schemas.microsoft.com/office/drawing/2014/main" id="{F2F503D5-9151-41F0-957E-23D17FF48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" y="2411"/>
              <a:ext cx="3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  <a:gd name="T8" fmla="*/ 1 w 1"/>
                <a:gd name="T9" fmla="*/ 1 h 1"/>
                <a:gd name="T10" fmla="*/ 0 w 1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8" name="Freeform 223">
              <a:extLst>
                <a:ext uri="{FF2B5EF4-FFF2-40B4-BE49-F238E27FC236}">
                  <a16:creationId xmlns:a16="http://schemas.microsoft.com/office/drawing/2014/main" id="{C6DB1961-B13A-40D1-BD60-92EFC10DBE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5" y="2413"/>
              <a:ext cx="0" cy="2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1 h 1"/>
                <a:gd name="T4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82" name="Freeform 224">
              <a:extLst>
                <a:ext uri="{FF2B5EF4-FFF2-40B4-BE49-F238E27FC236}">
                  <a16:creationId xmlns:a16="http://schemas.microsoft.com/office/drawing/2014/main" id="{2B05C20C-452D-4720-B237-BE19754B5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7" y="2418"/>
              <a:ext cx="0" cy="2"/>
            </a:xfrm>
            <a:custGeom>
              <a:avLst/>
              <a:gdLst>
                <a:gd name="T0" fmla="*/ 0 h 1"/>
                <a:gd name="T1" fmla="*/ 0 h 1"/>
                <a:gd name="T2" fmla="*/ 0 h 1"/>
                <a:gd name="T3" fmla="*/ 0 h 1"/>
                <a:gd name="T4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83" name="Freeform 225">
              <a:extLst>
                <a:ext uri="{FF2B5EF4-FFF2-40B4-BE49-F238E27FC236}">
                  <a16:creationId xmlns:a16="http://schemas.microsoft.com/office/drawing/2014/main" id="{CE61B789-75BB-4CA1-BDF7-0D3B0220F2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1" y="2458"/>
              <a:ext cx="364" cy="648"/>
            </a:xfrm>
            <a:custGeom>
              <a:avLst/>
              <a:gdLst>
                <a:gd name="T0" fmla="*/ 127 w 154"/>
                <a:gd name="T1" fmla="*/ 58 h 273"/>
                <a:gd name="T2" fmla="*/ 111 w 154"/>
                <a:gd name="T3" fmla="*/ 52 h 273"/>
                <a:gd name="T4" fmla="*/ 100 w 154"/>
                <a:gd name="T5" fmla="*/ 51 h 273"/>
                <a:gd name="T6" fmla="*/ 100 w 154"/>
                <a:gd name="T7" fmla="*/ 32 h 273"/>
                <a:gd name="T8" fmla="*/ 88 w 154"/>
                <a:gd name="T9" fmla="*/ 25 h 273"/>
                <a:gd name="T10" fmla="*/ 74 w 154"/>
                <a:gd name="T11" fmla="*/ 16 h 273"/>
                <a:gd name="T12" fmla="*/ 65 w 154"/>
                <a:gd name="T13" fmla="*/ 9 h 273"/>
                <a:gd name="T14" fmla="*/ 42 w 154"/>
                <a:gd name="T15" fmla="*/ 2 h 273"/>
                <a:gd name="T16" fmla="*/ 36 w 154"/>
                <a:gd name="T17" fmla="*/ 6 h 273"/>
                <a:gd name="T18" fmla="*/ 26 w 154"/>
                <a:gd name="T19" fmla="*/ 5 h 273"/>
                <a:gd name="T20" fmla="*/ 3 w 154"/>
                <a:gd name="T21" fmla="*/ 12 h 273"/>
                <a:gd name="T22" fmla="*/ 9 w 154"/>
                <a:gd name="T23" fmla="*/ 19 h 273"/>
                <a:gd name="T24" fmla="*/ 17 w 154"/>
                <a:gd name="T25" fmla="*/ 21 h 273"/>
                <a:gd name="T26" fmla="*/ 13 w 154"/>
                <a:gd name="T27" fmla="*/ 43 h 273"/>
                <a:gd name="T28" fmla="*/ 8 w 154"/>
                <a:gd name="T29" fmla="*/ 61 h 273"/>
                <a:gd name="T30" fmla="*/ 20 w 154"/>
                <a:gd name="T31" fmla="*/ 97 h 273"/>
                <a:gd name="T32" fmla="*/ 40 w 154"/>
                <a:gd name="T33" fmla="*/ 122 h 273"/>
                <a:gd name="T34" fmla="*/ 37 w 154"/>
                <a:gd name="T35" fmla="*/ 160 h 273"/>
                <a:gd name="T36" fmla="*/ 34 w 154"/>
                <a:gd name="T37" fmla="*/ 187 h 273"/>
                <a:gd name="T38" fmla="*/ 29 w 154"/>
                <a:gd name="T39" fmla="*/ 213 h 273"/>
                <a:gd name="T40" fmla="*/ 32 w 154"/>
                <a:gd name="T41" fmla="*/ 222 h 273"/>
                <a:gd name="T42" fmla="*/ 29 w 154"/>
                <a:gd name="T43" fmla="*/ 237 h 273"/>
                <a:gd name="T44" fmla="*/ 25 w 154"/>
                <a:gd name="T45" fmla="*/ 239 h 273"/>
                <a:gd name="T46" fmla="*/ 31 w 154"/>
                <a:gd name="T47" fmla="*/ 269 h 273"/>
                <a:gd name="T48" fmla="*/ 45 w 154"/>
                <a:gd name="T49" fmla="*/ 262 h 273"/>
                <a:gd name="T50" fmla="*/ 50 w 154"/>
                <a:gd name="T51" fmla="*/ 239 h 273"/>
                <a:gd name="T52" fmla="*/ 59 w 154"/>
                <a:gd name="T53" fmla="*/ 221 h 273"/>
                <a:gd name="T54" fmla="*/ 63 w 154"/>
                <a:gd name="T55" fmla="*/ 214 h 273"/>
                <a:gd name="T56" fmla="*/ 83 w 154"/>
                <a:gd name="T57" fmla="*/ 193 h 273"/>
                <a:gd name="T58" fmla="*/ 82 w 154"/>
                <a:gd name="T59" fmla="*/ 186 h 273"/>
                <a:gd name="T60" fmla="*/ 104 w 154"/>
                <a:gd name="T61" fmla="*/ 168 h 273"/>
                <a:gd name="T62" fmla="*/ 126 w 154"/>
                <a:gd name="T63" fmla="*/ 138 h 273"/>
                <a:gd name="T64" fmla="*/ 140 w 154"/>
                <a:gd name="T65" fmla="*/ 101 h 273"/>
                <a:gd name="T66" fmla="*/ 8 w 154"/>
                <a:gd name="T67" fmla="*/ 63 h 273"/>
                <a:gd name="T68" fmla="*/ 72 w 154"/>
                <a:gd name="T69" fmla="*/ 29 h 273"/>
                <a:gd name="T70" fmla="*/ 50 w 154"/>
                <a:gd name="T71" fmla="*/ 24 h 273"/>
                <a:gd name="T72" fmla="*/ 47 w 154"/>
                <a:gd name="T73" fmla="*/ 41 h 273"/>
                <a:gd name="T74" fmla="*/ 43 w 154"/>
                <a:gd name="T75" fmla="*/ 53 h 273"/>
                <a:gd name="T76" fmla="*/ 29 w 154"/>
                <a:gd name="T77" fmla="*/ 75 h 273"/>
                <a:gd name="T78" fmla="*/ 13 w 154"/>
                <a:gd name="T79" fmla="*/ 65 h 273"/>
                <a:gd name="T80" fmla="*/ 31 w 154"/>
                <a:gd name="T81" fmla="*/ 68 h 273"/>
                <a:gd name="T82" fmla="*/ 35 w 154"/>
                <a:gd name="T83" fmla="*/ 86 h 273"/>
                <a:gd name="T84" fmla="*/ 40 w 154"/>
                <a:gd name="T85" fmla="*/ 64 h 273"/>
                <a:gd name="T86" fmla="*/ 40 w 154"/>
                <a:gd name="T87" fmla="*/ 178 h 273"/>
                <a:gd name="T88" fmla="*/ 38 w 154"/>
                <a:gd name="T89" fmla="*/ 195 h 273"/>
                <a:gd name="T90" fmla="*/ 36 w 154"/>
                <a:gd name="T91" fmla="*/ 228 h 273"/>
                <a:gd name="T92" fmla="*/ 35 w 154"/>
                <a:gd name="T93" fmla="*/ 249 h 273"/>
                <a:gd name="T94" fmla="*/ 45 w 154"/>
                <a:gd name="T95" fmla="*/ 112 h 273"/>
                <a:gd name="T96" fmla="*/ 46 w 154"/>
                <a:gd name="T97" fmla="*/ 148 h 273"/>
                <a:gd name="T98" fmla="*/ 50 w 154"/>
                <a:gd name="T99" fmla="*/ 142 h 273"/>
                <a:gd name="T100" fmla="*/ 56 w 154"/>
                <a:gd name="T101" fmla="*/ 95 h 273"/>
                <a:gd name="T102" fmla="*/ 59 w 154"/>
                <a:gd name="T103" fmla="*/ 32 h 273"/>
                <a:gd name="T104" fmla="*/ 65 w 154"/>
                <a:gd name="T105" fmla="*/ 99 h 273"/>
                <a:gd name="T106" fmla="*/ 70 w 154"/>
                <a:gd name="T107" fmla="*/ 142 h 273"/>
                <a:gd name="T108" fmla="*/ 80 w 154"/>
                <a:gd name="T109" fmla="*/ 35 h 273"/>
                <a:gd name="T110" fmla="*/ 79 w 154"/>
                <a:gd name="T111" fmla="*/ 152 h 273"/>
                <a:gd name="T112" fmla="*/ 79 w 154"/>
                <a:gd name="T113" fmla="*/ 178 h 273"/>
                <a:gd name="T114" fmla="*/ 82 w 154"/>
                <a:gd name="T115" fmla="*/ 166 h 273"/>
                <a:gd name="T116" fmla="*/ 87 w 154"/>
                <a:gd name="T117" fmla="*/ 39 h 273"/>
                <a:gd name="T118" fmla="*/ 93 w 154"/>
                <a:gd name="T119" fmla="*/ 34 h 273"/>
                <a:gd name="T120" fmla="*/ 90 w 154"/>
                <a:gd name="T121" fmla="*/ 173 h 273"/>
                <a:gd name="T122" fmla="*/ 93 w 154"/>
                <a:gd name="T123" fmla="*/ 155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" h="273">
                  <a:moveTo>
                    <a:pt x="153" y="73"/>
                  </a:moveTo>
                  <a:cubicBezTo>
                    <a:pt x="153" y="72"/>
                    <a:pt x="153" y="72"/>
                    <a:pt x="153" y="72"/>
                  </a:cubicBezTo>
                  <a:cubicBezTo>
                    <a:pt x="152" y="69"/>
                    <a:pt x="152" y="69"/>
                    <a:pt x="152" y="69"/>
                  </a:cubicBezTo>
                  <a:cubicBezTo>
                    <a:pt x="151" y="67"/>
                    <a:pt x="151" y="67"/>
                    <a:pt x="151" y="67"/>
                  </a:cubicBezTo>
                  <a:cubicBezTo>
                    <a:pt x="151" y="68"/>
                    <a:pt x="150" y="68"/>
                    <a:pt x="150" y="68"/>
                  </a:cubicBezTo>
                  <a:cubicBezTo>
                    <a:pt x="150" y="68"/>
                    <a:pt x="149" y="68"/>
                    <a:pt x="149" y="68"/>
                  </a:cubicBezTo>
                  <a:cubicBezTo>
                    <a:pt x="149" y="68"/>
                    <a:pt x="148" y="68"/>
                    <a:pt x="148" y="68"/>
                  </a:cubicBezTo>
                  <a:cubicBezTo>
                    <a:pt x="148" y="68"/>
                    <a:pt x="148" y="68"/>
                    <a:pt x="148" y="68"/>
                  </a:cubicBezTo>
                  <a:cubicBezTo>
                    <a:pt x="148" y="68"/>
                    <a:pt x="148" y="68"/>
                    <a:pt x="147" y="68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6" y="67"/>
                    <a:pt x="146" y="67"/>
                    <a:pt x="146" y="67"/>
                  </a:cubicBezTo>
                  <a:cubicBezTo>
                    <a:pt x="145" y="67"/>
                    <a:pt x="146" y="66"/>
                    <a:pt x="146" y="66"/>
                  </a:cubicBezTo>
                  <a:cubicBezTo>
                    <a:pt x="146" y="66"/>
                    <a:pt x="145" y="66"/>
                    <a:pt x="144" y="65"/>
                  </a:cubicBezTo>
                  <a:cubicBezTo>
                    <a:pt x="144" y="65"/>
                    <a:pt x="144" y="65"/>
                    <a:pt x="144" y="65"/>
                  </a:cubicBezTo>
                  <a:cubicBezTo>
                    <a:pt x="143" y="64"/>
                    <a:pt x="143" y="64"/>
                    <a:pt x="143" y="64"/>
                  </a:cubicBezTo>
                  <a:cubicBezTo>
                    <a:pt x="143" y="64"/>
                    <a:pt x="143" y="63"/>
                    <a:pt x="143" y="63"/>
                  </a:cubicBezTo>
                  <a:cubicBezTo>
                    <a:pt x="142" y="63"/>
                    <a:pt x="142" y="63"/>
                    <a:pt x="142" y="63"/>
                  </a:cubicBezTo>
                  <a:cubicBezTo>
                    <a:pt x="142" y="63"/>
                    <a:pt x="142" y="63"/>
                    <a:pt x="142" y="62"/>
                  </a:cubicBezTo>
                  <a:cubicBezTo>
                    <a:pt x="142" y="62"/>
                    <a:pt x="142" y="62"/>
                    <a:pt x="142" y="62"/>
                  </a:cubicBezTo>
                  <a:cubicBezTo>
                    <a:pt x="142" y="62"/>
                    <a:pt x="141" y="62"/>
                    <a:pt x="141" y="61"/>
                  </a:cubicBezTo>
                  <a:cubicBezTo>
                    <a:pt x="140" y="61"/>
                    <a:pt x="140" y="61"/>
                    <a:pt x="138" y="60"/>
                  </a:cubicBezTo>
                  <a:cubicBezTo>
                    <a:pt x="137" y="59"/>
                    <a:pt x="136" y="59"/>
                    <a:pt x="134" y="59"/>
                  </a:cubicBezTo>
                  <a:cubicBezTo>
                    <a:pt x="131" y="60"/>
                    <a:pt x="133" y="59"/>
                    <a:pt x="131" y="59"/>
                  </a:cubicBezTo>
                  <a:cubicBezTo>
                    <a:pt x="130" y="59"/>
                    <a:pt x="131" y="59"/>
                    <a:pt x="130" y="59"/>
                  </a:cubicBezTo>
                  <a:cubicBezTo>
                    <a:pt x="129" y="58"/>
                    <a:pt x="129" y="59"/>
                    <a:pt x="129" y="58"/>
                  </a:cubicBezTo>
                  <a:cubicBezTo>
                    <a:pt x="129" y="58"/>
                    <a:pt x="128" y="58"/>
                    <a:pt x="127" y="58"/>
                  </a:cubicBezTo>
                  <a:cubicBezTo>
                    <a:pt x="127" y="57"/>
                    <a:pt x="126" y="57"/>
                    <a:pt x="126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6" y="57"/>
                    <a:pt x="126" y="58"/>
                    <a:pt x="125" y="58"/>
                  </a:cubicBezTo>
                  <a:cubicBezTo>
                    <a:pt x="125" y="58"/>
                    <a:pt x="124" y="58"/>
                    <a:pt x="124" y="58"/>
                  </a:cubicBezTo>
                  <a:cubicBezTo>
                    <a:pt x="124" y="58"/>
                    <a:pt x="124" y="58"/>
                    <a:pt x="124" y="58"/>
                  </a:cubicBezTo>
                  <a:cubicBezTo>
                    <a:pt x="123" y="59"/>
                    <a:pt x="123" y="59"/>
                    <a:pt x="123" y="59"/>
                  </a:cubicBezTo>
                  <a:cubicBezTo>
                    <a:pt x="123" y="59"/>
                    <a:pt x="123" y="60"/>
                    <a:pt x="122" y="61"/>
                  </a:cubicBezTo>
                  <a:cubicBezTo>
                    <a:pt x="122" y="61"/>
                    <a:pt x="122" y="61"/>
                    <a:pt x="122" y="61"/>
                  </a:cubicBezTo>
                  <a:cubicBezTo>
                    <a:pt x="122" y="61"/>
                    <a:pt x="122" y="60"/>
                    <a:pt x="122" y="60"/>
                  </a:cubicBezTo>
                  <a:cubicBezTo>
                    <a:pt x="122" y="60"/>
                    <a:pt x="122" y="59"/>
                    <a:pt x="122" y="58"/>
                  </a:cubicBezTo>
                  <a:cubicBezTo>
                    <a:pt x="122" y="58"/>
                    <a:pt x="122" y="58"/>
                    <a:pt x="122" y="58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3" y="57"/>
                    <a:pt x="123" y="57"/>
                    <a:pt x="123" y="56"/>
                  </a:cubicBezTo>
                  <a:cubicBezTo>
                    <a:pt x="123" y="56"/>
                    <a:pt x="123" y="56"/>
                    <a:pt x="123" y="56"/>
                  </a:cubicBezTo>
                  <a:cubicBezTo>
                    <a:pt x="123" y="55"/>
                    <a:pt x="122" y="55"/>
                    <a:pt x="122" y="54"/>
                  </a:cubicBezTo>
                  <a:cubicBezTo>
                    <a:pt x="121" y="54"/>
                    <a:pt x="121" y="54"/>
                    <a:pt x="120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9" y="53"/>
                    <a:pt x="118" y="53"/>
                    <a:pt x="117" y="52"/>
                  </a:cubicBezTo>
                  <a:cubicBezTo>
                    <a:pt x="117" y="52"/>
                    <a:pt x="117" y="52"/>
                    <a:pt x="116" y="52"/>
                  </a:cubicBezTo>
                  <a:cubicBezTo>
                    <a:pt x="116" y="52"/>
                    <a:pt x="116" y="52"/>
                    <a:pt x="116" y="52"/>
                  </a:cubicBezTo>
                  <a:cubicBezTo>
                    <a:pt x="115" y="51"/>
                    <a:pt x="114" y="51"/>
                    <a:pt x="114" y="51"/>
                  </a:cubicBezTo>
                  <a:cubicBezTo>
                    <a:pt x="114" y="51"/>
                    <a:pt x="113" y="51"/>
                    <a:pt x="113" y="51"/>
                  </a:cubicBezTo>
                  <a:cubicBezTo>
                    <a:pt x="113" y="51"/>
                    <a:pt x="113" y="51"/>
                    <a:pt x="113" y="51"/>
                  </a:cubicBezTo>
                  <a:cubicBezTo>
                    <a:pt x="113" y="51"/>
                    <a:pt x="112" y="51"/>
                    <a:pt x="112" y="51"/>
                  </a:cubicBezTo>
                  <a:cubicBezTo>
                    <a:pt x="111" y="51"/>
                    <a:pt x="111" y="51"/>
                    <a:pt x="111" y="51"/>
                  </a:cubicBezTo>
                  <a:cubicBezTo>
                    <a:pt x="111" y="51"/>
                    <a:pt x="111" y="52"/>
                    <a:pt x="111" y="52"/>
                  </a:cubicBezTo>
                  <a:cubicBezTo>
                    <a:pt x="111" y="52"/>
                    <a:pt x="111" y="53"/>
                    <a:pt x="110" y="53"/>
                  </a:cubicBezTo>
                  <a:cubicBezTo>
                    <a:pt x="110" y="53"/>
                    <a:pt x="111" y="54"/>
                    <a:pt x="111" y="54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10" y="54"/>
                    <a:pt x="109" y="54"/>
                    <a:pt x="109" y="55"/>
                  </a:cubicBezTo>
                  <a:cubicBezTo>
                    <a:pt x="109" y="55"/>
                    <a:pt x="108" y="55"/>
                    <a:pt x="108" y="55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7" y="56"/>
                    <a:pt x="107" y="56"/>
                    <a:pt x="107" y="56"/>
                  </a:cubicBezTo>
                  <a:cubicBezTo>
                    <a:pt x="107" y="56"/>
                    <a:pt x="107" y="55"/>
                    <a:pt x="107" y="55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6" y="55"/>
                    <a:pt x="105" y="55"/>
                    <a:pt x="105" y="56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4" y="56"/>
                    <a:pt x="103" y="55"/>
                    <a:pt x="103" y="55"/>
                  </a:cubicBezTo>
                  <a:cubicBezTo>
                    <a:pt x="103" y="55"/>
                    <a:pt x="103" y="54"/>
                    <a:pt x="103" y="54"/>
                  </a:cubicBezTo>
                  <a:cubicBezTo>
                    <a:pt x="103" y="54"/>
                    <a:pt x="102" y="53"/>
                    <a:pt x="102" y="53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2" y="52"/>
                    <a:pt x="102" y="52"/>
                    <a:pt x="102" y="52"/>
                  </a:cubicBezTo>
                  <a:cubicBezTo>
                    <a:pt x="102" y="52"/>
                    <a:pt x="102" y="52"/>
                    <a:pt x="101" y="52"/>
                  </a:cubicBezTo>
                  <a:cubicBezTo>
                    <a:pt x="101" y="52"/>
                    <a:pt x="101" y="53"/>
                    <a:pt x="100" y="53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99" y="53"/>
                    <a:pt x="99" y="52"/>
                    <a:pt x="99" y="52"/>
                  </a:cubicBezTo>
                  <a:cubicBezTo>
                    <a:pt x="99" y="52"/>
                    <a:pt x="99" y="52"/>
                    <a:pt x="99" y="52"/>
                  </a:cubicBezTo>
                  <a:cubicBezTo>
                    <a:pt x="100" y="52"/>
                    <a:pt x="100" y="52"/>
                    <a:pt x="100" y="51"/>
                  </a:cubicBezTo>
                  <a:cubicBezTo>
                    <a:pt x="100" y="51"/>
                    <a:pt x="100" y="51"/>
                    <a:pt x="100" y="50"/>
                  </a:cubicBezTo>
                  <a:cubicBezTo>
                    <a:pt x="100" y="50"/>
                    <a:pt x="101" y="50"/>
                    <a:pt x="101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1" y="49"/>
                    <a:pt x="101" y="48"/>
                    <a:pt x="102" y="48"/>
                  </a:cubicBezTo>
                  <a:cubicBezTo>
                    <a:pt x="102" y="48"/>
                    <a:pt x="102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6"/>
                    <a:pt x="104" y="46"/>
                    <a:pt x="104" y="45"/>
                  </a:cubicBezTo>
                  <a:cubicBezTo>
                    <a:pt x="105" y="45"/>
                    <a:pt x="105" y="44"/>
                    <a:pt x="105" y="44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5" y="44"/>
                    <a:pt x="105" y="43"/>
                    <a:pt x="105" y="43"/>
                  </a:cubicBezTo>
                  <a:cubicBezTo>
                    <a:pt x="106" y="43"/>
                    <a:pt x="105" y="42"/>
                    <a:pt x="105" y="42"/>
                  </a:cubicBezTo>
                  <a:cubicBezTo>
                    <a:pt x="105" y="42"/>
                    <a:pt x="104" y="41"/>
                    <a:pt x="104" y="41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0"/>
                    <a:pt x="103" y="39"/>
                    <a:pt x="103" y="39"/>
                  </a:cubicBezTo>
                  <a:cubicBezTo>
                    <a:pt x="103" y="39"/>
                    <a:pt x="103" y="39"/>
                    <a:pt x="103" y="38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3" y="38"/>
                    <a:pt x="102" y="38"/>
                    <a:pt x="102" y="38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6"/>
                    <a:pt x="102" y="35"/>
                  </a:cubicBezTo>
                  <a:cubicBezTo>
                    <a:pt x="102" y="34"/>
                    <a:pt x="102" y="33"/>
                    <a:pt x="101" y="33"/>
                  </a:cubicBezTo>
                  <a:cubicBezTo>
                    <a:pt x="101" y="33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0" y="31"/>
                    <a:pt x="100" y="32"/>
                    <a:pt x="100" y="32"/>
                  </a:cubicBezTo>
                  <a:cubicBezTo>
                    <a:pt x="100" y="32"/>
                    <a:pt x="100" y="32"/>
                    <a:pt x="100" y="32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100" y="32"/>
                    <a:pt x="100" y="32"/>
                    <a:pt x="100" y="32"/>
                  </a:cubicBezTo>
                  <a:cubicBezTo>
                    <a:pt x="100" y="32"/>
                    <a:pt x="100" y="31"/>
                    <a:pt x="100" y="31"/>
                  </a:cubicBezTo>
                  <a:cubicBezTo>
                    <a:pt x="100" y="31"/>
                    <a:pt x="100" y="31"/>
                    <a:pt x="99" y="31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8" y="29"/>
                    <a:pt x="97" y="28"/>
                    <a:pt x="96" y="28"/>
                  </a:cubicBezTo>
                  <a:cubicBezTo>
                    <a:pt x="96" y="28"/>
                    <a:pt x="96" y="27"/>
                    <a:pt x="96" y="27"/>
                  </a:cubicBezTo>
                  <a:cubicBezTo>
                    <a:pt x="96" y="27"/>
                    <a:pt x="96" y="27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6"/>
                    <a:pt x="93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89" y="25"/>
                    <a:pt x="89" y="25"/>
                  </a:cubicBezTo>
                  <a:cubicBezTo>
                    <a:pt x="89" y="25"/>
                    <a:pt x="88" y="25"/>
                    <a:pt x="88" y="25"/>
                  </a:cubicBezTo>
                  <a:cubicBezTo>
                    <a:pt x="88" y="25"/>
                    <a:pt x="88" y="25"/>
                    <a:pt x="88" y="25"/>
                  </a:cubicBezTo>
                  <a:cubicBezTo>
                    <a:pt x="88" y="25"/>
                    <a:pt x="88" y="25"/>
                    <a:pt x="88" y="25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25"/>
                    <a:pt x="86" y="25"/>
                    <a:pt x="86" y="26"/>
                  </a:cubicBezTo>
                  <a:cubicBezTo>
                    <a:pt x="86" y="26"/>
                    <a:pt x="86" y="26"/>
                    <a:pt x="85" y="26"/>
                  </a:cubicBezTo>
                  <a:cubicBezTo>
                    <a:pt x="85" y="26"/>
                    <a:pt x="85" y="26"/>
                    <a:pt x="85" y="26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84" y="25"/>
                    <a:pt x="83" y="26"/>
                    <a:pt x="82" y="26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3" y="25"/>
                    <a:pt x="82" y="25"/>
                    <a:pt x="82" y="25"/>
                  </a:cubicBezTo>
                  <a:cubicBezTo>
                    <a:pt x="82" y="24"/>
                    <a:pt x="82" y="24"/>
                    <a:pt x="81" y="24"/>
                  </a:cubicBezTo>
                  <a:cubicBezTo>
                    <a:pt x="81" y="24"/>
                    <a:pt x="81" y="24"/>
                    <a:pt x="81" y="23"/>
                  </a:cubicBezTo>
                  <a:cubicBezTo>
                    <a:pt x="81" y="23"/>
                    <a:pt x="80" y="22"/>
                    <a:pt x="80" y="22"/>
                  </a:cubicBezTo>
                  <a:cubicBezTo>
                    <a:pt x="80" y="22"/>
                    <a:pt x="79" y="22"/>
                    <a:pt x="79" y="22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9" y="22"/>
                    <a:pt x="78" y="22"/>
                    <a:pt x="78" y="22"/>
                  </a:cubicBezTo>
                  <a:cubicBezTo>
                    <a:pt x="78" y="22"/>
                    <a:pt x="78" y="21"/>
                    <a:pt x="78" y="20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8" y="20"/>
                    <a:pt x="78" y="19"/>
                    <a:pt x="78" y="19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8" y="19"/>
                    <a:pt x="77" y="18"/>
                    <a:pt x="76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7"/>
                    <a:pt x="75" y="16"/>
                    <a:pt x="74" y="16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1" y="15"/>
                    <a:pt x="70" y="15"/>
                    <a:pt x="70" y="15"/>
                  </a:cubicBezTo>
                  <a:cubicBezTo>
                    <a:pt x="70" y="15"/>
                    <a:pt x="70" y="15"/>
                    <a:pt x="69" y="15"/>
                  </a:cubicBezTo>
                  <a:cubicBezTo>
                    <a:pt x="69" y="15"/>
                    <a:pt x="68" y="15"/>
                    <a:pt x="68" y="15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5"/>
                    <a:pt x="68" y="15"/>
                    <a:pt x="69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9" y="14"/>
                    <a:pt x="70" y="14"/>
                    <a:pt x="70" y="14"/>
                  </a:cubicBezTo>
                  <a:cubicBezTo>
                    <a:pt x="70" y="14"/>
                    <a:pt x="70" y="13"/>
                    <a:pt x="70" y="13"/>
                  </a:cubicBezTo>
                  <a:cubicBezTo>
                    <a:pt x="70" y="13"/>
                    <a:pt x="70" y="13"/>
                    <a:pt x="71" y="12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1" y="12"/>
                    <a:pt x="70" y="11"/>
                    <a:pt x="70" y="11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9" y="11"/>
                    <a:pt x="69" y="11"/>
                    <a:pt x="68" y="10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67" y="11"/>
                    <a:pt x="67" y="10"/>
                    <a:pt x="67" y="10"/>
                  </a:cubicBezTo>
                  <a:cubicBezTo>
                    <a:pt x="67" y="10"/>
                    <a:pt x="66" y="9"/>
                    <a:pt x="66" y="10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5" y="10"/>
                    <a:pt x="65" y="9"/>
                    <a:pt x="65" y="9"/>
                  </a:cubicBezTo>
                  <a:cubicBezTo>
                    <a:pt x="65" y="9"/>
                    <a:pt x="65" y="9"/>
                    <a:pt x="65" y="8"/>
                  </a:cubicBezTo>
                  <a:cubicBezTo>
                    <a:pt x="65" y="8"/>
                    <a:pt x="64" y="8"/>
                    <a:pt x="64" y="8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4" y="8"/>
                    <a:pt x="64" y="8"/>
                    <a:pt x="65" y="7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7" y="6"/>
                    <a:pt x="66" y="7"/>
                    <a:pt x="65" y="7"/>
                  </a:cubicBezTo>
                  <a:cubicBezTo>
                    <a:pt x="64" y="7"/>
                    <a:pt x="64" y="7"/>
                    <a:pt x="63" y="7"/>
                  </a:cubicBezTo>
                  <a:cubicBezTo>
                    <a:pt x="62" y="7"/>
                    <a:pt x="61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8"/>
                    <a:pt x="60" y="8"/>
                    <a:pt x="59" y="8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7" y="9"/>
                    <a:pt x="57" y="9"/>
                    <a:pt x="56" y="9"/>
                  </a:cubicBezTo>
                  <a:cubicBezTo>
                    <a:pt x="56" y="9"/>
                    <a:pt x="54" y="9"/>
                    <a:pt x="54" y="8"/>
                  </a:cubicBezTo>
                  <a:cubicBezTo>
                    <a:pt x="54" y="8"/>
                    <a:pt x="54" y="8"/>
                    <a:pt x="54" y="7"/>
                  </a:cubicBezTo>
                  <a:cubicBezTo>
                    <a:pt x="54" y="7"/>
                    <a:pt x="53" y="7"/>
                    <a:pt x="53" y="7"/>
                  </a:cubicBezTo>
                  <a:cubicBezTo>
                    <a:pt x="53" y="7"/>
                    <a:pt x="53" y="7"/>
                    <a:pt x="51" y="7"/>
                  </a:cubicBezTo>
                  <a:cubicBezTo>
                    <a:pt x="50" y="7"/>
                    <a:pt x="50" y="7"/>
                    <a:pt x="49" y="8"/>
                  </a:cubicBezTo>
                  <a:cubicBezTo>
                    <a:pt x="48" y="8"/>
                    <a:pt x="47" y="8"/>
                    <a:pt x="47" y="7"/>
                  </a:cubicBezTo>
                  <a:cubicBezTo>
                    <a:pt x="47" y="7"/>
                    <a:pt x="47" y="7"/>
                    <a:pt x="47" y="6"/>
                  </a:cubicBezTo>
                  <a:cubicBezTo>
                    <a:pt x="47" y="6"/>
                    <a:pt x="47" y="6"/>
                    <a:pt x="46" y="5"/>
                  </a:cubicBezTo>
                  <a:cubicBezTo>
                    <a:pt x="46" y="5"/>
                    <a:pt x="46" y="5"/>
                    <a:pt x="46" y="4"/>
                  </a:cubicBezTo>
                  <a:cubicBezTo>
                    <a:pt x="46" y="4"/>
                    <a:pt x="43" y="4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2" y="3"/>
                    <a:pt x="43" y="2"/>
                    <a:pt x="42" y="2"/>
                  </a:cubicBezTo>
                  <a:cubicBezTo>
                    <a:pt x="42" y="2"/>
                    <a:pt x="42" y="1"/>
                    <a:pt x="42" y="1"/>
                  </a:cubicBezTo>
                  <a:cubicBezTo>
                    <a:pt x="42" y="1"/>
                    <a:pt x="41" y="1"/>
                    <a:pt x="41" y="1"/>
                  </a:cubicBezTo>
                  <a:cubicBezTo>
                    <a:pt x="40" y="1"/>
                    <a:pt x="40" y="2"/>
                    <a:pt x="40" y="2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1" y="3"/>
                    <a:pt x="41" y="3"/>
                  </a:cubicBezTo>
                  <a:cubicBezTo>
                    <a:pt x="41" y="3"/>
                    <a:pt x="41" y="3"/>
                    <a:pt x="42" y="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2" y="3"/>
                    <a:pt x="42" y="4"/>
                    <a:pt x="41" y="4"/>
                  </a:cubicBezTo>
                  <a:cubicBezTo>
                    <a:pt x="41" y="3"/>
                    <a:pt x="41" y="4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39" y="5"/>
                    <a:pt x="38" y="5"/>
                    <a:pt x="37" y="5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6" y="6"/>
                    <a:pt x="36" y="6"/>
                    <a:pt x="36" y="7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7" y="9"/>
                    <a:pt x="38" y="9"/>
                    <a:pt x="38" y="10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3"/>
                    <a:pt x="37" y="12"/>
                    <a:pt x="37" y="13"/>
                  </a:cubicBezTo>
                  <a:cubicBezTo>
                    <a:pt x="37" y="13"/>
                    <a:pt x="36" y="13"/>
                    <a:pt x="36" y="13"/>
                  </a:cubicBezTo>
                  <a:cubicBezTo>
                    <a:pt x="35" y="13"/>
                    <a:pt x="36" y="13"/>
                    <a:pt x="36" y="13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5" y="12"/>
                    <a:pt x="35" y="11"/>
                    <a:pt x="34" y="11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5" y="9"/>
                    <a:pt x="36" y="8"/>
                    <a:pt x="36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7"/>
                    <a:pt x="36" y="7"/>
                    <a:pt x="36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6"/>
                    <a:pt x="36" y="5"/>
                    <a:pt x="36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5" y="4"/>
                    <a:pt x="35" y="3"/>
                  </a:cubicBezTo>
                  <a:cubicBezTo>
                    <a:pt x="35" y="3"/>
                    <a:pt x="36" y="3"/>
                    <a:pt x="36" y="3"/>
                  </a:cubicBezTo>
                  <a:cubicBezTo>
                    <a:pt x="36" y="3"/>
                    <a:pt x="37" y="2"/>
                    <a:pt x="38" y="2"/>
                  </a:cubicBezTo>
                  <a:cubicBezTo>
                    <a:pt x="38" y="2"/>
                    <a:pt x="37" y="1"/>
                    <a:pt x="37" y="0"/>
                  </a:cubicBezTo>
                  <a:cubicBezTo>
                    <a:pt x="37" y="0"/>
                    <a:pt x="37" y="0"/>
                    <a:pt x="36" y="0"/>
                  </a:cubicBezTo>
                  <a:cubicBezTo>
                    <a:pt x="35" y="0"/>
                    <a:pt x="35" y="1"/>
                    <a:pt x="35" y="1"/>
                  </a:cubicBezTo>
                  <a:cubicBezTo>
                    <a:pt x="35" y="1"/>
                    <a:pt x="35" y="0"/>
                    <a:pt x="34" y="1"/>
                  </a:cubicBezTo>
                  <a:cubicBezTo>
                    <a:pt x="34" y="1"/>
                    <a:pt x="34" y="2"/>
                    <a:pt x="32" y="3"/>
                  </a:cubicBezTo>
                  <a:cubicBezTo>
                    <a:pt x="31" y="4"/>
                    <a:pt x="30" y="4"/>
                    <a:pt x="29" y="4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5"/>
                    <a:pt x="28" y="4"/>
                    <a:pt x="28" y="4"/>
                  </a:cubicBezTo>
                  <a:cubicBezTo>
                    <a:pt x="28" y="4"/>
                    <a:pt x="28" y="4"/>
                    <a:pt x="28" y="6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6" y="5"/>
                    <a:pt x="26" y="5"/>
                  </a:cubicBezTo>
                  <a:cubicBezTo>
                    <a:pt x="26" y="5"/>
                    <a:pt x="26" y="5"/>
                    <a:pt x="25" y="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6"/>
                    <a:pt x="24" y="7"/>
                  </a:cubicBezTo>
                  <a:cubicBezTo>
                    <a:pt x="23" y="8"/>
                    <a:pt x="24" y="8"/>
                    <a:pt x="24" y="9"/>
                  </a:cubicBezTo>
                  <a:cubicBezTo>
                    <a:pt x="24" y="9"/>
                    <a:pt x="23" y="10"/>
                    <a:pt x="23" y="10"/>
                  </a:cubicBezTo>
                  <a:cubicBezTo>
                    <a:pt x="23" y="11"/>
                    <a:pt x="23" y="11"/>
                    <a:pt x="23" y="12"/>
                  </a:cubicBezTo>
                  <a:cubicBezTo>
                    <a:pt x="23" y="12"/>
                    <a:pt x="23" y="12"/>
                    <a:pt x="22" y="12"/>
                  </a:cubicBezTo>
                  <a:cubicBezTo>
                    <a:pt x="22" y="12"/>
                    <a:pt x="22" y="12"/>
                    <a:pt x="21" y="12"/>
                  </a:cubicBezTo>
                  <a:cubicBezTo>
                    <a:pt x="21" y="13"/>
                    <a:pt x="21" y="13"/>
                    <a:pt x="21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5"/>
                    <a:pt x="19" y="15"/>
                    <a:pt x="19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7"/>
                    <a:pt x="19" y="17"/>
                    <a:pt x="18" y="18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6"/>
                    <a:pt x="19" y="16"/>
                    <a:pt x="18" y="15"/>
                  </a:cubicBezTo>
                  <a:cubicBezTo>
                    <a:pt x="18" y="15"/>
                    <a:pt x="17" y="14"/>
                    <a:pt x="16" y="13"/>
                  </a:cubicBezTo>
                  <a:cubicBezTo>
                    <a:pt x="16" y="13"/>
                    <a:pt x="15" y="12"/>
                    <a:pt x="14" y="12"/>
                  </a:cubicBezTo>
                  <a:cubicBezTo>
                    <a:pt x="13" y="11"/>
                    <a:pt x="12" y="12"/>
                    <a:pt x="11" y="11"/>
                  </a:cubicBezTo>
                  <a:cubicBezTo>
                    <a:pt x="10" y="10"/>
                    <a:pt x="11" y="11"/>
                    <a:pt x="10" y="11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3"/>
                    <a:pt x="7" y="13"/>
                    <a:pt x="6" y="14"/>
                  </a:cubicBezTo>
                  <a:cubicBezTo>
                    <a:pt x="6" y="14"/>
                    <a:pt x="4" y="14"/>
                    <a:pt x="4" y="1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2"/>
                  </a:cubicBezTo>
                  <a:cubicBezTo>
                    <a:pt x="2" y="12"/>
                    <a:pt x="2" y="12"/>
                    <a:pt x="1" y="11"/>
                  </a:cubicBezTo>
                  <a:cubicBezTo>
                    <a:pt x="1" y="11"/>
                    <a:pt x="0" y="11"/>
                    <a:pt x="0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1" y="16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7"/>
                    <a:pt x="3" y="17"/>
                    <a:pt x="4" y="17"/>
                  </a:cubicBezTo>
                  <a:cubicBezTo>
                    <a:pt x="4" y="16"/>
                    <a:pt x="4" y="17"/>
                    <a:pt x="4" y="17"/>
                  </a:cubicBezTo>
                  <a:cubicBezTo>
                    <a:pt x="4" y="17"/>
                    <a:pt x="5" y="18"/>
                    <a:pt x="5" y="18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6" y="18"/>
                    <a:pt x="6" y="18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20"/>
                    <a:pt x="6" y="20"/>
                  </a:cubicBezTo>
                  <a:cubicBezTo>
                    <a:pt x="7" y="21"/>
                    <a:pt x="8" y="20"/>
                    <a:pt x="8" y="20"/>
                  </a:cubicBezTo>
                  <a:cubicBezTo>
                    <a:pt x="8" y="20"/>
                    <a:pt x="9" y="20"/>
                    <a:pt x="9" y="20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8"/>
                    <a:pt x="8" y="18"/>
                  </a:cubicBezTo>
                  <a:cubicBezTo>
                    <a:pt x="8" y="18"/>
                    <a:pt x="8" y="17"/>
                    <a:pt x="8" y="17"/>
                  </a:cubicBezTo>
                  <a:cubicBezTo>
                    <a:pt x="8" y="17"/>
                    <a:pt x="8" y="17"/>
                    <a:pt x="8" y="16"/>
                  </a:cubicBezTo>
                  <a:cubicBezTo>
                    <a:pt x="8" y="16"/>
                    <a:pt x="9" y="16"/>
                    <a:pt x="9" y="16"/>
                  </a:cubicBezTo>
                  <a:cubicBezTo>
                    <a:pt x="9" y="16"/>
                    <a:pt x="9" y="15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13"/>
                    <a:pt x="13" y="14"/>
                    <a:pt x="13" y="14"/>
                  </a:cubicBezTo>
                  <a:cubicBezTo>
                    <a:pt x="13" y="14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6"/>
                    <a:pt x="15" y="16"/>
                  </a:cubicBezTo>
                  <a:cubicBezTo>
                    <a:pt x="15" y="16"/>
                    <a:pt x="15" y="16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5" y="19"/>
                    <a:pt x="15" y="19"/>
                  </a:cubicBezTo>
                  <a:cubicBezTo>
                    <a:pt x="15" y="19"/>
                    <a:pt x="15" y="19"/>
                    <a:pt x="15" y="20"/>
                  </a:cubicBezTo>
                  <a:cubicBezTo>
                    <a:pt x="16" y="19"/>
                    <a:pt x="17" y="18"/>
                    <a:pt x="18" y="18"/>
                  </a:cubicBezTo>
                  <a:cubicBezTo>
                    <a:pt x="17" y="18"/>
                    <a:pt x="16" y="19"/>
                    <a:pt x="15" y="20"/>
                  </a:cubicBezTo>
                  <a:cubicBezTo>
                    <a:pt x="16" y="20"/>
                    <a:pt x="16" y="21"/>
                    <a:pt x="17" y="21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8" y="22"/>
                    <a:pt x="18" y="23"/>
                    <a:pt x="17" y="24"/>
                  </a:cubicBezTo>
                  <a:cubicBezTo>
                    <a:pt x="17" y="24"/>
                    <a:pt x="18" y="25"/>
                    <a:pt x="18" y="25"/>
                  </a:cubicBezTo>
                  <a:cubicBezTo>
                    <a:pt x="18" y="26"/>
                    <a:pt x="18" y="26"/>
                    <a:pt x="17" y="26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7" y="27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9"/>
                    <a:pt x="18" y="30"/>
                    <a:pt x="18" y="31"/>
                  </a:cubicBezTo>
                  <a:cubicBezTo>
                    <a:pt x="18" y="31"/>
                    <a:pt x="18" y="32"/>
                    <a:pt x="18" y="32"/>
                  </a:cubicBezTo>
                  <a:cubicBezTo>
                    <a:pt x="17" y="32"/>
                    <a:pt x="18" y="33"/>
                    <a:pt x="18" y="33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4"/>
                    <a:pt x="18" y="34"/>
                    <a:pt x="18" y="35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8"/>
                    <a:pt x="16" y="38"/>
                    <a:pt x="16" y="38"/>
                  </a:cubicBezTo>
                  <a:cubicBezTo>
                    <a:pt x="16" y="38"/>
                    <a:pt x="15" y="38"/>
                    <a:pt x="15" y="38"/>
                  </a:cubicBezTo>
                  <a:cubicBezTo>
                    <a:pt x="15" y="38"/>
                    <a:pt x="14" y="38"/>
                    <a:pt x="14" y="38"/>
                  </a:cubicBezTo>
                  <a:cubicBezTo>
                    <a:pt x="14" y="38"/>
                    <a:pt x="13" y="39"/>
                    <a:pt x="13" y="39"/>
                  </a:cubicBezTo>
                  <a:cubicBezTo>
                    <a:pt x="13" y="39"/>
                    <a:pt x="14" y="40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3" y="42"/>
                    <a:pt x="13" y="41"/>
                    <a:pt x="12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2"/>
                    <a:pt x="12" y="42"/>
                    <a:pt x="13" y="4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4"/>
                  </a:cubicBezTo>
                  <a:cubicBezTo>
                    <a:pt x="13" y="44"/>
                    <a:pt x="11" y="44"/>
                    <a:pt x="11" y="44"/>
                  </a:cubicBezTo>
                  <a:cubicBezTo>
                    <a:pt x="11" y="44"/>
                    <a:pt x="10" y="44"/>
                    <a:pt x="10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6"/>
                    <a:pt x="9" y="47"/>
                    <a:pt x="9" y="48"/>
                  </a:cubicBezTo>
                  <a:cubicBezTo>
                    <a:pt x="9" y="48"/>
                    <a:pt x="9" y="48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1"/>
                    <a:pt x="7" y="51"/>
                    <a:pt x="7" y="52"/>
                  </a:cubicBezTo>
                  <a:cubicBezTo>
                    <a:pt x="7" y="52"/>
                    <a:pt x="7" y="52"/>
                    <a:pt x="6" y="52"/>
                  </a:cubicBezTo>
                  <a:cubicBezTo>
                    <a:pt x="6" y="52"/>
                    <a:pt x="7" y="53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6"/>
                    <a:pt x="7" y="56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6" y="57"/>
                    <a:pt x="7" y="57"/>
                    <a:pt x="8" y="58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9"/>
                    <a:pt x="8" y="58"/>
                    <a:pt x="8" y="58"/>
                  </a:cubicBezTo>
                  <a:cubicBezTo>
                    <a:pt x="9" y="58"/>
                    <a:pt x="9" y="57"/>
                    <a:pt x="9" y="57"/>
                  </a:cubicBezTo>
                  <a:cubicBezTo>
                    <a:pt x="9" y="57"/>
                    <a:pt x="9" y="58"/>
                    <a:pt x="9" y="58"/>
                  </a:cubicBezTo>
                  <a:cubicBezTo>
                    <a:pt x="10" y="58"/>
                    <a:pt x="10" y="57"/>
                    <a:pt x="10" y="58"/>
                  </a:cubicBezTo>
                  <a:cubicBezTo>
                    <a:pt x="10" y="59"/>
                    <a:pt x="10" y="58"/>
                    <a:pt x="10" y="59"/>
                  </a:cubicBezTo>
                  <a:cubicBezTo>
                    <a:pt x="10" y="59"/>
                    <a:pt x="10" y="60"/>
                    <a:pt x="9" y="61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3"/>
                    <a:pt x="6" y="63"/>
                    <a:pt x="6" y="64"/>
                  </a:cubicBezTo>
                  <a:cubicBezTo>
                    <a:pt x="6" y="64"/>
                    <a:pt x="5" y="64"/>
                    <a:pt x="5" y="64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6"/>
                    <a:pt x="5" y="67"/>
                  </a:cubicBezTo>
                  <a:cubicBezTo>
                    <a:pt x="5" y="67"/>
                    <a:pt x="6" y="67"/>
                    <a:pt x="6" y="68"/>
                  </a:cubicBezTo>
                  <a:cubicBezTo>
                    <a:pt x="5" y="68"/>
                    <a:pt x="6" y="69"/>
                    <a:pt x="6" y="69"/>
                  </a:cubicBezTo>
                  <a:cubicBezTo>
                    <a:pt x="6" y="70"/>
                    <a:pt x="7" y="71"/>
                    <a:pt x="6" y="71"/>
                  </a:cubicBezTo>
                  <a:cubicBezTo>
                    <a:pt x="5" y="71"/>
                    <a:pt x="5" y="71"/>
                    <a:pt x="6" y="72"/>
                  </a:cubicBezTo>
                  <a:cubicBezTo>
                    <a:pt x="6" y="72"/>
                    <a:pt x="7" y="73"/>
                    <a:pt x="8" y="73"/>
                  </a:cubicBezTo>
                  <a:cubicBezTo>
                    <a:pt x="9" y="74"/>
                    <a:pt x="9" y="74"/>
                    <a:pt x="10" y="75"/>
                  </a:cubicBezTo>
                  <a:cubicBezTo>
                    <a:pt x="10" y="76"/>
                    <a:pt x="11" y="78"/>
                    <a:pt x="11" y="78"/>
                  </a:cubicBezTo>
                  <a:cubicBezTo>
                    <a:pt x="11" y="78"/>
                    <a:pt x="12" y="79"/>
                    <a:pt x="12" y="80"/>
                  </a:cubicBezTo>
                  <a:cubicBezTo>
                    <a:pt x="12" y="80"/>
                    <a:pt x="13" y="81"/>
                    <a:pt x="13" y="82"/>
                  </a:cubicBezTo>
                  <a:cubicBezTo>
                    <a:pt x="13" y="83"/>
                    <a:pt x="15" y="86"/>
                    <a:pt x="15" y="86"/>
                  </a:cubicBezTo>
                  <a:cubicBezTo>
                    <a:pt x="15" y="87"/>
                    <a:pt x="15" y="87"/>
                    <a:pt x="15" y="88"/>
                  </a:cubicBezTo>
                  <a:cubicBezTo>
                    <a:pt x="16" y="89"/>
                    <a:pt x="16" y="89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7" y="91"/>
                    <a:pt x="17" y="92"/>
                    <a:pt x="17" y="92"/>
                  </a:cubicBezTo>
                  <a:cubicBezTo>
                    <a:pt x="17" y="92"/>
                    <a:pt x="19" y="94"/>
                    <a:pt x="18" y="94"/>
                  </a:cubicBezTo>
                  <a:cubicBezTo>
                    <a:pt x="18" y="94"/>
                    <a:pt x="18" y="95"/>
                    <a:pt x="18" y="95"/>
                  </a:cubicBezTo>
                  <a:cubicBezTo>
                    <a:pt x="18" y="95"/>
                    <a:pt x="19" y="96"/>
                    <a:pt x="20" y="97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20" y="97"/>
                    <a:pt x="20" y="98"/>
                    <a:pt x="20" y="99"/>
                  </a:cubicBezTo>
                  <a:cubicBezTo>
                    <a:pt x="21" y="99"/>
                    <a:pt x="21" y="100"/>
                    <a:pt x="21" y="100"/>
                  </a:cubicBezTo>
                  <a:cubicBezTo>
                    <a:pt x="21" y="100"/>
                    <a:pt x="21" y="101"/>
                    <a:pt x="21" y="101"/>
                  </a:cubicBezTo>
                  <a:cubicBezTo>
                    <a:pt x="21" y="102"/>
                    <a:pt x="21" y="102"/>
                    <a:pt x="21" y="102"/>
                  </a:cubicBezTo>
                  <a:cubicBezTo>
                    <a:pt x="21" y="102"/>
                    <a:pt x="21" y="103"/>
                    <a:pt x="21" y="103"/>
                  </a:cubicBezTo>
                  <a:cubicBezTo>
                    <a:pt x="21" y="103"/>
                    <a:pt x="21" y="103"/>
                    <a:pt x="21" y="103"/>
                  </a:cubicBezTo>
                  <a:cubicBezTo>
                    <a:pt x="22" y="103"/>
                    <a:pt x="21" y="104"/>
                    <a:pt x="22" y="104"/>
                  </a:cubicBezTo>
                  <a:cubicBezTo>
                    <a:pt x="22" y="104"/>
                    <a:pt x="22" y="104"/>
                    <a:pt x="22" y="105"/>
                  </a:cubicBezTo>
                  <a:cubicBezTo>
                    <a:pt x="22" y="105"/>
                    <a:pt x="22" y="105"/>
                    <a:pt x="23" y="106"/>
                  </a:cubicBezTo>
                  <a:cubicBezTo>
                    <a:pt x="23" y="106"/>
                    <a:pt x="23" y="106"/>
                    <a:pt x="24" y="106"/>
                  </a:cubicBezTo>
                  <a:cubicBezTo>
                    <a:pt x="24" y="107"/>
                    <a:pt x="25" y="108"/>
                    <a:pt x="26" y="109"/>
                  </a:cubicBezTo>
                  <a:cubicBezTo>
                    <a:pt x="26" y="109"/>
                    <a:pt x="27" y="109"/>
                    <a:pt x="27" y="109"/>
                  </a:cubicBezTo>
                  <a:cubicBezTo>
                    <a:pt x="27" y="110"/>
                    <a:pt x="28" y="110"/>
                    <a:pt x="28" y="110"/>
                  </a:cubicBezTo>
                  <a:cubicBezTo>
                    <a:pt x="28" y="110"/>
                    <a:pt x="32" y="113"/>
                    <a:pt x="33" y="113"/>
                  </a:cubicBezTo>
                  <a:cubicBezTo>
                    <a:pt x="33" y="113"/>
                    <a:pt x="33" y="113"/>
                    <a:pt x="34" y="113"/>
                  </a:cubicBezTo>
                  <a:cubicBezTo>
                    <a:pt x="34" y="114"/>
                    <a:pt x="34" y="115"/>
                    <a:pt x="35" y="115"/>
                  </a:cubicBezTo>
                  <a:cubicBezTo>
                    <a:pt x="36" y="115"/>
                    <a:pt x="37" y="116"/>
                    <a:pt x="37" y="117"/>
                  </a:cubicBezTo>
                  <a:cubicBezTo>
                    <a:pt x="37" y="117"/>
                    <a:pt x="37" y="117"/>
                    <a:pt x="37" y="117"/>
                  </a:cubicBezTo>
                  <a:cubicBezTo>
                    <a:pt x="38" y="118"/>
                    <a:pt x="39" y="119"/>
                    <a:pt x="40" y="119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40" y="120"/>
                    <a:pt x="40" y="120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40" y="120"/>
                    <a:pt x="40" y="122"/>
                    <a:pt x="40" y="122"/>
                  </a:cubicBezTo>
                  <a:cubicBezTo>
                    <a:pt x="41" y="123"/>
                    <a:pt x="40" y="124"/>
                    <a:pt x="41" y="125"/>
                  </a:cubicBezTo>
                  <a:cubicBezTo>
                    <a:pt x="41" y="127"/>
                    <a:pt x="40" y="128"/>
                    <a:pt x="41" y="129"/>
                  </a:cubicBezTo>
                  <a:cubicBezTo>
                    <a:pt x="41" y="130"/>
                    <a:pt x="41" y="131"/>
                    <a:pt x="41" y="132"/>
                  </a:cubicBezTo>
                  <a:cubicBezTo>
                    <a:pt x="41" y="133"/>
                    <a:pt x="40" y="137"/>
                    <a:pt x="40" y="138"/>
                  </a:cubicBezTo>
                  <a:cubicBezTo>
                    <a:pt x="40" y="138"/>
                    <a:pt x="40" y="138"/>
                    <a:pt x="40" y="138"/>
                  </a:cubicBezTo>
                  <a:cubicBezTo>
                    <a:pt x="40" y="138"/>
                    <a:pt x="40" y="138"/>
                    <a:pt x="40" y="138"/>
                  </a:cubicBezTo>
                  <a:cubicBezTo>
                    <a:pt x="40" y="138"/>
                    <a:pt x="39" y="138"/>
                    <a:pt x="39" y="139"/>
                  </a:cubicBezTo>
                  <a:cubicBezTo>
                    <a:pt x="39" y="139"/>
                    <a:pt x="39" y="139"/>
                    <a:pt x="39" y="139"/>
                  </a:cubicBezTo>
                  <a:cubicBezTo>
                    <a:pt x="39" y="140"/>
                    <a:pt x="39" y="140"/>
                    <a:pt x="39" y="140"/>
                  </a:cubicBezTo>
                  <a:cubicBezTo>
                    <a:pt x="39" y="140"/>
                    <a:pt x="40" y="140"/>
                    <a:pt x="40" y="140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40" y="141"/>
                    <a:pt x="39" y="143"/>
                    <a:pt x="39" y="143"/>
                  </a:cubicBezTo>
                  <a:cubicBezTo>
                    <a:pt x="39" y="145"/>
                    <a:pt x="39" y="145"/>
                    <a:pt x="39" y="145"/>
                  </a:cubicBezTo>
                  <a:cubicBezTo>
                    <a:pt x="40" y="148"/>
                    <a:pt x="39" y="148"/>
                    <a:pt x="39" y="148"/>
                  </a:cubicBezTo>
                  <a:cubicBezTo>
                    <a:pt x="39" y="148"/>
                    <a:pt x="39" y="149"/>
                    <a:pt x="39" y="150"/>
                  </a:cubicBezTo>
                  <a:cubicBezTo>
                    <a:pt x="39" y="150"/>
                    <a:pt x="39" y="150"/>
                    <a:pt x="39" y="151"/>
                  </a:cubicBezTo>
                  <a:cubicBezTo>
                    <a:pt x="39" y="151"/>
                    <a:pt x="39" y="151"/>
                    <a:pt x="39" y="151"/>
                  </a:cubicBezTo>
                  <a:cubicBezTo>
                    <a:pt x="39" y="152"/>
                    <a:pt x="39" y="154"/>
                    <a:pt x="39" y="154"/>
                  </a:cubicBezTo>
                  <a:cubicBezTo>
                    <a:pt x="39" y="154"/>
                    <a:pt x="39" y="154"/>
                    <a:pt x="39" y="154"/>
                  </a:cubicBezTo>
                  <a:cubicBezTo>
                    <a:pt x="39" y="154"/>
                    <a:pt x="39" y="154"/>
                    <a:pt x="39" y="155"/>
                  </a:cubicBezTo>
                  <a:cubicBezTo>
                    <a:pt x="39" y="155"/>
                    <a:pt x="38" y="155"/>
                    <a:pt x="38" y="156"/>
                  </a:cubicBezTo>
                  <a:cubicBezTo>
                    <a:pt x="38" y="156"/>
                    <a:pt x="38" y="157"/>
                    <a:pt x="38" y="157"/>
                  </a:cubicBezTo>
                  <a:cubicBezTo>
                    <a:pt x="38" y="157"/>
                    <a:pt x="38" y="157"/>
                    <a:pt x="38" y="157"/>
                  </a:cubicBezTo>
                  <a:cubicBezTo>
                    <a:pt x="38" y="157"/>
                    <a:pt x="38" y="158"/>
                    <a:pt x="38" y="159"/>
                  </a:cubicBezTo>
                  <a:cubicBezTo>
                    <a:pt x="37" y="159"/>
                    <a:pt x="37" y="160"/>
                    <a:pt x="37" y="160"/>
                  </a:cubicBezTo>
                  <a:cubicBezTo>
                    <a:pt x="37" y="161"/>
                    <a:pt x="37" y="161"/>
                    <a:pt x="37" y="161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37" y="162"/>
                    <a:pt x="36" y="163"/>
                    <a:pt x="36" y="163"/>
                  </a:cubicBezTo>
                  <a:cubicBezTo>
                    <a:pt x="36" y="163"/>
                    <a:pt x="36" y="163"/>
                    <a:pt x="37" y="163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65"/>
                    <a:pt x="37" y="166"/>
                    <a:pt x="37" y="167"/>
                  </a:cubicBezTo>
                  <a:cubicBezTo>
                    <a:pt x="37" y="167"/>
                    <a:pt x="37" y="167"/>
                    <a:pt x="37" y="167"/>
                  </a:cubicBezTo>
                  <a:cubicBezTo>
                    <a:pt x="37" y="167"/>
                    <a:pt x="37" y="167"/>
                    <a:pt x="37" y="168"/>
                  </a:cubicBezTo>
                  <a:cubicBezTo>
                    <a:pt x="36" y="168"/>
                    <a:pt x="36" y="168"/>
                    <a:pt x="36" y="168"/>
                  </a:cubicBezTo>
                  <a:cubicBezTo>
                    <a:pt x="36" y="168"/>
                    <a:pt x="36" y="168"/>
                    <a:pt x="36" y="168"/>
                  </a:cubicBezTo>
                  <a:cubicBezTo>
                    <a:pt x="36" y="169"/>
                    <a:pt x="36" y="169"/>
                    <a:pt x="36" y="169"/>
                  </a:cubicBezTo>
                  <a:cubicBezTo>
                    <a:pt x="36" y="171"/>
                    <a:pt x="36" y="173"/>
                    <a:pt x="36" y="174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36" y="175"/>
                    <a:pt x="36" y="175"/>
                    <a:pt x="36" y="175"/>
                  </a:cubicBezTo>
                  <a:cubicBezTo>
                    <a:pt x="36" y="176"/>
                    <a:pt x="37" y="176"/>
                    <a:pt x="37" y="177"/>
                  </a:cubicBezTo>
                  <a:cubicBezTo>
                    <a:pt x="37" y="177"/>
                    <a:pt x="37" y="177"/>
                    <a:pt x="37" y="177"/>
                  </a:cubicBezTo>
                  <a:cubicBezTo>
                    <a:pt x="37" y="178"/>
                    <a:pt x="36" y="178"/>
                    <a:pt x="36" y="179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36" y="181"/>
                    <a:pt x="36" y="182"/>
                    <a:pt x="36" y="182"/>
                  </a:cubicBezTo>
                  <a:cubicBezTo>
                    <a:pt x="36" y="183"/>
                    <a:pt x="35" y="183"/>
                    <a:pt x="35" y="183"/>
                  </a:cubicBezTo>
                  <a:cubicBezTo>
                    <a:pt x="35" y="183"/>
                    <a:pt x="35" y="184"/>
                    <a:pt x="35" y="184"/>
                  </a:cubicBezTo>
                  <a:cubicBezTo>
                    <a:pt x="35" y="185"/>
                    <a:pt x="35" y="185"/>
                    <a:pt x="35" y="185"/>
                  </a:cubicBezTo>
                  <a:cubicBezTo>
                    <a:pt x="35" y="186"/>
                    <a:pt x="34" y="187"/>
                    <a:pt x="34" y="187"/>
                  </a:cubicBezTo>
                  <a:cubicBezTo>
                    <a:pt x="34" y="187"/>
                    <a:pt x="34" y="189"/>
                    <a:pt x="33" y="190"/>
                  </a:cubicBezTo>
                  <a:cubicBezTo>
                    <a:pt x="32" y="190"/>
                    <a:pt x="33" y="190"/>
                    <a:pt x="33" y="190"/>
                  </a:cubicBezTo>
                  <a:cubicBezTo>
                    <a:pt x="33" y="191"/>
                    <a:pt x="33" y="191"/>
                    <a:pt x="33" y="191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32" y="193"/>
                    <a:pt x="32" y="193"/>
                    <a:pt x="32" y="193"/>
                  </a:cubicBezTo>
                  <a:cubicBezTo>
                    <a:pt x="32" y="194"/>
                    <a:pt x="31" y="195"/>
                    <a:pt x="31" y="195"/>
                  </a:cubicBezTo>
                  <a:cubicBezTo>
                    <a:pt x="31" y="196"/>
                    <a:pt x="31" y="196"/>
                    <a:pt x="31" y="196"/>
                  </a:cubicBezTo>
                  <a:cubicBezTo>
                    <a:pt x="31" y="196"/>
                    <a:pt x="31" y="196"/>
                    <a:pt x="31" y="197"/>
                  </a:cubicBezTo>
                  <a:cubicBezTo>
                    <a:pt x="31" y="198"/>
                    <a:pt x="30" y="197"/>
                    <a:pt x="30" y="197"/>
                  </a:cubicBezTo>
                  <a:cubicBezTo>
                    <a:pt x="30" y="197"/>
                    <a:pt x="30" y="197"/>
                    <a:pt x="30" y="197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29" y="198"/>
                    <a:pt x="29" y="199"/>
                    <a:pt x="29" y="199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0" y="200"/>
                    <a:pt x="30" y="201"/>
                    <a:pt x="30" y="201"/>
                  </a:cubicBezTo>
                  <a:cubicBezTo>
                    <a:pt x="30" y="201"/>
                    <a:pt x="30" y="201"/>
                    <a:pt x="30" y="202"/>
                  </a:cubicBezTo>
                  <a:cubicBezTo>
                    <a:pt x="30" y="202"/>
                    <a:pt x="30" y="203"/>
                    <a:pt x="30" y="203"/>
                  </a:cubicBezTo>
                  <a:cubicBezTo>
                    <a:pt x="30" y="204"/>
                    <a:pt x="30" y="204"/>
                    <a:pt x="31" y="205"/>
                  </a:cubicBezTo>
                  <a:cubicBezTo>
                    <a:pt x="31" y="206"/>
                    <a:pt x="31" y="206"/>
                    <a:pt x="31" y="206"/>
                  </a:cubicBezTo>
                  <a:cubicBezTo>
                    <a:pt x="31" y="207"/>
                    <a:pt x="30" y="208"/>
                    <a:pt x="30" y="208"/>
                  </a:cubicBezTo>
                  <a:cubicBezTo>
                    <a:pt x="30" y="208"/>
                    <a:pt x="30" y="209"/>
                    <a:pt x="30" y="209"/>
                  </a:cubicBezTo>
                  <a:cubicBezTo>
                    <a:pt x="30" y="209"/>
                    <a:pt x="30" y="209"/>
                    <a:pt x="30" y="209"/>
                  </a:cubicBezTo>
                  <a:cubicBezTo>
                    <a:pt x="29" y="209"/>
                    <a:pt x="29" y="209"/>
                    <a:pt x="29" y="209"/>
                  </a:cubicBezTo>
                  <a:cubicBezTo>
                    <a:pt x="29" y="210"/>
                    <a:pt x="29" y="210"/>
                    <a:pt x="29" y="210"/>
                  </a:cubicBezTo>
                  <a:cubicBezTo>
                    <a:pt x="29" y="210"/>
                    <a:pt x="29" y="210"/>
                    <a:pt x="29" y="210"/>
                  </a:cubicBezTo>
                  <a:cubicBezTo>
                    <a:pt x="29" y="211"/>
                    <a:pt x="29" y="212"/>
                    <a:pt x="29" y="212"/>
                  </a:cubicBezTo>
                  <a:cubicBezTo>
                    <a:pt x="29" y="213"/>
                    <a:pt x="29" y="213"/>
                    <a:pt x="29" y="213"/>
                  </a:cubicBezTo>
                  <a:cubicBezTo>
                    <a:pt x="28" y="213"/>
                    <a:pt x="29" y="215"/>
                    <a:pt x="29" y="215"/>
                  </a:cubicBezTo>
                  <a:cubicBezTo>
                    <a:pt x="29" y="216"/>
                    <a:pt x="29" y="216"/>
                    <a:pt x="29" y="216"/>
                  </a:cubicBezTo>
                  <a:cubicBezTo>
                    <a:pt x="29" y="216"/>
                    <a:pt x="29" y="216"/>
                    <a:pt x="29" y="216"/>
                  </a:cubicBezTo>
                  <a:cubicBezTo>
                    <a:pt x="30" y="216"/>
                    <a:pt x="30" y="216"/>
                    <a:pt x="30" y="216"/>
                  </a:cubicBezTo>
                  <a:cubicBezTo>
                    <a:pt x="30" y="216"/>
                    <a:pt x="30" y="216"/>
                    <a:pt x="29" y="216"/>
                  </a:cubicBezTo>
                  <a:cubicBezTo>
                    <a:pt x="29" y="217"/>
                    <a:pt x="29" y="217"/>
                    <a:pt x="29" y="217"/>
                  </a:cubicBezTo>
                  <a:cubicBezTo>
                    <a:pt x="29" y="217"/>
                    <a:pt x="30" y="217"/>
                    <a:pt x="30" y="217"/>
                  </a:cubicBezTo>
                  <a:cubicBezTo>
                    <a:pt x="31" y="217"/>
                    <a:pt x="31" y="217"/>
                    <a:pt x="31" y="217"/>
                  </a:cubicBezTo>
                  <a:cubicBezTo>
                    <a:pt x="31" y="217"/>
                    <a:pt x="31" y="216"/>
                    <a:pt x="31" y="216"/>
                  </a:cubicBezTo>
                  <a:cubicBezTo>
                    <a:pt x="31" y="216"/>
                    <a:pt x="32" y="216"/>
                    <a:pt x="32" y="216"/>
                  </a:cubicBezTo>
                  <a:cubicBezTo>
                    <a:pt x="32" y="216"/>
                    <a:pt x="32" y="216"/>
                    <a:pt x="32" y="216"/>
                  </a:cubicBezTo>
                  <a:cubicBezTo>
                    <a:pt x="32" y="216"/>
                    <a:pt x="33" y="216"/>
                    <a:pt x="33" y="217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32" y="217"/>
                    <a:pt x="32" y="218"/>
                    <a:pt x="32" y="218"/>
                  </a:cubicBezTo>
                  <a:cubicBezTo>
                    <a:pt x="33" y="218"/>
                    <a:pt x="33" y="218"/>
                    <a:pt x="33" y="218"/>
                  </a:cubicBezTo>
                  <a:cubicBezTo>
                    <a:pt x="33" y="218"/>
                    <a:pt x="33" y="218"/>
                    <a:pt x="33" y="219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3" y="219"/>
                    <a:pt x="33" y="220"/>
                    <a:pt x="33" y="220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3" y="219"/>
                    <a:pt x="32" y="219"/>
                    <a:pt x="32" y="220"/>
                  </a:cubicBezTo>
                  <a:cubicBezTo>
                    <a:pt x="32" y="220"/>
                    <a:pt x="33" y="220"/>
                    <a:pt x="33" y="220"/>
                  </a:cubicBezTo>
                  <a:cubicBezTo>
                    <a:pt x="33" y="220"/>
                    <a:pt x="33" y="220"/>
                    <a:pt x="33" y="220"/>
                  </a:cubicBezTo>
                  <a:cubicBezTo>
                    <a:pt x="32" y="220"/>
                    <a:pt x="32" y="221"/>
                    <a:pt x="32" y="221"/>
                  </a:cubicBezTo>
                  <a:cubicBezTo>
                    <a:pt x="32" y="222"/>
                    <a:pt x="32" y="222"/>
                    <a:pt x="32" y="222"/>
                  </a:cubicBezTo>
                  <a:cubicBezTo>
                    <a:pt x="32" y="222"/>
                    <a:pt x="32" y="222"/>
                    <a:pt x="33" y="223"/>
                  </a:cubicBezTo>
                  <a:cubicBezTo>
                    <a:pt x="33" y="223"/>
                    <a:pt x="32" y="223"/>
                    <a:pt x="32" y="223"/>
                  </a:cubicBezTo>
                  <a:cubicBezTo>
                    <a:pt x="32" y="223"/>
                    <a:pt x="32" y="223"/>
                    <a:pt x="32" y="224"/>
                  </a:cubicBezTo>
                  <a:cubicBezTo>
                    <a:pt x="32" y="224"/>
                    <a:pt x="31" y="224"/>
                    <a:pt x="31" y="224"/>
                  </a:cubicBezTo>
                  <a:cubicBezTo>
                    <a:pt x="31" y="225"/>
                    <a:pt x="32" y="225"/>
                    <a:pt x="32" y="225"/>
                  </a:cubicBezTo>
                  <a:cubicBezTo>
                    <a:pt x="32" y="225"/>
                    <a:pt x="32" y="225"/>
                    <a:pt x="32" y="226"/>
                  </a:cubicBezTo>
                  <a:cubicBezTo>
                    <a:pt x="31" y="226"/>
                    <a:pt x="31" y="227"/>
                    <a:pt x="32" y="227"/>
                  </a:cubicBezTo>
                  <a:cubicBezTo>
                    <a:pt x="32" y="227"/>
                    <a:pt x="31" y="228"/>
                    <a:pt x="31" y="228"/>
                  </a:cubicBezTo>
                  <a:cubicBezTo>
                    <a:pt x="31" y="228"/>
                    <a:pt x="31" y="228"/>
                    <a:pt x="32" y="228"/>
                  </a:cubicBezTo>
                  <a:cubicBezTo>
                    <a:pt x="32" y="228"/>
                    <a:pt x="33" y="229"/>
                    <a:pt x="33" y="229"/>
                  </a:cubicBezTo>
                  <a:cubicBezTo>
                    <a:pt x="33" y="229"/>
                    <a:pt x="33" y="229"/>
                    <a:pt x="33" y="229"/>
                  </a:cubicBezTo>
                  <a:cubicBezTo>
                    <a:pt x="33" y="229"/>
                    <a:pt x="33" y="230"/>
                    <a:pt x="33" y="230"/>
                  </a:cubicBezTo>
                  <a:cubicBezTo>
                    <a:pt x="33" y="230"/>
                    <a:pt x="32" y="230"/>
                    <a:pt x="32" y="231"/>
                  </a:cubicBezTo>
                  <a:cubicBezTo>
                    <a:pt x="32" y="231"/>
                    <a:pt x="32" y="231"/>
                    <a:pt x="32" y="231"/>
                  </a:cubicBezTo>
                  <a:cubicBezTo>
                    <a:pt x="32" y="231"/>
                    <a:pt x="32" y="231"/>
                    <a:pt x="32" y="231"/>
                  </a:cubicBezTo>
                  <a:cubicBezTo>
                    <a:pt x="32" y="231"/>
                    <a:pt x="31" y="231"/>
                    <a:pt x="30" y="231"/>
                  </a:cubicBezTo>
                  <a:cubicBezTo>
                    <a:pt x="30" y="231"/>
                    <a:pt x="30" y="231"/>
                    <a:pt x="30" y="231"/>
                  </a:cubicBezTo>
                  <a:cubicBezTo>
                    <a:pt x="30" y="232"/>
                    <a:pt x="30" y="232"/>
                    <a:pt x="30" y="232"/>
                  </a:cubicBezTo>
                  <a:cubicBezTo>
                    <a:pt x="30" y="232"/>
                    <a:pt x="30" y="233"/>
                    <a:pt x="30" y="233"/>
                  </a:cubicBezTo>
                  <a:cubicBezTo>
                    <a:pt x="30" y="233"/>
                    <a:pt x="30" y="234"/>
                    <a:pt x="30" y="234"/>
                  </a:cubicBezTo>
                  <a:cubicBezTo>
                    <a:pt x="30" y="234"/>
                    <a:pt x="30" y="234"/>
                    <a:pt x="30" y="234"/>
                  </a:cubicBezTo>
                  <a:cubicBezTo>
                    <a:pt x="30" y="234"/>
                    <a:pt x="30" y="234"/>
                    <a:pt x="30" y="234"/>
                  </a:cubicBezTo>
                  <a:cubicBezTo>
                    <a:pt x="30" y="235"/>
                    <a:pt x="30" y="236"/>
                    <a:pt x="29" y="236"/>
                  </a:cubicBezTo>
                  <a:cubicBezTo>
                    <a:pt x="29" y="237"/>
                    <a:pt x="29" y="237"/>
                    <a:pt x="29" y="237"/>
                  </a:cubicBezTo>
                  <a:cubicBezTo>
                    <a:pt x="29" y="237"/>
                    <a:pt x="29" y="237"/>
                    <a:pt x="29" y="237"/>
                  </a:cubicBezTo>
                  <a:cubicBezTo>
                    <a:pt x="29" y="237"/>
                    <a:pt x="29" y="237"/>
                    <a:pt x="29" y="237"/>
                  </a:cubicBezTo>
                  <a:cubicBezTo>
                    <a:pt x="29" y="237"/>
                    <a:pt x="29" y="237"/>
                    <a:pt x="28" y="237"/>
                  </a:cubicBezTo>
                  <a:cubicBezTo>
                    <a:pt x="28" y="236"/>
                    <a:pt x="28" y="236"/>
                    <a:pt x="28" y="236"/>
                  </a:cubicBezTo>
                  <a:cubicBezTo>
                    <a:pt x="28" y="236"/>
                    <a:pt x="28" y="236"/>
                    <a:pt x="28" y="236"/>
                  </a:cubicBezTo>
                  <a:cubicBezTo>
                    <a:pt x="28" y="236"/>
                    <a:pt x="28" y="236"/>
                    <a:pt x="28" y="236"/>
                  </a:cubicBezTo>
                  <a:cubicBezTo>
                    <a:pt x="28" y="236"/>
                    <a:pt x="28" y="235"/>
                    <a:pt x="28" y="235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27" y="236"/>
                    <a:pt x="27" y="236"/>
                    <a:pt x="27" y="236"/>
                  </a:cubicBezTo>
                  <a:cubicBezTo>
                    <a:pt x="26" y="235"/>
                    <a:pt x="26" y="235"/>
                    <a:pt x="26" y="235"/>
                  </a:cubicBezTo>
                  <a:cubicBezTo>
                    <a:pt x="26" y="236"/>
                    <a:pt x="26" y="236"/>
                    <a:pt x="26" y="236"/>
                  </a:cubicBezTo>
                  <a:cubicBezTo>
                    <a:pt x="26" y="236"/>
                    <a:pt x="26" y="236"/>
                    <a:pt x="26" y="236"/>
                  </a:cubicBezTo>
                  <a:cubicBezTo>
                    <a:pt x="26" y="236"/>
                    <a:pt x="26" y="236"/>
                    <a:pt x="26" y="236"/>
                  </a:cubicBezTo>
                  <a:cubicBezTo>
                    <a:pt x="26" y="236"/>
                    <a:pt x="26" y="237"/>
                    <a:pt x="26" y="237"/>
                  </a:cubicBezTo>
                  <a:cubicBezTo>
                    <a:pt x="25" y="237"/>
                    <a:pt x="25" y="237"/>
                    <a:pt x="25" y="237"/>
                  </a:cubicBezTo>
                  <a:cubicBezTo>
                    <a:pt x="25" y="237"/>
                    <a:pt x="25" y="238"/>
                    <a:pt x="25" y="238"/>
                  </a:cubicBezTo>
                  <a:cubicBezTo>
                    <a:pt x="24" y="238"/>
                    <a:pt x="24" y="238"/>
                    <a:pt x="24" y="238"/>
                  </a:cubicBezTo>
                  <a:cubicBezTo>
                    <a:pt x="24" y="238"/>
                    <a:pt x="24" y="238"/>
                    <a:pt x="24" y="238"/>
                  </a:cubicBezTo>
                  <a:cubicBezTo>
                    <a:pt x="24" y="238"/>
                    <a:pt x="24" y="238"/>
                    <a:pt x="24" y="238"/>
                  </a:cubicBezTo>
                  <a:cubicBezTo>
                    <a:pt x="23" y="239"/>
                    <a:pt x="23" y="239"/>
                    <a:pt x="23" y="239"/>
                  </a:cubicBezTo>
                  <a:cubicBezTo>
                    <a:pt x="23" y="239"/>
                    <a:pt x="23" y="239"/>
                    <a:pt x="23" y="239"/>
                  </a:cubicBezTo>
                  <a:cubicBezTo>
                    <a:pt x="23" y="239"/>
                    <a:pt x="23" y="240"/>
                    <a:pt x="23" y="240"/>
                  </a:cubicBezTo>
                  <a:cubicBezTo>
                    <a:pt x="23" y="240"/>
                    <a:pt x="23" y="240"/>
                    <a:pt x="23" y="240"/>
                  </a:cubicBezTo>
                  <a:cubicBezTo>
                    <a:pt x="23" y="240"/>
                    <a:pt x="24" y="240"/>
                    <a:pt x="24" y="240"/>
                  </a:cubicBezTo>
                  <a:cubicBezTo>
                    <a:pt x="24" y="240"/>
                    <a:pt x="24" y="240"/>
                    <a:pt x="24" y="240"/>
                  </a:cubicBezTo>
                  <a:cubicBezTo>
                    <a:pt x="24" y="239"/>
                    <a:pt x="24" y="239"/>
                    <a:pt x="24" y="239"/>
                  </a:cubicBezTo>
                  <a:cubicBezTo>
                    <a:pt x="25" y="239"/>
                    <a:pt x="25" y="239"/>
                    <a:pt x="25" y="239"/>
                  </a:cubicBezTo>
                  <a:cubicBezTo>
                    <a:pt x="25" y="239"/>
                    <a:pt x="25" y="239"/>
                    <a:pt x="25" y="239"/>
                  </a:cubicBezTo>
                  <a:cubicBezTo>
                    <a:pt x="25" y="239"/>
                    <a:pt x="25" y="239"/>
                    <a:pt x="25" y="239"/>
                  </a:cubicBezTo>
                  <a:cubicBezTo>
                    <a:pt x="25" y="239"/>
                    <a:pt x="25" y="239"/>
                    <a:pt x="25" y="239"/>
                  </a:cubicBezTo>
                  <a:cubicBezTo>
                    <a:pt x="25" y="239"/>
                    <a:pt x="25" y="239"/>
                    <a:pt x="25" y="239"/>
                  </a:cubicBezTo>
                  <a:cubicBezTo>
                    <a:pt x="26" y="240"/>
                    <a:pt x="26" y="240"/>
                    <a:pt x="27" y="240"/>
                  </a:cubicBezTo>
                  <a:cubicBezTo>
                    <a:pt x="27" y="240"/>
                    <a:pt x="27" y="240"/>
                    <a:pt x="27" y="240"/>
                  </a:cubicBezTo>
                  <a:cubicBezTo>
                    <a:pt x="27" y="240"/>
                    <a:pt x="27" y="240"/>
                    <a:pt x="27" y="240"/>
                  </a:cubicBezTo>
                  <a:cubicBezTo>
                    <a:pt x="27" y="240"/>
                    <a:pt x="28" y="241"/>
                    <a:pt x="28" y="241"/>
                  </a:cubicBezTo>
                  <a:cubicBezTo>
                    <a:pt x="29" y="241"/>
                    <a:pt x="29" y="241"/>
                    <a:pt x="29" y="241"/>
                  </a:cubicBezTo>
                  <a:cubicBezTo>
                    <a:pt x="28" y="241"/>
                    <a:pt x="28" y="242"/>
                    <a:pt x="28" y="242"/>
                  </a:cubicBezTo>
                  <a:cubicBezTo>
                    <a:pt x="27" y="242"/>
                    <a:pt x="27" y="243"/>
                    <a:pt x="27" y="243"/>
                  </a:cubicBezTo>
                  <a:cubicBezTo>
                    <a:pt x="27" y="243"/>
                    <a:pt x="27" y="244"/>
                    <a:pt x="27" y="244"/>
                  </a:cubicBezTo>
                  <a:cubicBezTo>
                    <a:pt x="27" y="245"/>
                    <a:pt x="27" y="246"/>
                    <a:pt x="27" y="246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27" y="248"/>
                    <a:pt x="27" y="249"/>
                    <a:pt x="27" y="250"/>
                  </a:cubicBezTo>
                  <a:cubicBezTo>
                    <a:pt x="27" y="250"/>
                    <a:pt x="27" y="252"/>
                    <a:pt x="27" y="252"/>
                  </a:cubicBezTo>
                  <a:cubicBezTo>
                    <a:pt x="27" y="253"/>
                    <a:pt x="27" y="254"/>
                    <a:pt x="27" y="254"/>
                  </a:cubicBezTo>
                  <a:cubicBezTo>
                    <a:pt x="27" y="255"/>
                    <a:pt x="27" y="256"/>
                    <a:pt x="26" y="256"/>
                  </a:cubicBezTo>
                  <a:cubicBezTo>
                    <a:pt x="26" y="257"/>
                    <a:pt x="26" y="258"/>
                    <a:pt x="26" y="259"/>
                  </a:cubicBezTo>
                  <a:cubicBezTo>
                    <a:pt x="26" y="259"/>
                    <a:pt x="26" y="260"/>
                    <a:pt x="27" y="261"/>
                  </a:cubicBezTo>
                  <a:cubicBezTo>
                    <a:pt x="27" y="262"/>
                    <a:pt x="27" y="262"/>
                    <a:pt x="28" y="263"/>
                  </a:cubicBezTo>
                  <a:cubicBezTo>
                    <a:pt x="28" y="263"/>
                    <a:pt x="28" y="264"/>
                    <a:pt x="29" y="265"/>
                  </a:cubicBezTo>
                  <a:cubicBezTo>
                    <a:pt x="29" y="265"/>
                    <a:pt x="29" y="266"/>
                    <a:pt x="29" y="267"/>
                  </a:cubicBezTo>
                  <a:cubicBezTo>
                    <a:pt x="29" y="267"/>
                    <a:pt x="30" y="268"/>
                    <a:pt x="31" y="269"/>
                  </a:cubicBezTo>
                  <a:cubicBezTo>
                    <a:pt x="31" y="269"/>
                    <a:pt x="31" y="269"/>
                    <a:pt x="31" y="269"/>
                  </a:cubicBezTo>
                  <a:cubicBezTo>
                    <a:pt x="31" y="269"/>
                    <a:pt x="31" y="269"/>
                    <a:pt x="31" y="269"/>
                  </a:cubicBezTo>
                  <a:cubicBezTo>
                    <a:pt x="32" y="270"/>
                    <a:pt x="33" y="270"/>
                    <a:pt x="33" y="271"/>
                  </a:cubicBezTo>
                  <a:cubicBezTo>
                    <a:pt x="33" y="271"/>
                    <a:pt x="34" y="272"/>
                    <a:pt x="34" y="272"/>
                  </a:cubicBezTo>
                  <a:cubicBezTo>
                    <a:pt x="34" y="272"/>
                    <a:pt x="35" y="272"/>
                    <a:pt x="36" y="273"/>
                  </a:cubicBezTo>
                  <a:cubicBezTo>
                    <a:pt x="37" y="273"/>
                    <a:pt x="37" y="273"/>
                    <a:pt x="37" y="273"/>
                  </a:cubicBezTo>
                  <a:cubicBezTo>
                    <a:pt x="38" y="273"/>
                    <a:pt x="38" y="272"/>
                    <a:pt x="38" y="272"/>
                  </a:cubicBezTo>
                  <a:cubicBezTo>
                    <a:pt x="38" y="272"/>
                    <a:pt x="38" y="272"/>
                    <a:pt x="38" y="272"/>
                  </a:cubicBezTo>
                  <a:cubicBezTo>
                    <a:pt x="38" y="272"/>
                    <a:pt x="38" y="271"/>
                    <a:pt x="38" y="271"/>
                  </a:cubicBezTo>
                  <a:cubicBezTo>
                    <a:pt x="38" y="270"/>
                    <a:pt x="38" y="270"/>
                    <a:pt x="39" y="269"/>
                  </a:cubicBezTo>
                  <a:cubicBezTo>
                    <a:pt x="39" y="269"/>
                    <a:pt x="39" y="269"/>
                    <a:pt x="39" y="269"/>
                  </a:cubicBezTo>
                  <a:cubicBezTo>
                    <a:pt x="39" y="269"/>
                    <a:pt x="39" y="269"/>
                    <a:pt x="39" y="269"/>
                  </a:cubicBezTo>
                  <a:cubicBezTo>
                    <a:pt x="39" y="268"/>
                    <a:pt x="39" y="268"/>
                    <a:pt x="39" y="268"/>
                  </a:cubicBezTo>
                  <a:cubicBezTo>
                    <a:pt x="39" y="267"/>
                    <a:pt x="40" y="267"/>
                    <a:pt x="40" y="267"/>
                  </a:cubicBezTo>
                  <a:cubicBezTo>
                    <a:pt x="40" y="267"/>
                    <a:pt x="40" y="267"/>
                    <a:pt x="41" y="267"/>
                  </a:cubicBezTo>
                  <a:cubicBezTo>
                    <a:pt x="41" y="267"/>
                    <a:pt x="41" y="267"/>
                    <a:pt x="42" y="267"/>
                  </a:cubicBezTo>
                  <a:cubicBezTo>
                    <a:pt x="42" y="266"/>
                    <a:pt x="42" y="266"/>
                    <a:pt x="43" y="266"/>
                  </a:cubicBezTo>
                  <a:cubicBezTo>
                    <a:pt x="43" y="266"/>
                    <a:pt x="43" y="266"/>
                    <a:pt x="44" y="265"/>
                  </a:cubicBezTo>
                  <a:cubicBezTo>
                    <a:pt x="44" y="265"/>
                    <a:pt x="45" y="265"/>
                    <a:pt x="46" y="266"/>
                  </a:cubicBezTo>
                  <a:cubicBezTo>
                    <a:pt x="46" y="266"/>
                    <a:pt x="46" y="266"/>
                    <a:pt x="46" y="266"/>
                  </a:cubicBezTo>
                  <a:cubicBezTo>
                    <a:pt x="46" y="265"/>
                    <a:pt x="46" y="265"/>
                    <a:pt x="46" y="265"/>
                  </a:cubicBezTo>
                  <a:cubicBezTo>
                    <a:pt x="46" y="264"/>
                    <a:pt x="46" y="264"/>
                    <a:pt x="46" y="264"/>
                  </a:cubicBezTo>
                  <a:cubicBezTo>
                    <a:pt x="46" y="264"/>
                    <a:pt x="46" y="264"/>
                    <a:pt x="46" y="264"/>
                  </a:cubicBezTo>
                  <a:cubicBezTo>
                    <a:pt x="46" y="264"/>
                    <a:pt x="46" y="264"/>
                    <a:pt x="46" y="264"/>
                  </a:cubicBezTo>
                  <a:cubicBezTo>
                    <a:pt x="45" y="264"/>
                    <a:pt x="45" y="264"/>
                    <a:pt x="45" y="263"/>
                  </a:cubicBezTo>
                  <a:cubicBezTo>
                    <a:pt x="45" y="263"/>
                    <a:pt x="44" y="262"/>
                    <a:pt x="44" y="262"/>
                  </a:cubicBezTo>
                  <a:cubicBezTo>
                    <a:pt x="44" y="262"/>
                    <a:pt x="45" y="262"/>
                    <a:pt x="45" y="262"/>
                  </a:cubicBezTo>
                  <a:cubicBezTo>
                    <a:pt x="44" y="261"/>
                    <a:pt x="44" y="261"/>
                    <a:pt x="44" y="261"/>
                  </a:cubicBezTo>
                  <a:cubicBezTo>
                    <a:pt x="44" y="260"/>
                    <a:pt x="44" y="260"/>
                    <a:pt x="44" y="259"/>
                  </a:cubicBezTo>
                  <a:cubicBezTo>
                    <a:pt x="44" y="259"/>
                    <a:pt x="44" y="259"/>
                    <a:pt x="44" y="259"/>
                  </a:cubicBezTo>
                  <a:cubicBezTo>
                    <a:pt x="44" y="259"/>
                    <a:pt x="44" y="258"/>
                    <a:pt x="44" y="258"/>
                  </a:cubicBezTo>
                  <a:cubicBezTo>
                    <a:pt x="44" y="258"/>
                    <a:pt x="45" y="257"/>
                    <a:pt x="45" y="256"/>
                  </a:cubicBezTo>
                  <a:cubicBezTo>
                    <a:pt x="45" y="256"/>
                    <a:pt x="45" y="256"/>
                    <a:pt x="45" y="256"/>
                  </a:cubicBezTo>
                  <a:cubicBezTo>
                    <a:pt x="46" y="256"/>
                    <a:pt x="46" y="256"/>
                    <a:pt x="46" y="256"/>
                  </a:cubicBezTo>
                  <a:cubicBezTo>
                    <a:pt x="46" y="255"/>
                    <a:pt x="47" y="255"/>
                    <a:pt x="47" y="255"/>
                  </a:cubicBezTo>
                  <a:cubicBezTo>
                    <a:pt x="48" y="255"/>
                    <a:pt x="48" y="255"/>
                    <a:pt x="48" y="255"/>
                  </a:cubicBezTo>
                  <a:cubicBezTo>
                    <a:pt x="48" y="255"/>
                    <a:pt x="49" y="252"/>
                    <a:pt x="49" y="252"/>
                  </a:cubicBezTo>
                  <a:cubicBezTo>
                    <a:pt x="49" y="252"/>
                    <a:pt x="49" y="251"/>
                    <a:pt x="49" y="251"/>
                  </a:cubicBezTo>
                  <a:cubicBezTo>
                    <a:pt x="49" y="251"/>
                    <a:pt x="50" y="249"/>
                    <a:pt x="50" y="249"/>
                  </a:cubicBezTo>
                  <a:cubicBezTo>
                    <a:pt x="50" y="249"/>
                    <a:pt x="51" y="248"/>
                    <a:pt x="51" y="248"/>
                  </a:cubicBezTo>
                  <a:cubicBezTo>
                    <a:pt x="52" y="247"/>
                    <a:pt x="52" y="247"/>
                    <a:pt x="52" y="247"/>
                  </a:cubicBezTo>
                  <a:cubicBezTo>
                    <a:pt x="53" y="247"/>
                    <a:pt x="53" y="247"/>
                    <a:pt x="53" y="247"/>
                  </a:cubicBezTo>
                  <a:cubicBezTo>
                    <a:pt x="53" y="246"/>
                    <a:pt x="54" y="246"/>
                    <a:pt x="54" y="246"/>
                  </a:cubicBezTo>
                  <a:cubicBezTo>
                    <a:pt x="54" y="246"/>
                    <a:pt x="54" y="246"/>
                    <a:pt x="54" y="246"/>
                  </a:cubicBezTo>
                  <a:cubicBezTo>
                    <a:pt x="54" y="246"/>
                    <a:pt x="54" y="245"/>
                    <a:pt x="54" y="245"/>
                  </a:cubicBezTo>
                  <a:cubicBezTo>
                    <a:pt x="54" y="245"/>
                    <a:pt x="54" y="245"/>
                    <a:pt x="54" y="245"/>
                  </a:cubicBezTo>
                  <a:cubicBezTo>
                    <a:pt x="54" y="245"/>
                    <a:pt x="54" y="245"/>
                    <a:pt x="54" y="245"/>
                  </a:cubicBezTo>
                  <a:cubicBezTo>
                    <a:pt x="54" y="245"/>
                    <a:pt x="54" y="245"/>
                    <a:pt x="54" y="244"/>
                  </a:cubicBezTo>
                  <a:cubicBezTo>
                    <a:pt x="54" y="244"/>
                    <a:pt x="54" y="244"/>
                    <a:pt x="54" y="244"/>
                  </a:cubicBezTo>
                  <a:cubicBezTo>
                    <a:pt x="54" y="244"/>
                    <a:pt x="54" y="244"/>
                    <a:pt x="54" y="244"/>
                  </a:cubicBezTo>
                  <a:cubicBezTo>
                    <a:pt x="54" y="243"/>
                    <a:pt x="54" y="243"/>
                    <a:pt x="54" y="243"/>
                  </a:cubicBezTo>
                  <a:cubicBezTo>
                    <a:pt x="54" y="242"/>
                    <a:pt x="53" y="241"/>
                    <a:pt x="52" y="241"/>
                  </a:cubicBezTo>
                  <a:cubicBezTo>
                    <a:pt x="50" y="239"/>
                    <a:pt x="50" y="239"/>
                    <a:pt x="50" y="239"/>
                  </a:cubicBezTo>
                  <a:cubicBezTo>
                    <a:pt x="48" y="238"/>
                    <a:pt x="49" y="236"/>
                    <a:pt x="49" y="236"/>
                  </a:cubicBezTo>
                  <a:cubicBezTo>
                    <a:pt x="49" y="236"/>
                    <a:pt x="49" y="236"/>
                    <a:pt x="49" y="236"/>
                  </a:cubicBezTo>
                  <a:cubicBezTo>
                    <a:pt x="50" y="234"/>
                    <a:pt x="51" y="233"/>
                    <a:pt x="52" y="232"/>
                  </a:cubicBezTo>
                  <a:cubicBezTo>
                    <a:pt x="52" y="232"/>
                    <a:pt x="52" y="232"/>
                    <a:pt x="52" y="232"/>
                  </a:cubicBezTo>
                  <a:cubicBezTo>
                    <a:pt x="52" y="232"/>
                    <a:pt x="52" y="232"/>
                    <a:pt x="53" y="232"/>
                  </a:cubicBezTo>
                  <a:cubicBezTo>
                    <a:pt x="53" y="231"/>
                    <a:pt x="53" y="231"/>
                    <a:pt x="54" y="232"/>
                  </a:cubicBezTo>
                  <a:cubicBezTo>
                    <a:pt x="54" y="232"/>
                    <a:pt x="55" y="232"/>
                    <a:pt x="55" y="232"/>
                  </a:cubicBezTo>
                  <a:cubicBezTo>
                    <a:pt x="55" y="232"/>
                    <a:pt x="55" y="232"/>
                    <a:pt x="55" y="231"/>
                  </a:cubicBezTo>
                  <a:cubicBezTo>
                    <a:pt x="56" y="231"/>
                    <a:pt x="55" y="231"/>
                    <a:pt x="55" y="231"/>
                  </a:cubicBezTo>
                  <a:cubicBezTo>
                    <a:pt x="55" y="231"/>
                    <a:pt x="55" y="230"/>
                    <a:pt x="55" y="230"/>
                  </a:cubicBezTo>
                  <a:cubicBezTo>
                    <a:pt x="55" y="230"/>
                    <a:pt x="55" y="230"/>
                    <a:pt x="56" y="230"/>
                  </a:cubicBezTo>
                  <a:cubicBezTo>
                    <a:pt x="56" y="230"/>
                    <a:pt x="56" y="229"/>
                    <a:pt x="56" y="228"/>
                  </a:cubicBezTo>
                  <a:cubicBezTo>
                    <a:pt x="56" y="228"/>
                    <a:pt x="56" y="228"/>
                    <a:pt x="56" y="228"/>
                  </a:cubicBezTo>
                  <a:cubicBezTo>
                    <a:pt x="56" y="227"/>
                    <a:pt x="56" y="227"/>
                    <a:pt x="56" y="226"/>
                  </a:cubicBezTo>
                  <a:cubicBezTo>
                    <a:pt x="56" y="226"/>
                    <a:pt x="56" y="226"/>
                    <a:pt x="56" y="226"/>
                  </a:cubicBezTo>
                  <a:cubicBezTo>
                    <a:pt x="56" y="226"/>
                    <a:pt x="57" y="225"/>
                    <a:pt x="57" y="224"/>
                  </a:cubicBezTo>
                  <a:cubicBezTo>
                    <a:pt x="57" y="224"/>
                    <a:pt x="58" y="223"/>
                    <a:pt x="58" y="223"/>
                  </a:cubicBezTo>
                  <a:cubicBezTo>
                    <a:pt x="59" y="223"/>
                    <a:pt x="59" y="223"/>
                    <a:pt x="59" y="222"/>
                  </a:cubicBezTo>
                  <a:cubicBezTo>
                    <a:pt x="59" y="222"/>
                    <a:pt x="59" y="222"/>
                    <a:pt x="59" y="222"/>
                  </a:cubicBezTo>
                  <a:cubicBezTo>
                    <a:pt x="58" y="222"/>
                    <a:pt x="58" y="222"/>
                    <a:pt x="58" y="222"/>
                  </a:cubicBezTo>
                  <a:cubicBezTo>
                    <a:pt x="58" y="222"/>
                    <a:pt x="57" y="222"/>
                    <a:pt x="57" y="222"/>
                  </a:cubicBezTo>
                  <a:cubicBezTo>
                    <a:pt x="57" y="221"/>
                    <a:pt x="57" y="221"/>
                    <a:pt x="57" y="221"/>
                  </a:cubicBezTo>
                  <a:cubicBezTo>
                    <a:pt x="57" y="221"/>
                    <a:pt x="57" y="221"/>
                    <a:pt x="58" y="221"/>
                  </a:cubicBezTo>
                  <a:cubicBezTo>
                    <a:pt x="58" y="221"/>
                    <a:pt x="58" y="221"/>
                    <a:pt x="58" y="221"/>
                  </a:cubicBezTo>
                  <a:cubicBezTo>
                    <a:pt x="58" y="221"/>
                    <a:pt x="58" y="221"/>
                    <a:pt x="58" y="221"/>
                  </a:cubicBezTo>
                  <a:cubicBezTo>
                    <a:pt x="58" y="221"/>
                    <a:pt x="59" y="221"/>
                    <a:pt x="59" y="221"/>
                  </a:cubicBezTo>
                  <a:cubicBezTo>
                    <a:pt x="59" y="221"/>
                    <a:pt x="60" y="221"/>
                    <a:pt x="60" y="222"/>
                  </a:cubicBezTo>
                  <a:cubicBezTo>
                    <a:pt x="60" y="222"/>
                    <a:pt x="60" y="222"/>
                    <a:pt x="60" y="222"/>
                  </a:cubicBezTo>
                  <a:cubicBezTo>
                    <a:pt x="60" y="222"/>
                    <a:pt x="61" y="222"/>
                    <a:pt x="61" y="222"/>
                  </a:cubicBezTo>
                  <a:cubicBezTo>
                    <a:pt x="61" y="222"/>
                    <a:pt x="61" y="222"/>
                    <a:pt x="61" y="222"/>
                  </a:cubicBezTo>
                  <a:cubicBezTo>
                    <a:pt x="61" y="221"/>
                    <a:pt x="62" y="221"/>
                    <a:pt x="62" y="220"/>
                  </a:cubicBezTo>
                  <a:cubicBezTo>
                    <a:pt x="62" y="220"/>
                    <a:pt x="62" y="220"/>
                    <a:pt x="62" y="220"/>
                  </a:cubicBezTo>
                  <a:cubicBezTo>
                    <a:pt x="62" y="219"/>
                    <a:pt x="61" y="219"/>
                    <a:pt x="61" y="219"/>
                  </a:cubicBezTo>
                  <a:cubicBezTo>
                    <a:pt x="61" y="218"/>
                    <a:pt x="61" y="218"/>
                    <a:pt x="61" y="218"/>
                  </a:cubicBezTo>
                  <a:cubicBezTo>
                    <a:pt x="61" y="218"/>
                    <a:pt x="61" y="218"/>
                    <a:pt x="61" y="218"/>
                  </a:cubicBezTo>
                  <a:cubicBezTo>
                    <a:pt x="60" y="219"/>
                    <a:pt x="60" y="219"/>
                    <a:pt x="60" y="219"/>
                  </a:cubicBezTo>
                  <a:cubicBezTo>
                    <a:pt x="60" y="219"/>
                    <a:pt x="60" y="219"/>
                    <a:pt x="60" y="219"/>
                  </a:cubicBezTo>
                  <a:cubicBezTo>
                    <a:pt x="60" y="220"/>
                    <a:pt x="60" y="220"/>
                    <a:pt x="60" y="220"/>
                  </a:cubicBezTo>
                  <a:cubicBezTo>
                    <a:pt x="59" y="220"/>
                    <a:pt x="59" y="220"/>
                    <a:pt x="59" y="220"/>
                  </a:cubicBezTo>
                  <a:cubicBezTo>
                    <a:pt x="59" y="220"/>
                    <a:pt x="58" y="220"/>
                    <a:pt x="59" y="220"/>
                  </a:cubicBezTo>
                  <a:cubicBezTo>
                    <a:pt x="59" y="219"/>
                    <a:pt x="58" y="219"/>
                    <a:pt x="58" y="219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57" y="219"/>
                    <a:pt x="57" y="219"/>
                    <a:pt x="57" y="218"/>
                  </a:cubicBezTo>
                  <a:cubicBezTo>
                    <a:pt x="57" y="218"/>
                    <a:pt x="57" y="217"/>
                    <a:pt x="57" y="217"/>
                  </a:cubicBezTo>
                  <a:cubicBezTo>
                    <a:pt x="57" y="216"/>
                    <a:pt x="57" y="215"/>
                    <a:pt x="57" y="215"/>
                  </a:cubicBezTo>
                  <a:cubicBezTo>
                    <a:pt x="57" y="215"/>
                    <a:pt x="57" y="214"/>
                    <a:pt x="57" y="214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57" y="213"/>
                    <a:pt x="57" y="213"/>
                    <a:pt x="57" y="213"/>
                  </a:cubicBezTo>
                  <a:cubicBezTo>
                    <a:pt x="58" y="213"/>
                    <a:pt x="58" y="213"/>
                    <a:pt x="58" y="213"/>
                  </a:cubicBezTo>
                  <a:cubicBezTo>
                    <a:pt x="58" y="213"/>
                    <a:pt x="58" y="213"/>
                    <a:pt x="59" y="213"/>
                  </a:cubicBezTo>
                  <a:cubicBezTo>
                    <a:pt x="59" y="213"/>
                    <a:pt x="60" y="214"/>
                    <a:pt x="60" y="214"/>
                  </a:cubicBezTo>
                  <a:cubicBezTo>
                    <a:pt x="61" y="215"/>
                    <a:pt x="62" y="214"/>
                    <a:pt x="63" y="214"/>
                  </a:cubicBezTo>
                  <a:cubicBezTo>
                    <a:pt x="64" y="214"/>
                    <a:pt x="65" y="213"/>
                    <a:pt x="66" y="213"/>
                  </a:cubicBezTo>
                  <a:cubicBezTo>
                    <a:pt x="66" y="213"/>
                    <a:pt x="66" y="212"/>
                    <a:pt x="66" y="212"/>
                  </a:cubicBezTo>
                  <a:cubicBezTo>
                    <a:pt x="66" y="212"/>
                    <a:pt x="66" y="211"/>
                    <a:pt x="66" y="211"/>
                  </a:cubicBezTo>
                  <a:cubicBezTo>
                    <a:pt x="65" y="211"/>
                    <a:pt x="65" y="210"/>
                    <a:pt x="65" y="210"/>
                  </a:cubicBezTo>
                  <a:cubicBezTo>
                    <a:pt x="65" y="210"/>
                    <a:pt x="65" y="210"/>
                    <a:pt x="66" y="209"/>
                  </a:cubicBezTo>
                  <a:cubicBezTo>
                    <a:pt x="66" y="208"/>
                    <a:pt x="66" y="209"/>
                    <a:pt x="66" y="209"/>
                  </a:cubicBezTo>
                  <a:cubicBezTo>
                    <a:pt x="66" y="209"/>
                    <a:pt x="66" y="208"/>
                    <a:pt x="66" y="208"/>
                  </a:cubicBezTo>
                  <a:cubicBezTo>
                    <a:pt x="67" y="208"/>
                    <a:pt x="67" y="207"/>
                    <a:pt x="67" y="207"/>
                  </a:cubicBezTo>
                  <a:cubicBezTo>
                    <a:pt x="67" y="207"/>
                    <a:pt x="67" y="207"/>
                    <a:pt x="66" y="206"/>
                  </a:cubicBezTo>
                  <a:cubicBezTo>
                    <a:pt x="66" y="206"/>
                    <a:pt x="66" y="206"/>
                    <a:pt x="66" y="205"/>
                  </a:cubicBezTo>
                  <a:cubicBezTo>
                    <a:pt x="66" y="205"/>
                    <a:pt x="66" y="205"/>
                    <a:pt x="66" y="205"/>
                  </a:cubicBezTo>
                  <a:cubicBezTo>
                    <a:pt x="66" y="205"/>
                    <a:pt x="66" y="205"/>
                    <a:pt x="66" y="205"/>
                  </a:cubicBezTo>
                  <a:cubicBezTo>
                    <a:pt x="66" y="204"/>
                    <a:pt x="65" y="204"/>
                    <a:pt x="65" y="204"/>
                  </a:cubicBezTo>
                  <a:cubicBezTo>
                    <a:pt x="65" y="204"/>
                    <a:pt x="66" y="204"/>
                    <a:pt x="66" y="204"/>
                  </a:cubicBezTo>
                  <a:cubicBezTo>
                    <a:pt x="67" y="205"/>
                    <a:pt x="67" y="205"/>
                    <a:pt x="67" y="205"/>
                  </a:cubicBezTo>
                  <a:cubicBezTo>
                    <a:pt x="67" y="205"/>
                    <a:pt x="68" y="205"/>
                    <a:pt x="69" y="205"/>
                  </a:cubicBezTo>
                  <a:cubicBezTo>
                    <a:pt x="69" y="205"/>
                    <a:pt x="72" y="205"/>
                    <a:pt x="73" y="204"/>
                  </a:cubicBezTo>
                  <a:cubicBezTo>
                    <a:pt x="74" y="204"/>
                    <a:pt x="78" y="203"/>
                    <a:pt x="78" y="203"/>
                  </a:cubicBezTo>
                  <a:cubicBezTo>
                    <a:pt x="79" y="203"/>
                    <a:pt x="80" y="202"/>
                    <a:pt x="81" y="201"/>
                  </a:cubicBezTo>
                  <a:cubicBezTo>
                    <a:pt x="81" y="201"/>
                    <a:pt x="81" y="200"/>
                    <a:pt x="81" y="200"/>
                  </a:cubicBezTo>
                  <a:cubicBezTo>
                    <a:pt x="81" y="199"/>
                    <a:pt x="82" y="199"/>
                    <a:pt x="83" y="198"/>
                  </a:cubicBezTo>
                  <a:cubicBezTo>
                    <a:pt x="83" y="197"/>
                    <a:pt x="83" y="197"/>
                    <a:pt x="84" y="197"/>
                  </a:cubicBezTo>
                  <a:cubicBezTo>
                    <a:pt x="84" y="196"/>
                    <a:pt x="84" y="196"/>
                    <a:pt x="84" y="196"/>
                  </a:cubicBezTo>
                  <a:cubicBezTo>
                    <a:pt x="84" y="195"/>
                    <a:pt x="84" y="194"/>
                    <a:pt x="84" y="194"/>
                  </a:cubicBezTo>
                  <a:cubicBezTo>
                    <a:pt x="84" y="194"/>
                    <a:pt x="84" y="193"/>
                    <a:pt x="84" y="193"/>
                  </a:cubicBezTo>
                  <a:cubicBezTo>
                    <a:pt x="83" y="193"/>
                    <a:pt x="83" y="193"/>
                    <a:pt x="83" y="193"/>
                  </a:cubicBezTo>
                  <a:cubicBezTo>
                    <a:pt x="83" y="194"/>
                    <a:pt x="82" y="194"/>
                    <a:pt x="82" y="193"/>
                  </a:cubicBezTo>
                  <a:cubicBezTo>
                    <a:pt x="82" y="193"/>
                    <a:pt x="81" y="192"/>
                    <a:pt x="81" y="191"/>
                  </a:cubicBezTo>
                  <a:cubicBezTo>
                    <a:pt x="81" y="190"/>
                    <a:pt x="82" y="190"/>
                    <a:pt x="82" y="189"/>
                  </a:cubicBezTo>
                  <a:cubicBezTo>
                    <a:pt x="82" y="189"/>
                    <a:pt x="82" y="189"/>
                    <a:pt x="81" y="189"/>
                  </a:cubicBezTo>
                  <a:cubicBezTo>
                    <a:pt x="81" y="188"/>
                    <a:pt x="80" y="187"/>
                    <a:pt x="80" y="187"/>
                  </a:cubicBezTo>
                  <a:cubicBezTo>
                    <a:pt x="80" y="187"/>
                    <a:pt x="79" y="187"/>
                    <a:pt x="79" y="187"/>
                  </a:cubicBezTo>
                  <a:cubicBezTo>
                    <a:pt x="79" y="187"/>
                    <a:pt x="78" y="186"/>
                    <a:pt x="78" y="186"/>
                  </a:cubicBezTo>
                  <a:cubicBezTo>
                    <a:pt x="78" y="186"/>
                    <a:pt x="78" y="186"/>
                    <a:pt x="78" y="186"/>
                  </a:cubicBezTo>
                  <a:cubicBezTo>
                    <a:pt x="78" y="185"/>
                    <a:pt x="78" y="185"/>
                    <a:pt x="78" y="185"/>
                  </a:cubicBezTo>
                  <a:cubicBezTo>
                    <a:pt x="78" y="184"/>
                    <a:pt x="78" y="184"/>
                    <a:pt x="78" y="184"/>
                  </a:cubicBezTo>
                  <a:cubicBezTo>
                    <a:pt x="78" y="184"/>
                    <a:pt x="78" y="183"/>
                    <a:pt x="78" y="183"/>
                  </a:cubicBezTo>
                  <a:cubicBezTo>
                    <a:pt x="78" y="183"/>
                    <a:pt x="78" y="183"/>
                    <a:pt x="78" y="183"/>
                  </a:cubicBezTo>
                  <a:cubicBezTo>
                    <a:pt x="77" y="182"/>
                    <a:pt x="77" y="182"/>
                    <a:pt x="77" y="182"/>
                  </a:cubicBezTo>
                  <a:cubicBezTo>
                    <a:pt x="77" y="181"/>
                    <a:pt x="78" y="181"/>
                    <a:pt x="78" y="181"/>
                  </a:cubicBezTo>
                  <a:cubicBezTo>
                    <a:pt x="78" y="181"/>
                    <a:pt x="78" y="180"/>
                    <a:pt x="78" y="180"/>
                  </a:cubicBezTo>
                  <a:cubicBezTo>
                    <a:pt x="78" y="180"/>
                    <a:pt x="78" y="180"/>
                    <a:pt x="78" y="180"/>
                  </a:cubicBezTo>
                  <a:cubicBezTo>
                    <a:pt x="78" y="180"/>
                    <a:pt x="78" y="180"/>
                    <a:pt x="78" y="180"/>
                  </a:cubicBezTo>
                  <a:cubicBezTo>
                    <a:pt x="78" y="181"/>
                    <a:pt x="78" y="181"/>
                    <a:pt x="78" y="181"/>
                  </a:cubicBezTo>
                  <a:cubicBezTo>
                    <a:pt x="78" y="182"/>
                    <a:pt x="78" y="182"/>
                    <a:pt x="78" y="183"/>
                  </a:cubicBezTo>
                  <a:cubicBezTo>
                    <a:pt x="79" y="183"/>
                    <a:pt x="79" y="184"/>
                    <a:pt x="79" y="184"/>
                  </a:cubicBezTo>
                  <a:cubicBezTo>
                    <a:pt x="80" y="185"/>
                    <a:pt x="80" y="185"/>
                    <a:pt x="80" y="185"/>
                  </a:cubicBezTo>
                  <a:cubicBezTo>
                    <a:pt x="80" y="185"/>
                    <a:pt x="80" y="185"/>
                    <a:pt x="80" y="185"/>
                  </a:cubicBezTo>
                  <a:cubicBezTo>
                    <a:pt x="80" y="185"/>
                    <a:pt x="80" y="185"/>
                    <a:pt x="80" y="185"/>
                  </a:cubicBezTo>
                  <a:cubicBezTo>
                    <a:pt x="81" y="185"/>
                    <a:pt x="81" y="185"/>
                    <a:pt x="81" y="185"/>
                  </a:cubicBezTo>
                  <a:cubicBezTo>
                    <a:pt x="82" y="185"/>
                    <a:pt x="82" y="185"/>
                    <a:pt x="82" y="185"/>
                  </a:cubicBezTo>
                  <a:cubicBezTo>
                    <a:pt x="82" y="185"/>
                    <a:pt x="82" y="185"/>
                    <a:pt x="82" y="186"/>
                  </a:cubicBezTo>
                  <a:cubicBezTo>
                    <a:pt x="83" y="186"/>
                    <a:pt x="83" y="186"/>
                    <a:pt x="83" y="186"/>
                  </a:cubicBezTo>
                  <a:cubicBezTo>
                    <a:pt x="83" y="186"/>
                    <a:pt x="83" y="186"/>
                    <a:pt x="83" y="186"/>
                  </a:cubicBezTo>
                  <a:cubicBezTo>
                    <a:pt x="83" y="186"/>
                    <a:pt x="83" y="186"/>
                    <a:pt x="83" y="186"/>
                  </a:cubicBezTo>
                  <a:cubicBezTo>
                    <a:pt x="84" y="186"/>
                    <a:pt x="84" y="186"/>
                    <a:pt x="84" y="187"/>
                  </a:cubicBezTo>
                  <a:cubicBezTo>
                    <a:pt x="85" y="187"/>
                    <a:pt x="85" y="187"/>
                    <a:pt x="85" y="187"/>
                  </a:cubicBezTo>
                  <a:cubicBezTo>
                    <a:pt x="86" y="187"/>
                    <a:pt x="86" y="187"/>
                    <a:pt x="86" y="187"/>
                  </a:cubicBezTo>
                  <a:cubicBezTo>
                    <a:pt x="87" y="187"/>
                    <a:pt x="87" y="187"/>
                    <a:pt x="87" y="187"/>
                  </a:cubicBezTo>
                  <a:cubicBezTo>
                    <a:pt x="87" y="187"/>
                    <a:pt x="87" y="187"/>
                    <a:pt x="87" y="187"/>
                  </a:cubicBezTo>
                  <a:cubicBezTo>
                    <a:pt x="87" y="187"/>
                    <a:pt x="89" y="187"/>
                    <a:pt x="90" y="187"/>
                  </a:cubicBezTo>
                  <a:cubicBezTo>
                    <a:pt x="90" y="187"/>
                    <a:pt x="90" y="187"/>
                    <a:pt x="90" y="187"/>
                  </a:cubicBezTo>
                  <a:cubicBezTo>
                    <a:pt x="90" y="187"/>
                    <a:pt x="91" y="187"/>
                    <a:pt x="92" y="186"/>
                  </a:cubicBezTo>
                  <a:cubicBezTo>
                    <a:pt x="92" y="186"/>
                    <a:pt x="93" y="185"/>
                    <a:pt x="93" y="184"/>
                  </a:cubicBezTo>
                  <a:cubicBezTo>
                    <a:pt x="94" y="184"/>
                    <a:pt x="94" y="184"/>
                    <a:pt x="94" y="183"/>
                  </a:cubicBezTo>
                  <a:cubicBezTo>
                    <a:pt x="94" y="180"/>
                    <a:pt x="94" y="180"/>
                    <a:pt x="94" y="180"/>
                  </a:cubicBezTo>
                  <a:cubicBezTo>
                    <a:pt x="94" y="177"/>
                    <a:pt x="94" y="177"/>
                    <a:pt x="94" y="177"/>
                  </a:cubicBezTo>
                  <a:cubicBezTo>
                    <a:pt x="93" y="176"/>
                    <a:pt x="93" y="176"/>
                    <a:pt x="93" y="176"/>
                  </a:cubicBezTo>
                  <a:cubicBezTo>
                    <a:pt x="94" y="177"/>
                    <a:pt x="94" y="177"/>
                    <a:pt x="94" y="177"/>
                  </a:cubicBezTo>
                  <a:cubicBezTo>
                    <a:pt x="94" y="180"/>
                    <a:pt x="94" y="180"/>
                    <a:pt x="94" y="180"/>
                  </a:cubicBezTo>
                  <a:cubicBezTo>
                    <a:pt x="94" y="183"/>
                    <a:pt x="94" y="183"/>
                    <a:pt x="94" y="183"/>
                  </a:cubicBezTo>
                  <a:cubicBezTo>
                    <a:pt x="95" y="183"/>
                    <a:pt x="95" y="182"/>
                    <a:pt x="95" y="182"/>
                  </a:cubicBezTo>
                  <a:cubicBezTo>
                    <a:pt x="95" y="182"/>
                    <a:pt x="96" y="180"/>
                    <a:pt x="96" y="179"/>
                  </a:cubicBezTo>
                  <a:cubicBezTo>
                    <a:pt x="97" y="179"/>
                    <a:pt x="97" y="178"/>
                    <a:pt x="97" y="178"/>
                  </a:cubicBezTo>
                  <a:cubicBezTo>
                    <a:pt x="97" y="177"/>
                    <a:pt x="98" y="176"/>
                    <a:pt x="98" y="176"/>
                  </a:cubicBezTo>
                  <a:cubicBezTo>
                    <a:pt x="98" y="175"/>
                    <a:pt x="99" y="175"/>
                    <a:pt x="100" y="175"/>
                  </a:cubicBezTo>
                  <a:cubicBezTo>
                    <a:pt x="100" y="174"/>
                    <a:pt x="101" y="173"/>
                    <a:pt x="102" y="172"/>
                  </a:cubicBezTo>
                  <a:cubicBezTo>
                    <a:pt x="103" y="172"/>
                    <a:pt x="103" y="171"/>
                    <a:pt x="104" y="168"/>
                  </a:cubicBezTo>
                  <a:cubicBezTo>
                    <a:pt x="105" y="166"/>
                    <a:pt x="106" y="165"/>
                    <a:pt x="107" y="164"/>
                  </a:cubicBezTo>
                  <a:cubicBezTo>
                    <a:pt x="107" y="163"/>
                    <a:pt x="108" y="162"/>
                    <a:pt x="108" y="162"/>
                  </a:cubicBezTo>
                  <a:cubicBezTo>
                    <a:pt x="109" y="161"/>
                    <a:pt x="109" y="161"/>
                    <a:pt x="109" y="160"/>
                  </a:cubicBezTo>
                  <a:cubicBezTo>
                    <a:pt x="109" y="160"/>
                    <a:pt x="110" y="158"/>
                    <a:pt x="110" y="157"/>
                  </a:cubicBezTo>
                  <a:cubicBezTo>
                    <a:pt x="110" y="156"/>
                    <a:pt x="110" y="155"/>
                    <a:pt x="110" y="155"/>
                  </a:cubicBezTo>
                  <a:cubicBezTo>
                    <a:pt x="110" y="154"/>
                    <a:pt x="109" y="153"/>
                    <a:pt x="109" y="152"/>
                  </a:cubicBezTo>
                  <a:cubicBezTo>
                    <a:pt x="109" y="151"/>
                    <a:pt x="109" y="151"/>
                    <a:pt x="109" y="151"/>
                  </a:cubicBezTo>
                  <a:cubicBezTo>
                    <a:pt x="109" y="150"/>
                    <a:pt x="111" y="148"/>
                    <a:pt x="111" y="148"/>
                  </a:cubicBezTo>
                  <a:cubicBezTo>
                    <a:pt x="111" y="148"/>
                    <a:pt x="111" y="147"/>
                    <a:pt x="111" y="147"/>
                  </a:cubicBezTo>
                  <a:cubicBezTo>
                    <a:pt x="112" y="147"/>
                    <a:pt x="113" y="145"/>
                    <a:pt x="113" y="145"/>
                  </a:cubicBezTo>
                  <a:cubicBezTo>
                    <a:pt x="113" y="145"/>
                    <a:pt x="114" y="144"/>
                    <a:pt x="115" y="143"/>
                  </a:cubicBezTo>
                  <a:cubicBezTo>
                    <a:pt x="115" y="143"/>
                    <a:pt x="116" y="142"/>
                    <a:pt x="116" y="142"/>
                  </a:cubicBezTo>
                  <a:cubicBezTo>
                    <a:pt x="117" y="142"/>
                    <a:pt x="118" y="142"/>
                    <a:pt x="119" y="142"/>
                  </a:cubicBezTo>
                  <a:cubicBezTo>
                    <a:pt x="120" y="142"/>
                    <a:pt x="120" y="142"/>
                    <a:pt x="120" y="142"/>
                  </a:cubicBezTo>
                  <a:cubicBezTo>
                    <a:pt x="120" y="142"/>
                    <a:pt x="120" y="141"/>
                    <a:pt x="120" y="141"/>
                  </a:cubicBezTo>
                  <a:cubicBezTo>
                    <a:pt x="120" y="141"/>
                    <a:pt x="120" y="141"/>
                    <a:pt x="120" y="141"/>
                  </a:cubicBezTo>
                  <a:cubicBezTo>
                    <a:pt x="120" y="141"/>
                    <a:pt x="121" y="140"/>
                    <a:pt x="121" y="140"/>
                  </a:cubicBezTo>
                  <a:cubicBezTo>
                    <a:pt x="121" y="140"/>
                    <a:pt x="122" y="140"/>
                    <a:pt x="122" y="140"/>
                  </a:cubicBezTo>
                  <a:cubicBezTo>
                    <a:pt x="122" y="140"/>
                    <a:pt x="123" y="139"/>
                    <a:pt x="122" y="139"/>
                  </a:cubicBezTo>
                  <a:cubicBezTo>
                    <a:pt x="122" y="139"/>
                    <a:pt x="122" y="138"/>
                    <a:pt x="123" y="138"/>
                  </a:cubicBezTo>
                  <a:cubicBezTo>
                    <a:pt x="123" y="138"/>
                    <a:pt x="124" y="138"/>
                    <a:pt x="124" y="138"/>
                  </a:cubicBezTo>
                  <a:cubicBezTo>
                    <a:pt x="124" y="138"/>
                    <a:pt x="124" y="138"/>
                    <a:pt x="125" y="138"/>
                  </a:cubicBezTo>
                  <a:cubicBezTo>
                    <a:pt x="125" y="138"/>
                    <a:pt x="125" y="139"/>
                    <a:pt x="126" y="139"/>
                  </a:cubicBezTo>
                  <a:cubicBezTo>
                    <a:pt x="126" y="138"/>
                    <a:pt x="127" y="138"/>
                    <a:pt x="127" y="138"/>
                  </a:cubicBezTo>
                  <a:cubicBezTo>
                    <a:pt x="127" y="138"/>
                    <a:pt x="127" y="138"/>
                    <a:pt x="127" y="138"/>
                  </a:cubicBezTo>
                  <a:cubicBezTo>
                    <a:pt x="127" y="138"/>
                    <a:pt x="127" y="138"/>
                    <a:pt x="126" y="138"/>
                  </a:cubicBezTo>
                  <a:cubicBezTo>
                    <a:pt x="126" y="137"/>
                    <a:pt x="126" y="137"/>
                    <a:pt x="127" y="137"/>
                  </a:cubicBezTo>
                  <a:cubicBezTo>
                    <a:pt x="127" y="137"/>
                    <a:pt x="127" y="137"/>
                    <a:pt x="128" y="137"/>
                  </a:cubicBezTo>
                  <a:cubicBezTo>
                    <a:pt x="127" y="138"/>
                    <a:pt x="127" y="138"/>
                    <a:pt x="127" y="138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9" y="138"/>
                    <a:pt x="129" y="138"/>
                    <a:pt x="130" y="138"/>
                  </a:cubicBezTo>
                  <a:cubicBezTo>
                    <a:pt x="130" y="138"/>
                    <a:pt x="131" y="138"/>
                    <a:pt x="131" y="138"/>
                  </a:cubicBezTo>
                  <a:cubicBezTo>
                    <a:pt x="131" y="137"/>
                    <a:pt x="131" y="137"/>
                    <a:pt x="131" y="137"/>
                  </a:cubicBezTo>
                  <a:cubicBezTo>
                    <a:pt x="131" y="136"/>
                    <a:pt x="131" y="136"/>
                    <a:pt x="131" y="136"/>
                  </a:cubicBezTo>
                  <a:cubicBezTo>
                    <a:pt x="132" y="135"/>
                    <a:pt x="133" y="135"/>
                    <a:pt x="134" y="134"/>
                  </a:cubicBezTo>
                  <a:cubicBezTo>
                    <a:pt x="135" y="134"/>
                    <a:pt x="134" y="134"/>
                    <a:pt x="134" y="133"/>
                  </a:cubicBezTo>
                  <a:cubicBezTo>
                    <a:pt x="134" y="133"/>
                    <a:pt x="134" y="132"/>
                    <a:pt x="134" y="132"/>
                  </a:cubicBezTo>
                  <a:cubicBezTo>
                    <a:pt x="134" y="131"/>
                    <a:pt x="134" y="131"/>
                    <a:pt x="135" y="130"/>
                  </a:cubicBezTo>
                  <a:cubicBezTo>
                    <a:pt x="135" y="129"/>
                    <a:pt x="135" y="129"/>
                    <a:pt x="136" y="129"/>
                  </a:cubicBezTo>
                  <a:cubicBezTo>
                    <a:pt x="136" y="128"/>
                    <a:pt x="136" y="128"/>
                    <a:pt x="136" y="127"/>
                  </a:cubicBezTo>
                  <a:cubicBezTo>
                    <a:pt x="136" y="127"/>
                    <a:pt x="137" y="125"/>
                    <a:pt x="138" y="125"/>
                  </a:cubicBezTo>
                  <a:cubicBezTo>
                    <a:pt x="138" y="124"/>
                    <a:pt x="138" y="123"/>
                    <a:pt x="138" y="122"/>
                  </a:cubicBezTo>
                  <a:cubicBezTo>
                    <a:pt x="138" y="122"/>
                    <a:pt x="138" y="121"/>
                    <a:pt x="138" y="120"/>
                  </a:cubicBezTo>
                  <a:cubicBezTo>
                    <a:pt x="138" y="120"/>
                    <a:pt x="138" y="119"/>
                    <a:pt x="138" y="119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40" y="117"/>
                    <a:pt x="140" y="116"/>
                    <a:pt x="140" y="116"/>
                  </a:cubicBezTo>
                  <a:cubicBezTo>
                    <a:pt x="140" y="116"/>
                    <a:pt x="140" y="113"/>
                    <a:pt x="140" y="113"/>
                  </a:cubicBezTo>
                  <a:cubicBezTo>
                    <a:pt x="140" y="112"/>
                    <a:pt x="141" y="111"/>
                    <a:pt x="141" y="110"/>
                  </a:cubicBezTo>
                  <a:cubicBezTo>
                    <a:pt x="141" y="109"/>
                    <a:pt x="140" y="108"/>
                    <a:pt x="140" y="107"/>
                  </a:cubicBezTo>
                  <a:cubicBezTo>
                    <a:pt x="140" y="107"/>
                    <a:pt x="140" y="104"/>
                    <a:pt x="140" y="104"/>
                  </a:cubicBezTo>
                  <a:cubicBezTo>
                    <a:pt x="140" y="103"/>
                    <a:pt x="140" y="101"/>
                    <a:pt x="140" y="101"/>
                  </a:cubicBezTo>
                  <a:cubicBezTo>
                    <a:pt x="140" y="101"/>
                    <a:pt x="140" y="101"/>
                    <a:pt x="140" y="101"/>
                  </a:cubicBezTo>
                  <a:cubicBezTo>
                    <a:pt x="141" y="100"/>
                    <a:pt x="141" y="99"/>
                    <a:pt x="141" y="99"/>
                  </a:cubicBezTo>
                  <a:cubicBezTo>
                    <a:pt x="141" y="98"/>
                    <a:pt x="141" y="98"/>
                    <a:pt x="141" y="98"/>
                  </a:cubicBezTo>
                  <a:cubicBezTo>
                    <a:pt x="141" y="98"/>
                    <a:pt x="141" y="97"/>
                    <a:pt x="141" y="97"/>
                  </a:cubicBezTo>
                  <a:cubicBezTo>
                    <a:pt x="141" y="97"/>
                    <a:pt x="142" y="97"/>
                    <a:pt x="142" y="97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42" y="99"/>
                    <a:pt x="143" y="98"/>
                    <a:pt x="143" y="98"/>
                  </a:cubicBezTo>
                  <a:cubicBezTo>
                    <a:pt x="143" y="97"/>
                    <a:pt x="143" y="97"/>
                    <a:pt x="143" y="97"/>
                  </a:cubicBezTo>
                  <a:cubicBezTo>
                    <a:pt x="144" y="97"/>
                    <a:pt x="144" y="95"/>
                    <a:pt x="145" y="94"/>
                  </a:cubicBezTo>
                  <a:cubicBezTo>
                    <a:pt x="145" y="94"/>
                    <a:pt x="145" y="94"/>
                    <a:pt x="145" y="93"/>
                  </a:cubicBezTo>
                  <a:cubicBezTo>
                    <a:pt x="146" y="93"/>
                    <a:pt x="146" y="91"/>
                    <a:pt x="147" y="90"/>
                  </a:cubicBezTo>
                  <a:cubicBezTo>
                    <a:pt x="147" y="90"/>
                    <a:pt x="147" y="90"/>
                    <a:pt x="147" y="90"/>
                  </a:cubicBezTo>
                  <a:cubicBezTo>
                    <a:pt x="148" y="90"/>
                    <a:pt x="148" y="89"/>
                    <a:pt x="149" y="89"/>
                  </a:cubicBezTo>
                  <a:cubicBezTo>
                    <a:pt x="149" y="88"/>
                    <a:pt x="149" y="88"/>
                    <a:pt x="149" y="88"/>
                  </a:cubicBezTo>
                  <a:cubicBezTo>
                    <a:pt x="149" y="88"/>
                    <a:pt x="150" y="87"/>
                    <a:pt x="150" y="86"/>
                  </a:cubicBezTo>
                  <a:cubicBezTo>
                    <a:pt x="151" y="86"/>
                    <a:pt x="152" y="83"/>
                    <a:pt x="152" y="83"/>
                  </a:cubicBezTo>
                  <a:cubicBezTo>
                    <a:pt x="152" y="83"/>
                    <a:pt x="153" y="83"/>
                    <a:pt x="153" y="83"/>
                  </a:cubicBezTo>
                  <a:cubicBezTo>
                    <a:pt x="153" y="82"/>
                    <a:pt x="154" y="80"/>
                    <a:pt x="154" y="79"/>
                  </a:cubicBezTo>
                  <a:cubicBezTo>
                    <a:pt x="154" y="79"/>
                    <a:pt x="154" y="79"/>
                    <a:pt x="154" y="78"/>
                  </a:cubicBezTo>
                  <a:cubicBezTo>
                    <a:pt x="154" y="78"/>
                    <a:pt x="154" y="78"/>
                    <a:pt x="154" y="78"/>
                  </a:cubicBezTo>
                  <a:cubicBezTo>
                    <a:pt x="154" y="76"/>
                    <a:pt x="153" y="74"/>
                    <a:pt x="153" y="73"/>
                  </a:cubicBezTo>
                  <a:cubicBezTo>
                    <a:pt x="153" y="73"/>
                    <a:pt x="153" y="73"/>
                    <a:pt x="153" y="73"/>
                  </a:cubicBezTo>
                  <a:close/>
                  <a:moveTo>
                    <a:pt x="7" y="64"/>
                  </a:moveTo>
                  <a:cubicBezTo>
                    <a:pt x="8" y="64"/>
                    <a:pt x="8" y="64"/>
                    <a:pt x="8" y="64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8" y="63"/>
                    <a:pt x="8" y="63"/>
                    <a:pt x="8" y="63"/>
                  </a:cubicBezTo>
                  <a:lnTo>
                    <a:pt x="7" y="64"/>
                  </a:lnTo>
                  <a:close/>
                  <a:moveTo>
                    <a:pt x="10" y="65"/>
                  </a:moveTo>
                  <a:cubicBezTo>
                    <a:pt x="8" y="65"/>
                    <a:pt x="8" y="65"/>
                    <a:pt x="8" y="6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11" y="66"/>
                    <a:pt x="11" y="66"/>
                    <a:pt x="11" y="66"/>
                  </a:cubicBezTo>
                  <a:lnTo>
                    <a:pt x="10" y="65"/>
                  </a:lnTo>
                  <a:close/>
                  <a:moveTo>
                    <a:pt x="74" y="31"/>
                  </a:moveTo>
                  <a:cubicBezTo>
                    <a:pt x="73" y="30"/>
                    <a:pt x="73" y="30"/>
                    <a:pt x="73" y="30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2"/>
                    <a:pt x="74" y="32"/>
                    <a:pt x="74" y="32"/>
                  </a:cubicBezTo>
                  <a:lnTo>
                    <a:pt x="74" y="31"/>
                  </a:lnTo>
                  <a:close/>
                  <a:moveTo>
                    <a:pt x="74" y="40"/>
                  </a:moveTo>
                  <a:cubicBezTo>
                    <a:pt x="74" y="39"/>
                    <a:pt x="74" y="39"/>
                    <a:pt x="74" y="39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4" y="39"/>
                    <a:pt x="74" y="39"/>
                    <a:pt x="74" y="39"/>
                  </a:cubicBezTo>
                  <a:lnTo>
                    <a:pt x="74" y="40"/>
                  </a:lnTo>
                  <a:close/>
                  <a:moveTo>
                    <a:pt x="74" y="29"/>
                  </a:moveTo>
                  <a:cubicBezTo>
                    <a:pt x="73" y="30"/>
                    <a:pt x="73" y="30"/>
                    <a:pt x="73" y="30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3" y="28"/>
                    <a:pt x="73" y="28"/>
                    <a:pt x="73" y="28"/>
                  </a:cubicBezTo>
                  <a:lnTo>
                    <a:pt x="74" y="29"/>
                  </a:lnTo>
                  <a:close/>
                  <a:moveTo>
                    <a:pt x="73" y="28"/>
                  </a:moveTo>
                  <a:cubicBezTo>
                    <a:pt x="73" y="28"/>
                    <a:pt x="73" y="28"/>
                    <a:pt x="73" y="28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lnTo>
                    <a:pt x="73" y="28"/>
                  </a:lnTo>
                  <a:close/>
                  <a:moveTo>
                    <a:pt x="72" y="21"/>
                  </a:moveTo>
                  <a:cubicBezTo>
                    <a:pt x="72" y="21"/>
                    <a:pt x="72" y="21"/>
                    <a:pt x="72" y="21"/>
                  </a:cubicBezTo>
                  <a:cubicBezTo>
                    <a:pt x="71" y="20"/>
                    <a:pt x="71" y="20"/>
                    <a:pt x="71" y="20"/>
                  </a:cubicBezTo>
                  <a:lnTo>
                    <a:pt x="72" y="21"/>
                  </a:lnTo>
                  <a:close/>
                  <a:moveTo>
                    <a:pt x="71" y="27"/>
                  </a:move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1" y="27"/>
                    <a:pt x="71" y="27"/>
                    <a:pt x="71" y="27"/>
                  </a:cubicBezTo>
                  <a:cubicBezTo>
                    <a:pt x="70" y="26"/>
                    <a:pt x="70" y="26"/>
                    <a:pt x="70" y="26"/>
                  </a:cubicBezTo>
                  <a:lnTo>
                    <a:pt x="71" y="27"/>
                  </a:lnTo>
                  <a:close/>
                  <a:moveTo>
                    <a:pt x="72" y="106"/>
                  </a:moveTo>
                  <a:cubicBezTo>
                    <a:pt x="71" y="105"/>
                    <a:pt x="71" y="105"/>
                    <a:pt x="71" y="105"/>
                  </a:cubicBezTo>
                  <a:cubicBezTo>
                    <a:pt x="71" y="105"/>
                    <a:pt x="71" y="105"/>
                    <a:pt x="71" y="105"/>
                  </a:cubicBezTo>
                  <a:lnTo>
                    <a:pt x="72" y="106"/>
                  </a:lnTo>
                  <a:close/>
                  <a:moveTo>
                    <a:pt x="69" y="24"/>
                  </a:moveTo>
                  <a:cubicBezTo>
                    <a:pt x="70" y="25"/>
                    <a:pt x="70" y="25"/>
                    <a:pt x="70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70" y="25"/>
                    <a:pt x="70" y="25"/>
                    <a:pt x="70" y="25"/>
                  </a:cubicBezTo>
                  <a:lnTo>
                    <a:pt x="69" y="24"/>
                  </a:lnTo>
                  <a:close/>
                  <a:moveTo>
                    <a:pt x="50" y="24"/>
                  </a:moveTo>
                  <a:cubicBezTo>
                    <a:pt x="50" y="25"/>
                    <a:pt x="50" y="25"/>
                    <a:pt x="50" y="25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48" y="24"/>
                    <a:pt x="48" y="24"/>
                    <a:pt x="48" y="24"/>
                  </a:cubicBezTo>
                  <a:lnTo>
                    <a:pt x="50" y="24"/>
                  </a:lnTo>
                  <a:close/>
                  <a:moveTo>
                    <a:pt x="49" y="35"/>
                  </a:moveTo>
                  <a:cubicBezTo>
                    <a:pt x="49" y="35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49" y="35"/>
                    <a:pt x="49" y="35"/>
                  </a:cubicBezTo>
                  <a:close/>
                  <a:moveTo>
                    <a:pt x="48" y="31"/>
                  </a:moveTo>
                  <a:cubicBezTo>
                    <a:pt x="48" y="31"/>
                    <a:pt x="48" y="31"/>
                    <a:pt x="48" y="31"/>
                  </a:cubicBezTo>
                  <a:cubicBezTo>
                    <a:pt x="48" y="30"/>
                    <a:pt x="48" y="30"/>
                    <a:pt x="48" y="29"/>
                  </a:cubicBezTo>
                  <a:cubicBezTo>
                    <a:pt x="48" y="30"/>
                    <a:pt x="48" y="30"/>
                    <a:pt x="48" y="31"/>
                  </a:cubicBezTo>
                  <a:close/>
                  <a:moveTo>
                    <a:pt x="49" y="36"/>
                  </a:move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9" y="36"/>
                  </a:cubicBezTo>
                  <a:close/>
                  <a:moveTo>
                    <a:pt x="48" y="41"/>
                  </a:moveTo>
                  <a:cubicBezTo>
                    <a:pt x="48" y="41"/>
                    <a:pt x="48" y="41"/>
                    <a:pt x="48" y="41"/>
                  </a:cubicBezTo>
                  <a:cubicBezTo>
                    <a:pt x="47" y="40"/>
                    <a:pt x="47" y="40"/>
                    <a:pt x="47" y="40"/>
                  </a:cubicBezTo>
                  <a:lnTo>
                    <a:pt x="48" y="41"/>
                  </a:lnTo>
                  <a:close/>
                  <a:moveTo>
                    <a:pt x="46" y="40"/>
                  </a:moveTo>
                  <a:cubicBezTo>
                    <a:pt x="46" y="40"/>
                    <a:pt x="47" y="40"/>
                    <a:pt x="47" y="40"/>
                  </a:cubicBezTo>
                  <a:cubicBezTo>
                    <a:pt x="47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1"/>
                  </a:cubicBezTo>
                  <a:cubicBezTo>
                    <a:pt x="46" y="40"/>
                    <a:pt x="46" y="40"/>
                    <a:pt x="46" y="40"/>
                  </a:cubicBezTo>
                  <a:close/>
                  <a:moveTo>
                    <a:pt x="47" y="41"/>
                  </a:move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6" y="41"/>
                    <a:pt x="46" y="41"/>
                  </a:cubicBezTo>
                  <a:cubicBezTo>
                    <a:pt x="46" y="41"/>
                    <a:pt x="47" y="41"/>
                    <a:pt x="47" y="41"/>
                  </a:cubicBezTo>
                  <a:close/>
                  <a:moveTo>
                    <a:pt x="44" y="46"/>
                  </a:moveTo>
                  <a:cubicBezTo>
                    <a:pt x="44" y="46"/>
                    <a:pt x="44" y="46"/>
                    <a:pt x="44" y="46"/>
                  </a:cubicBezTo>
                  <a:cubicBezTo>
                    <a:pt x="44" y="45"/>
                    <a:pt x="44" y="45"/>
                    <a:pt x="44" y="45"/>
                  </a:cubicBezTo>
                  <a:lnTo>
                    <a:pt x="44" y="46"/>
                  </a:lnTo>
                  <a:close/>
                  <a:moveTo>
                    <a:pt x="45" y="104"/>
                  </a:moveTo>
                  <a:cubicBezTo>
                    <a:pt x="45" y="104"/>
                    <a:pt x="45" y="104"/>
                    <a:pt x="45" y="104"/>
                  </a:cubicBezTo>
                  <a:cubicBezTo>
                    <a:pt x="44" y="105"/>
                    <a:pt x="44" y="105"/>
                    <a:pt x="44" y="105"/>
                  </a:cubicBezTo>
                  <a:lnTo>
                    <a:pt x="45" y="104"/>
                  </a:lnTo>
                  <a:close/>
                  <a:moveTo>
                    <a:pt x="44" y="109"/>
                  </a:moveTo>
                  <a:cubicBezTo>
                    <a:pt x="45" y="108"/>
                    <a:pt x="45" y="108"/>
                    <a:pt x="45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4" y="109"/>
                    <a:pt x="44" y="109"/>
                    <a:pt x="44" y="109"/>
                  </a:cubicBezTo>
                  <a:close/>
                  <a:moveTo>
                    <a:pt x="42" y="44"/>
                  </a:move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4"/>
                    <a:pt x="42" y="44"/>
                  </a:cubicBezTo>
                  <a:close/>
                  <a:moveTo>
                    <a:pt x="42" y="46"/>
                  </a:moveTo>
                  <a:cubicBezTo>
                    <a:pt x="43" y="46"/>
                    <a:pt x="43" y="46"/>
                    <a:pt x="43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lnTo>
                    <a:pt x="42" y="46"/>
                  </a:lnTo>
                  <a:close/>
                  <a:moveTo>
                    <a:pt x="43" y="53"/>
                  </a:moveTo>
                  <a:cubicBezTo>
                    <a:pt x="43" y="53"/>
                    <a:pt x="43" y="53"/>
                    <a:pt x="43" y="53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lnTo>
                    <a:pt x="43" y="53"/>
                  </a:lnTo>
                  <a:close/>
                  <a:moveTo>
                    <a:pt x="42" y="50"/>
                  </a:move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lose/>
                  <a:moveTo>
                    <a:pt x="42" y="50"/>
                  </a:moveTo>
                  <a:cubicBezTo>
                    <a:pt x="42" y="49"/>
                    <a:pt x="42" y="49"/>
                    <a:pt x="42" y="49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2" y="49"/>
                    <a:pt x="42" y="49"/>
                    <a:pt x="42" y="49"/>
                  </a:cubicBezTo>
                  <a:lnTo>
                    <a:pt x="42" y="50"/>
                  </a:lnTo>
                  <a:close/>
                  <a:moveTo>
                    <a:pt x="35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9" y="21"/>
                    <a:pt x="40" y="21"/>
                    <a:pt x="40" y="21"/>
                  </a:cubicBezTo>
                  <a:cubicBezTo>
                    <a:pt x="40" y="21"/>
                    <a:pt x="39" y="21"/>
                    <a:pt x="38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4" y="19"/>
                    <a:pt x="34" y="19"/>
                    <a:pt x="34" y="19"/>
                  </a:cubicBezTo>
                  <a:lnTo>
                    <a:pt x="35" y="21"/>
                  </a:lnTo>
                  <a:close/>
                  <a:moveTo>
                    <a:pt x="40" y="58"/>
                  </a:move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lose/>
                  <a:moveTo>
                    <a:pt x="33" y="16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5"/>
                    <a:pt x="33" y="15"/>
                    <a:pt x="33" y="15"/>
                  </a:cubicBezTo>
                  <a:lnTo>
                    <a:pt x="33" y="16"/>
                  </a:lnTo>
                  <a:close/>
                  <a:moveTo>
                    <a:pt x="29" y="74"/>
                  </a:moveTo>
                  <a:cubicBezTo>
                    <a:pt x="29" y="74"/>
                    <a:pt x="29" y="74"/>
                    <a:pt x="29" y="74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4"/>
                    <a:pt x="29" y="74"/>
                    <a:pt x="29" y="74"/>
                  </a:cubicBezTo>
                  <a:close/>
                  <a:moveTo>
                    <a:pt x="29" y="75"/>
                  </a:move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lose/>
                  <a:moveTo>
                    <a:pt x="22" y="46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22" y="46"/>
                    <a:pt x="22" y="46"/>
                    <a:pt x="22" y="46"/>
                  </a:cubicBezTo>
                  <a:close/>
                  <a:moveTo>
                    <a:pt x="21" y="47"/>
                  </a:moveTo>
                  <a:cubicBezTo>
                    <a:pt x="21" y="47"/>
                    <a:pt x="22" y="47"/>
                    <a:pt x="22" y="47"/>
                  </a:cubicBezTo>
                  <a:cubicBezTo>
                    <a:pt x="22" y="47"/>
                    <a:pt x="21" y="47"/>
                    <a:pt x="21" y="47"/>
                  </a:cubicBezTo>
                  <a:cubicBezTo>
                    <a:pt x="21" y="47"/>
                    <a:pt x="19" y="47"/>
                    <a:pt x="19" y="47"/>
                  </a:cubicBezTo>
                  <a:cubicBezTo>
                    <a:pt x="19" y="47"/>
                    <a:pt x="21" y="47"/>
                    <a:pt x="21" y="47"/>
                  </a:cubicBezTo>
                  <a:close/>
                  <a:moveTo>
                    <a:pt x="17" y="46"/>
                  </a:moveTo>
                  <a:cubicBezTo>
                    <a:pt x="18" y="46"/>
                    <a:pt x="18" y="46"/>
                    <a:pt x="18" y="46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3" y="43"/>
                    <a:pt x="13" y="43"/>
                    <a:pt x="13" y="43"/>
                  </a:cubicBezTo>
                  <a:lnTo>
                    <a:pt x="17" y="46"/>
                  </a:lnTo>
                  <a:close/>
                  <a:moveTo>
                    <a:pt x="22" y="56"/>
                  </a:moveTo>
                  <a:cubicBezTo>
                    <a:pt x="18" y="58"/>
                    <a:pt x="18" y="58"/>
                    <a:pt x="18" y="58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3" y="53"/>
                    <a:pt x="23" y="53"/>
                    <a:pt x="23" y="53"/>
                  </a:cubicBezTo>
                  <a:lnTo>
                    <a:pt x="22" y="56"/>
                  </a:lnTo>
                  <a:close/>
                  <a:moveTo>
                    <a:pt x="23" y="53"/>
                  </a:moveTo>
                  <a:cubicBezTo>
                    <a:pt x="24" y="51"/>
                    <a:pt x="24" y="51"/>
                    <a:pt x="24" y="51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51"/>
                    <a:pt x="24" y="51"/>
                    <a:pt x="24" y="51"/>
                  </a:cubicBezTo>
                  <a:lnTo>
                    <a:pt x="23" y="53"/>
                  </a:lnTo>
                  <a:close/>
                  <a:moveTo>
                    <a:pt x="28" y="50"/>
                  </a:move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8" y="50"/>
                    <a:pt x="28" y="50"/>
                    <a:pt x="28" y="50"/>
                  </a:cubicBezTo>
                  <a:close/>
                  <a:moveTo>
                    <a:pt x="28" y="75"/>
                  </a:moveTo>
                  <a:cubicBezTo>
                    <a:pt x="28" y="75"/>
                    <a:pt x="28" y="76"/>
                    <a:pt x="29" y="76"/>
                  </a:cubicBezTo>
                  <a:cubicBezTo>
                    <a:pt x="30" y="78"/>
                    <a:pt x="30" y="79"/>
                    <a:pt x="30" y="79"/>
                  </a:cubicBezTo>
                  <a:cubicBezTo>
                    <a:pt x="30" y="79"/>
                    <a:pt x="30" y="78"/>
                    <a:pt x="29" y="76"/>
                  </a:cubicBezTo>
                  <a:cubicBezTo>
                    <a:pt x="28" y="76"/>
                    <a:pt x="28" y="75"/>
                    <a:pt x="28" y="75"/>
                  </a:cubicBezTo>
                  <a:close/>
                  <a:moveTo>
                    <a:pt x="30" y="81"/>
                  </a:moveTo>
                  <a:cubicBezTo>
                    <a:pt x="29" y="81"/>
                    <a:pt x="30" y="81"/>
                    <a:pt x="30" y="80"/>
                  </a:cubicBezTo>
                  <a:cubicBezTo>
                    <a:pt x="30" y="81"/>
                    <a:pt x="29" y="81"/>
                    <a:pt x="30" y="81"/>
                  </a:cubicBezTo>
                  <a:cubicBezTo>
                    <a:pt x="30" y="82"/>
                    <a:pt x="31" y="82"/>
                    <a:pt x="31" y="83"/>
                  </a:cubicBezTo>
                  <a:cubicBezTo>
                    <a:pt x="31" y="82"/>
                    <a:pt x="30" y="82"/>
                    <a:pt x="30" y="81"/>
                  </a:cubicBezTo>
                  <a:close/>
                  <a:moveTo>
                    <a:pt x="31" y="68"/>
                  </a:moveTo>
                  <a:cubicBezTo>
                    <a:pt x="31" y="68"/>
                    <a:pt x="31" y="68"/>
                    <a:pt x="31" y="68"/>
                  </a:cubicBezTo>
                  <a:cubicBezTo>
                    <a:pt x="31" y="69"/>
                    <a:pt x="31" y="69"/>
                    <a:pt x="31" y="69"/>
                  </a:cubicBezTo>
                  <a:lnTo>
                    <a:pt x="31" y="68"/>
                  </a:lnTo>
                  <a:close/>
                  <a:moveTo>
                    <a:pt x="31" y="57"/>
                  </a:move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6"/>
                    <a:pt x="31" y="56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1" y="56"/>
                    <a:pt x="31" y="57"/>
                    <a:pt x="31" y="57"/>
                  </a:cubicBezTo>
                  <a:close/>
                  <a:moveTo>
                    <a:pt x="32" y="15"/>
                  </a:moveTo>
                  <a:cubicBezTo>
                    <a:pt x="32" y="12"/>
                    <a:pt x="32" y="12"/>
                    <a:pt x="32" y="12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5"/>
                    <a:pt x="32" y="15"/>
                    <a:pt x="32" y="15"/>
                  </a:cubicBezTo>
                  <a:close/>
                  <a:moveTo>
                    <a:pt x="32" y="58"/>
                  </a:moveTo>
                  <a:cubicBezTo>
                    <a:pt x="34" y="58"/>
                    <a:pt x="35" y="58"/>
                    <a:pt x="35" y="58"/>
                  </a:cubicBezTo>
                  <a:cubicBezTo>
                    <a:pt x="35" y="58"/>
                    <a:pt x="35" y="57"/>
                    <a:pt x="36" y="57"/>
                  </a:cubicBezTo>
                  <a:cubicBezTo>
                    <a:pt x="36" y="57"/>
                    <a:pt x="37" y="57"/>
                    <a:pt x="37" y="57"/>
                  </a:cubicBezTo>
                  <a:cubicBezTo>
                    <a:pt x="37" y="57"/>
                    <a:pt x="36" y="57"/>
                    <a:pt x="36" y="57"/>
                  </a:cubicBezTo>
                  <a:cubicBezTo>
                    <a:pt x="35" y="57"/>
                    <a:pt x="35" y="58"/>
                    <a:pt x="35" y="58"/>
                  </a:cubicBezTo>
                  <a:cubicBezTo>
                    <a:pt x="35" y="58"/>
                    <a:pt x="34" y="58"/>
                    <a:pt x="32" y="58"/>
                  </a:cubicBezTo>
                  <a:close/>
                  <a:moveTo>
                    <a:pt x="33" y="85"/>
                  </a:moveTo>
                  <a:cubicBezTo>
                    <a:pt x="33" y="85"/>
                    <a:pt x="33" y="85"/>
                    <a:pt x="33" y="85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5" y="86"/>
                    <a:pt x="35" y="86"/>
                  </a:cubicBezTo>
                  <a:lnTo>
                    <a:pt x="33" y="85"/>
                  </a:lnTo>
                  <a:close/>
                  <a:moveTo>
                    <a:pt x="38" y="86"/>
                  </a:moveTo>
                  <a:cubicBezTo>
                    <a:pt x="36" y="87"/>
                    <a:pt x="36" y="87"/>
                    <a:pt x="36" y="87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lose/>
                  <a:moveTo>
                    <a:pt x="39" y="89"/>
                  </a:moveTo>
                  <a:cubicBezTo>
                    <a:pt x="39" y="89"/>
                    <a:pt x="38" y="90"/>
                    <a:pt x="39" y="91"/>
                  </a:cubicBezTo>
                  <a:cubicBezTo>
                    <a:pt x="38" y="90"/>
                    <a:pt x="39" y="89"/>
                    <a:pt x="39" y="89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40" y="87"/>
                    <a:pt x="40" y="87"/>
                    <a:pt x="40" y="87"/>
                  </a:cubicBezTo>
                  <a:lnTo>
                    <a:pt x="39" y="89"/>
                  </a:lnTo>
                  <a:close/>
                  <a:moveTo>
                    <a:pt x="41" y="64"/>
                  </a:moveTo>
                  <a:cubicBezTo>
                    <a:pt x="40" y="64"/>
                    <a:pt x="40" y="64"/>
                    <a:pt x="40" y="64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57"/>
                    <a:pt x="42" y="57"/>
                    <a:pt x="42" y="57"/>
                  </a:cubicBezTo>
                  <a:lnTo>
                    <a:pt x="41" y="64"/>
                  </a:lnTo>
                  <a:close/>
                  <a:moveTo>
                    <a:pt x="42" y="168"/>
                  </a:moveTo>
                  <a:cubicBezTo>
                    <a:pt x="42" y="168"/>
                    <a:pt x="42" y="168"/>
                    <a:pt x="42" y="168"/>
                  </a:cubicBezTo>
                  <a:cubicBezTo>
                    <a:pt x="41" y="165"/>
                    <a:pt x="41" y="165"/>
                    <a:pt x="41" y="165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41" y="165"/>
                    <a:pt x="41" y="165"/>
                    <a:pt x="41" y="165"/>
                  </a:cubicBezTo>
                  <a:lnTo>
                    <a:pt x="42" y="168"/>
                  </a:lnTo>
                  <a:close/>
                  <a:moveTo>
                    <a:pt x="42" y="116"/>
                  </a:moveTo>
                  <a:cubicBezTo>
                    <a:pt x="42" y="116"/>
                    <a:pt x="42" y="116"/>
                    <a:pt x="42" y="116"/>
                  </a:cubicBezTo>
                  <a:cubicBezTo>
                    <a:pt x="42" y="117"/>
                    <a:pt x="42" y="117"/>
                    <a:pt x="42" y="118"/>
                  </a:cubicBezTo>
                  <a:cubicBezTo>
                    <a:pt x="42" y="117"/>
                    <a:pt x="42" y="117"/>
                    <a:pt x="42" y="116"/>
                  </a:cubicBezTo>
                  <a:cubicBezTo>
                    <a:pt x="42" y="116"/>
                    <a:pt x="41" y="116"/>
                    <a:pt x="42" y="116"/>
                  </a:cubicBezTo>
                  <a:cubicBezTo>
                    <a:pt x="42" y="115"/>
                    <a:pt x="42" y="116"/>
                    <a:pt x="42" y="116"/>
                  </a:cubicBezTo>
                  <a:close/>
                  <a:moveTo>
                    <a:pt x="42" y="180"/>
                  </a:moveTo>
                  <a:cubicBezTo>
                    <a:pt x="42" y="181"/>
                    <a:pt x="42" y="181"/>
                    <a:pt x="42" y="181"/>
                  </a:cubicBezTo>
                  <a:cubicBezTo>
                    <a:pt x="42" y="183"/>
                    <a:pt x="42" y="183"/>
                    <a:pt x="42" y="183"/>
                  </a:cubicBezTo>
                  <a:cubicBezTo>
                    <a:pt x="42" y="184"/>
                    <a:pt x="42" y="184"/>
                    <a:pt x="42" y="184"/>
                  </a:cubicBezTo>
                  <a:cubicBezTo>
                    <a:pt x="42" y="183"/>
                    <a:pt x="42" y="183"/>
                    <a:pt x="42" y="183"/>
                  </a:cubicBezTo>
                  <a:cubicBezTo>
                    <a:pt x="42" y="181"/>
                    <a:pt x="42" y="181"/>
                    <a:pt x="42" y="181"/>
                  </a:cubicBezTo>
                  <a:cubicBezTo>
                    <a:pt x="42" y="180"/>
                    <a:pt x="42" y="180"/>
                    <a:pt x="42" y="180"/>
                  </a:cubicBezTo>
                  <a:cubicBezTo>
                    <a:pt x="42" y="180"/>
                    <a:pt x="41" y="178"/>
                    <a:pt x="40" y="178"/>
                  </a:cubicBezTo>
                  <a:cubicBezTo>
                    <a:pt x="40" y="178"/>
                    <a:pt x="40" y="177"/>
                    <a:pt x="40" y="177"/>
                  </a:cubicBezTo>
                  <a:cubicBezTo>
                    <a:pt x="40" y="177"/>
                    <a:pt x="40" y="178"/>
                    <a:pt x="40" y="178"/>
                  </a:cubicBezTo>
                  <a:cubicBezTo>
                    <a:pt x="41" y="178"/>
                    <a:pt x="42" y="180"/>
                    <a:pt x="42" y="180"/>
                  </a:cubicBezTo>
                  <a:close/>
                  <a:moveTo>
                    <a:pt x="40" y="169"/>
                  </a:moveTo>
                  <a:cubicBezTo>
                    <a:pt x="41" y="168"/>
                    <a:pt x="41" y="168"/>
                    <a:pt x="41" y="168"/>
                  </a:cubicBezTo>
                  <a:cubicBezTo>
                    <a:pt x="40" y="169"/>
                    <a:pt x="40" y="169"/>
                    <a:pt x="40" y="169"/>
                  </a:cubicBezTo>
                  <a:cubicBezTo>
                    <a:pt x="40" y="169"/>
                    <a:pt x="40" y="171"/>
                    <a:pt x="40" y="172"/>
                  </a:cubicBezTo>
                  <a:cubicBezTo>
                    <a:pt x="40" y="172"/>
                    <a:pt x="40" y="172"/>
                    <a:pt x="40" y="172"/>
                  </a:cubicBezTo>
                  <a:cubicBezTo>
                    <a:pt x="40" y="171"/>
                    <a:pt x="40" y="169"/>
                    <a:pt x="40" y="169"/>
                  </a:cubicBezTo>
                  <a:close/>
                  <a:moveTo>
                    <a:pt x="38" y="195"/>
                  </a:moveTo>
                  <a:cubicBezTo>
                    <a:pt x="38" y="193"/>
                    <a:pt x="38" y="193"/>
                    <a:pt x="38" y="193"/>
                  </a:cubicBezTo>
                  <a:cubicBezTo>
                    <a:pt x="39" y="192"/>
                    <a:pt x="39" y="192"/>
                    <a:pt x="39" y="192"/>
                  </a:cubicBezTo>
                  <a:cubicBezTo>
                    <a:pt x="40" y="191"/>
                    <a:pt x="40" y="191"/>
                    <a:pt x="40" y="191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40" y="187"/>
                    <a:pt x="40" y="187"/>
                    <a:pt x="40" y="187"/>
                  </a:cubicBezTo>
                  <a:cubicBezTo>
                    <a:pt x="40" y="187"/>
                    <a:pt x="40" y="187"/>
                    <a:pt x="40" y="187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40" y="191"/>
                    <a:pt x="40" y="191"/>
                    <a:pt x="40" y="191"/>
                  </a:cubicBezTo>
                  <a:cubicBezTo>
                    <a:pt x="39" y="192"/>
                    <a:pt x="39" y="192"/>
                    <a:pt x="39" y="192"/>
                  </a:cubicBezTo>
                  <a:cubicBezTo>
                    <a:pt x="38" y="193"/>
                    <a:pt x="38" y="193"/>
                    <a:pt x="38" y="193"/>
                  </a:cubicBezTo>
                  <a:cubicBezTo>
                    <a:pt x="38" y="195"/>
                    <a:pt x="38" y="195"/>
                    <a:pt x="38" y="195"/>
                  </a:cubicBezTo>
                  <a:cubicBezTo>
                    <a:pt x="38" y="197"/>
                    <a:pt x="38" y="197"/>
                    <a:pt x="38" y="197"/>
                  </a:cubicBezTo>
                  <a:cubicBezTo>
                    <a:pt x="38" y="202"/>
                    <a:pt x="38" y="202"/>
                    <a:pt x="38" y="202"/>
                  </a:cubicBezTo>
                  <a:cubicBezTo>
                    <a:pt x="38" y="202"/>
                    <a:pt x="38" y="202"/>
                    <a:pt x="38" y="202"/>
                  </a:cubicBezTo>
                  <a:cubicBezTo>
                    <a:pt x="38" y="197"/>
                    <a:pt x="38" y="197"/>
                    <a:pt x="38" y="197"/>
                  </a:cubicBezTo>
                  <a:lnTo>
                    <a:pt x="38" y="195"/>
                  </a:lnTo>
                  <a:close/>
                  <a:moveTo>
                    <a:pt x="39" y="203"/>
                  </a:moveTo>
                  <a:cubicBezTo>
                    <a:pt x="39" y="203"/>
                    <a:pt x="39" y="203"/>
                    <a:pt x="39" y="203"/>
                  </a:cubicBezTo>
                  <a:cubicBezTo>
                    <a:pt x="37" y="205"/>
                    <a:pt x="37" y="205"/>
                    <a:pt x="37" y="205"/>
                  </a:cubicBezTo>
                  <a:lnTo>
                    <a:pt x="39" y="203"/>
                  </a:lnTo>
                  <a:close/>
                  <a:moveTo>
                    <a:pt x="38" y="229"/>
                  </a:moveTo>
                  <a:cubicBezTo>
                    <a:pt x="38" y="230"/>
                    <a:pt x="38" y="230"/>
                    <a:pt x="38" y="230"/>
                  </a:cubicBezTo>
                  <a:cubicBezTo>
                    <a:pt x="38" y="229"/>
                    <a:pt x="38" y="229"/>
                    <a:pt x="38" y="229"/>
                  </a:cubicBezTo>
                  <a:close/>
                  <a:moveTo>
                    <a:pt x="35" y="218"/>
                  </a:moveTo>
                  <a:cubicBezTo>
                    <a:pt x="36" y="216"/>
                    <a:pt x="36" y="216"/>
                    <a:pt x="36" y="216"/>
                  </a:cubicBezTo>
                  <a:cubicBezTo>
                    <a:pt x="35" y="212"/>
                    <a:pt x="35" y="212"/>
                    <a:pt x="35" y="212"/>
                  </a:cubicBezTo>
                  <a:cubicBezTo>
                    <a:pt x="35" y="211"/>
                    <a:pt x="35" y="211"/>
                    <a:pt x="35" y="211"/>
                  </a:cubicBezTo>
                  <a:cubicBezTo>
                    <a:pt x="35" y="212"/>
                    <a:pt x="35" y="212"/>
                    <a:pt x="35" y="212"/>
                  </a:cubicBezTo>
                  <a:cubicBezTo>
                    <a:pt x="36" y="216"/>
                    <a:pt x="36" y="216"/>
                    <a:pt x="36" y="216"/>
                  </a:cubicBezTo>
                  <a:cubicBezTo>
                    <a:pt x="35" y="218"/>
                    <a:pt x="35" y="218"/>
                    <a:pt x="35" y="218"/>
                  </a:cubicBezTo>
                  <a:cubicBezTo>
                    <a:pt x="35" y="221"/>
                    <a:pt x="35" y="221"/>
                    <a:pt x="35" y="221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1"/>
                    <a:pt x="35" y="221"/>
                    <a:pt x="35" y="221"/>
                  </a:cubicBezTo>
                  <a:lnTo>
                    <a:pt x="35" y="218"/>
                  </a:lnTo>
                  <a:close/>
                  <a:moveTo>
                    <a:pt x="36" y="228"/>
                  </a:moveTo>
                  <a:cubicBezTo>
                    <a:pt x="35" y="227"/>
                    <a:pt x="35" y="227"/>
                    <a:pt x="35" y="227"/>
                  </a:cubicBezTo>
                  <a:cubicBezTo>
                    <a:pt x="36" y="226"/>
                    <a:pt x="36" y="226"/>
                    <a:pt x="36" y="226"/>
                  </a:cubicBezTo>
                  <a:cubicBezTo>
                    <a:pt x="36" y="226"/>
                    <a:pt x="36" y="226"/>
                    <a:pt x="36" y="226"/>
                  </a:cubicBezTo>
                  <a:cubicBezTo>
                    <a:pt x="35" y="227"/>
                    <a:pt x="35" y="227"/>
                    <a:pt x="35" y="227"/>
                  </a:cubicBezTo>
                  <a:lnTo>
                    <a:pt x="36" y="228"/>
                  </a:lnTo>
                  <a:close/>
                  <a:moveTo>
                    <a:pt x="35" y="225"/>
                  </a:moveTo>
                  <a:cubicBezTo>
                    <a:pt x="35" y="225"/>
                    <a:pt x="35" y="225"/>
                    <a:pt x="35" y="225"/>
                  </a:cubicBezTo>
                  <a:cubicBezTo>
                    <a:pt x="36" y="226"/>
                    <a:pt x="36" y="226"/>
                    <a:pt x="36" y="226"/>
                  </a:cubicBezTo>
                  <a:lnTo>
                    <a:pt x="35" y="225"/>
                  </a:lnTo>
                  <a:close/>
                  <a:moveTo>
                    <a:pt x="37" y="231"/>
                  </a:moveTo>
                  <a:cubicBezTo>
                    <a:pt x="37" y="231"/>
                    <a:pt x="37" y="231"/>
                    <a:pt x="37" y="231"/>
                  </a:cubicBezTo>
                  <a:cubicBezTo>
                    <a:pt x="34" y="231"/>
                    <a:pt x="34" y="231"/>
                    <a:pt x="34" y="231"/>
                  </a:cubicBezTo>
                  <a:cubicBezTo>
                    <a:pt x="34" y="231"/>
                    <a:pt x="34" y="231"/>
                    <a:pt x="34" y="231"/>
                  </a:cubicBezTo>
                  <a:lnTo>
                    <a:pt x="37" y="231"/>
                  </a:lnTo>
                  <a:close/>
                  <a:moveTo>
                    <a:pt x="35" y="242"/>
                  </a:moveTo>
                  <a:cubicBezTo>
                    <a:pt x="35" y="241"/>
                    <a:pt x="35" y="241"/>
                    <a:pt x="35" y="241"/>
                  </a:cubicBezTo>
                  <a:cubicBezTo>
                    <a:pt x="36" y="239"/>
                    <a:pt x="36" y="239"/>
                    <a:pt x="36" y="239"/>
                  </a:cubicBezTo>
                  <a:cubicBezTo>
                    <a:pt x="36" y="239"/>
                    <a:pt x="36" y="238"/>
                    <a:pt x="36" y="238"/>
                  </a:cubicBezTo>
                  <a:cubicBezTo>
                    <a:pt x="36" y="238"/>
                    <a:pt x="36" y="239"/>
                    <a:pt x="36" y="239"/>
                  </a:cubicBezTo>
                  <a:cubicBezTo>
                    <a:pt x="35" y="241"/>
                    <a:pt x="35" y="241"/>
                    <a:pt x="35" y="241"/>
                  </a:cubicBezTo>
                  <a:lnTo>
                    <a:pt x="35" y="242"/>
                  </a:lnTo>
                  <a:close/>
                  <a:moveTo>
                    <a:pt x="36" y="234"/>
                  </a:moveTo>
                  <a:cubicBezTo>
                    <a:pt x="36" y="233"/>
                    <a:pt x="36" y="233"/>
                    <a:pt x="36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6" y="233"/>
                    <a:pt x="36" y="233"/>
                    <a:pt x="36" y="234"/>
                  </a:cubicBezTo>
                  <a:close/>
                  <a:moveTo>
                    <a:pt x="34" y="232"/>
                  </a:moveTo>
                  <a:cubicBezTo>
                    <a:pt x="34" y="232"/>
                    <a:pt x="34" y="232"/>
                    <a:pt x="34" y="232"/>
                  </a:cubicBezTo>
                  <a:cubicBezTo>
                    <a:pt x="34" y="232"/>
                    <a:pt x="34" y="232"/>
                    <a:pt x="34" y="232"/>
                  </a:cubicBezTo>
                  <a:close/>
                  <a:moveTo>
                    <a:pt x="31" y="254"/>
                  </a:moveTo>
                  <a:cubicBezTo>
                    <a:pt x="32" y="253"/>
                    <a:pt x="32" y="253"/>
                    <a:pt x="32" y="253"/>
                  </a:cubicBezTo>
                  <a:cubicBezTo>
                    <a:pt x="35" y="249"/>
                    <a:pt x="35" y="249"/>
                    <a:pt x="35" y="249"/>
                  </a:cubicBezTo>
                  <a:cubicBezTo>
                    <a:pt x="34" y="246"/>
                    <a:pt x="34" y="246"/>
                    <a:pt x="34" y="246"/>
                  </a:cubicBezTo>
                  <a:cubicBezTo>
                    <a:pt x="34" y="245"/>
                    <a:pt x="34" y="245"/>
                    <a:pt x="34" y="245"/>
                  </a:cubicBezTo>
                  <a:cubicBezTo>
                    <a:pt x="34" y="246"/>
                    <a:pt x="34" y="246"/>
                    <a:pt x="34" y="246"/>
                  </a:cubicBezTo>
                  <a:cubicBezTo>
                    <a:pt x="35" y="249"/>
                    <a:pt x="35" y="249"/>
                    <a:pt x="35" y="249"/>
                  </a:cubicBezTo>
                  <a:cubicBezTo>
                    <a:pt x="32" y="253"/>
                    <a:pt x="32" y="253"/>
                    <a:pt x="32" y="253"/>
                  </a:cubicBezTo>
                  <a:lnTo>
                    <a:pt x="31" y="254"/>
                  </a:lnTo>
                  <a:close/>
                  <a:moveTo>
                    <a:pt x="33" y="259"/>
                  </a:moveTo>
                  <a:cubicBezTo>
                    <a:pt x="33" y="259"/>
                    <a:pt x="32" y="258"/>
                    <a:pt x="32" y="257"/>
                  </a:cubicBezTo>
                  <a:cubicBezTo>
                    <a:pt x="32" y="258"/>
                    <a:pt x="33" y="259"/>
                    <a:pt x="33" y="259"/>
                  </a:cubicBezTo>
                  <a:cubicBezTo>
                    <a:pt x="35" y="262"/>
                    <a:pt x="35" y="262"/>
                    <a:pt x="35" y="262"/>
                  </a:cubicBezTo>
                  <a:lnTo>
                    <a:pt x="33" y="259"/>
                  </a:lnTo>
                  <a:close/>
                  <a:moveTo>
                    <a:pt x="45" y="264"/>
                  </a:moveTo>
                  <a:cubicBezTo>
                    <a:pt x="43" y="264"/>
                    <a:pt x="43" y="264"/>
                    <a:pt x="43" y="264"/>
                  </a:cubicBezTo>
                  <a:cubicBezTo>
                    <a:pt x="43" y="264"/>
                    <a:pt x="38" y="264"/>
                    <a:pt x="37" y="263"/>
                  </a:cubicBezTo>
                  <a:cubicBezTo>
                    <a:pt x="36" y="263"/>
                    <a:pt x="35" y="263"/>
                    <a:pt x="35" y="262"/>
                  </a:cubicBezTo>
                  <a:cubicBezTo>
                    <a:pt x="35" y="263"/>
                    <a:pt x="36" y="263"/>
                    <a:pt x="37" y="263"/>
                  </a:cubicBezTo>
                  <a:cubicBezTo>
                    <a:pt x="38" y="264"/>
                    <a:pt x="43" y="264"/>
                    <a:pt x="43" y="264"/>
                  </a:cubicBezTo>
                  <a:lnTo>
                    <a:pt x="45" y="264"/>
                  </a:lnTo>
                  <a:close/>
                  <a:moveTo>
                    <a:pt x="43" y="119"/>
                  </a:moveTo>
                  <a:cubicBezTo>
                    <a:pt x="44" y="122"/>
                    <a:pt x="44" y="122"/>
                    <a:pt x="44" y="122"/>
                  </a:cubicBezTo>
                  <a:cubicBezTo>
                    <a:pt x="45" y="123"/>
                    <a:pt x="45" y="123"/>
                    <a:pt x="45" y="123"/>
                  </a:cubicBezTo>
                  <a:cubicBezTo>
                    <a:pt x="44" y="122"/>
                    <a:pt x="44" y="122"/>
                    <a:pt x="44" y="122"/>
                  </a:cubicBezTo>
                  <a:lnTo>
                    <a:pt x="43" y="119"/>
                  </a:lnTo>
                  <a:close/>
                  <a:moveTo>
                    <a:pt x="45" y="112"/>
                  </a:moveTo>
                  <a:cubicBezTo>
                    <a:pt x="45" y="112"/>
                    <a:pt x="45" y="112"/>
                    <a:pt x="45" y="112"/>
                  </a:cubicBezTo>
                  <a:cubicBezTo>
                    <a:pt x="45" y="112"/>
                    <a:pt x="45" y="112"/>
                    <a:pt x="45" y="112"/>
                  </a:cubicBezTo>
                  <a:close/>
                  <a:moveTo>
                    <a:pt x="45" y="124"/>
                  </a:moveTo>
                  <a:cubicBezTo>
                    <a:pt x="47" y="124"/>
                    <a:pt x="47" y="124"/>
                    <a:pt x="47" y="124"/>
                  </a:cubicBezTo>
                  <a:cubicBezTo>
                    <a:pt x="47" y="124"/>
                    <a:pt x="47" y="124"/>
                    <a:pt x="47" y="124"/>
                  </a:cubicBezTo>
                  <a:lnTo>
                    <a:pt x="45" y="124"/>
                  </a:lnTo>
                  <a:close/>
                  <a:moveTo>
                    <a:pt x="47" y="126"/>
                  </a:moveTo>
                  <a:cubicBezTo>
                    <a:pt x="47" y="126"/>
                    <a:pt x="47" y="126"/>
                    <a:pt x="47" y="126"/>
                  </a:cubicBezTo>
                  <a:cubicBezTo>
                    <a:pt x="44" y="124"/>
                    <a:pt x="44" y="124"/>
                    <a:pt x="44" y="124"/>
                  </a:cubicBezTo>
                  <a:cubicBezTo>
                    <a:pt x="44" y="124"/>
                    <a:pt x="44" y="124"/>
                    <a:pt x="44" y="124"/>
                  </a:cubicBezTo>
                  <a:lnTo>
                    <a:pt x="47" y="126"/>
                  </a:lnTo>
                  <a:close/>
                  <a:moveTo>
                    <a:pt x="45" y="155"/>
                  </a:moveTo>
                  <a:cubicBezTo>
                    <a:pt x="44" y="157"/>
                    <a:pt x="44" y="157"/>
                    <a:pt x="44" y="157"/>
                  </a:cubicBezTo>
                  <a:cubicBezTo>
                    <a:pt x="45" y="155"/>
                    <a:pt x="45" y="155"/>
                    <a:pt x="45" y="155"/>
                  </a:cubicBezTo>
                  <a:cubicBezTo>
                    <a:pt x="45" y="155"/>
                    <a:pt x="45" y="155"/>
                    <a:pt x="45" y="155"/>
                  </a:cubicBezTo>
                  <a:close/>
                  <a:moveTo>
                    <a:pt x="45" y="130"/>
                  </a:moveTo>
                  <a:cubicBezTo>
                    <a:pt x="45" y="130"/>
                    <a:pt x="45" y="130"/>
                    <a:pt x="45" y="130"/>
                  </a:cubicBezTo>
                  <a:cubicBezTo>
                    <a:pt x="45" y="130"/>
                    <a:pt x="46" y="130"/>
                    <a:pt x="46" y="131"/>
                  </a:cubicBezTo>
                  <a:cubicBezTo>
                    <a:pt x="46" y="130"/>
                    <a:pt x="45" y="130"/>
                    <a:pt x="45" y="130"/>
                  </a:cubicBezTo>
                  <a:close/>
                  <a:moveTo>
                    <a:pt x="46" y="152"/>
                  </a:moveTo>
                  <a:cubicBezTo>
                    <a:pt x="46" y="152"/>
                    <a:pt x="46" y="152"/>
                    <a:pt x="46" y="152"/>
                  </a:cubicBezTo>
                  <a:cubicBezTo>
                    <a:pt x="46" y="152"/>
                    <a:pt x="46" y="152"/>
                    <a:pt x="46" y="152"/>
                  </a:cubicBezTo>
                  <a:close/>
                  <a:moveTo>
                    <a:pt x="46" y="148"/>
                  </a:moveTo>
                  <a:cubicBezTo>
                    <a:pt x="46" y="149"/>
                    <a:pt x="46" y="149"/>
                    <a:pt x="46" y="149"/>
                  </a:cubicBezTo>
                  <a:cubicBezTo>
                    <a:pt x="46" y="148"/>
                    <a:pt x="46" y="148"/>
                    <a:pt x="46" y="148"/>
                  </a:cubicBezTo>
                  <a:cubicBezTo>
                    <a:pt x="45" y="148"/>
                    <a:pt x="46" y="145"/>
                    <a:pt x="46" y="145"/>
                  </a:cubicBezTo>
                  <a:cubicBezTo>
                    <a:pt x="46" y="145"/>
                    <a:pt x="46" y="145"/>
                    <a:pt x="46" y="145"/>
                  </a:cubicBezTo>
                  <a:cubicBezTo>
                    <a:pt x="46" y="145"/>
                    <a:pt x="45" y="148"/>
                    <a:pt x="46" y="148"/>
                  </a:cubicBezTo>
                  <a:close/>
                  <a:moveTo>
                    <a:pt x="45" y="127"/>
                  </a:moveTo>
                  <a:cubicBezTo>
                    <a:pt x="45" y="127"/>
                    <a:pt x="45" y="127"/>
                    <a:pt x="45" y="127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46" y="126"/>
                    <a:pt x="46" y="126"/>
                    <a:pt x="46" y="126"/>
                  </a:cubicBezTo>
                  <a:lnTo>
                    <a:pt x="45" y="127"/>
                  </a:lnTo>
                  <a:close/>
                  <a:moveTo>
                    <a:pt x="47" y="154"/>
                  </a:moveTo>
                  <a:cubicBezTo>
                    <a:pt x="47" y="154"/>
                    <a:pt x="47" y="154"/>
                    <a:pt x="47" y="154"/>
                  </a:cubicBezTo>
                  <a:cubicBezTo>
                    <a:pt x="47" y="154"/>
                    <a:pt x="47" y="154"/>
                    <a:pt x="47" y="154"/>
                  </a:cubicBezTo>
                  <a:cubicBezTo>
                    <a:pt x="47" y="154"/>
                    <a:pt x="47" y="154"/>
                    <a:pt x="47" y="154"/>
                  </a:cubicBezTo>
                  <a:close/>
                  <a:moveTo>
                    <a:pt x="46" y="91"/>
                  </a:moveTo>
                  <a:cubicBezTo>
                    <a:pt x="45" y="91"/>
                    <a:pt x="45" y="91"/>
                    <a:pt x="45" y="91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50" y="88"/>
                    <a:pt x="50" y="88"/>
                    <a:pt x="50" y="88"/>
                  </a:cubicBezTo>
                  <a:lnTo>
                    <a:pt x="46" y="91"/>
                  </a:lnTo>
                  <a:close/>
                  <a:moveTo>
                    <a:pt x="48" y="133"/>
                  </a:moveTo>
                  <a:cubicBezTo>
                    <a:pt x="48" y="135"/>
                    <a:pt x="48" y="138"/>
                    <a:pt x="48" y="138"/>
                  </a:cubicBezTo>
                  <a:cubicBezTo>
                    <a:pt x="50" y="138"/>
                    <a:pt x="50" y="138"/>
                    <a:pt x="50" y="138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8"/>
                    <a:pt x="50" y="138"/>
                    <a:pt x="50" y="138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8" y="138"/>
                    <a:pt x="48" y="135"/>
                    <a:pt x="48" y="133"/>
                  </a:cubicBezTo>
                  <a:close/>
                  <a:moveTo>
                    <a:pt x="50" y="142"/>
                  </a:moveTo>
                  <a:cubicBezTo>
                    <a:pt x="49" y="142"/>
                    <a:pt x="49" y="142"/>
                    <a:pt x="49" y="142"/>
                  </a:cubicBezTo>
                  <a:cubicBezTo>
                    <a:pt x="50" y="142"/>
                    <a:pt x="50" y="142"/>
                    <a:pt x="50" y="142"/>
                  </a:cubicBezTo>
                  <a:cubicBezTo>
                    <a:pt x="51" y="139"/>
                    <a:pt x="51" y="139"/>
                    <a:pt x="51" y="139"/>
                  </a:cubicBezTo>
                  <a:lnTo>
                    <a:pt x="50" y="142"/>
                  </a:lnTo>
                  <a:close/>
                  <a:moveTo>
                    <a:pt x="51" y="139"/>
                  </a:moveTo>
                  <a:cubicBezTo>
                    <a:pt x="51" y="138"/>
                    <a:pt x="51" y="138"/>
                    <a:pt x="51" y="138"/>
                  </a:cubicBezTo>
                  <a:cubicBezTo>
                    <a:pt x="51" y="139"/>
                    <a:pt x="51" y="139"/>
                    <a:pt x="51" y="139"/>
                  </a:cubicBezTo>
                  <a:close/>
                  <a:moveTo>
                    <a:pt x="51" y="136"/>
                  </a:moveTo>
                  <a:cubicBezTo>
                    <a:pt x="51" y="137"/>
                    <a:pt x="51" y="137"/>
                    <a:pt x="51" y="137"/>
                  </a:cubicBezTo>
                  <a:cubicBezTo>
                    <a:pt x="51" y="136"/>
                    <a:pt x="51" y="136"/>
                    <a:pt x="51" y="136"/>
                  </a:cubicBezTo>
                  <a:cubicBezTo>
                    <a:pt x="51" y="136"/>
                    <a:pt x="51" y="136"/>
                    <a:pt x="51" y="136"/>
                  </a:cubicBezTo>
                  <a:close/>
                  <a:moveTo>
                    <a:pt x="50" y="88"/>
                  </a:moveTo>
                  <a:cubicBezTo>
                    <a:pt x="50" y="88"/>
                    <a:pt x="50" y="88"/>
                    <a:pt x="50" y="88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lnTo>
                    <a:pt x="50" y="88"/>
                  </a:lnTo>
                  <a:close/>
                  <a:moveTo>
                    <a:pt x="52" y="135"/>
                  </a:moveTo>
                  <a:cubicBezTo>
                    <a:pt x="52" y="135"/>
                    <a:pt x="52" y="135"/>
                    <a:pt x="52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53" y="134"/>
                    <a:pt x="53" y="134"/>
                    <a:pt x="53" y="134"/>
                  </a:cubicBezTo>
                  <a:lnTo>
                    <a:pt x="52" y="135"/>
                  </a:lnTo>
                  <a:close/>
                  <a:moveTo>
                    <a:pt x="57" y="134"/>
                  </a:moveTo>
                  <a:cubicBezTo>
                    <a:pt x="56" y="134"/>
                    <a:pt x="56" y="134"/>
                    <a:pt x="56" y="134"/>
                  </a:cubicBezTo>
                  <a:cubicBezTo>
                    <a:pt x="57" y="134"/>
                    <a:pt x="57" y="134"/>
                    <a:pt x="57" y="134"/>
                  </a:cubicBezTo>
                  <a:cubicBezTo>
                    <a:pt x="58" y="136"/>
                    <a:pt x="58" y="136"/>
                    <a:pt x="58" y="136"/>
                  </a:cubicBezTo>
                  <a:lnTo>
                    <a:pt x="57" y="134"/>
                  </a:lnTo>
                  <a:close/>
                  <a:moveTo>
                    <a:pt x="56" y="95"/>
                  </a:moveTo>
                  <a:cubicBezTo>
                    <a:pt x="56" y="94"/>
                    <a:pt x="57" y="94"/>
                    <a:pt x="57" y="94"/>
                  </a:cubicBezTo>
                  <a:cubicBezTo>
                    <a:pt x="57" y="94"/>
                    <a:pt x="57" y="94"/>
                    <a:pt x="57" y="94"/>
                  </a:cubicBezTo>
                  <a:cubicBezTo>
                    <a:pt x="57" y="94"/>
                    <a:pt x="56" y="94"/>
                    <a:pt x="56" y="95"/>
                  </a:cubicBezTo>
                  <a:close/>
                  <a:moveTo>
                    <a:pt x="59" y="42"/>
                  </a:moveTo>
                  <a:cubicBezTo>
                    <a:pt x="56" y="44"/>
                    <a:pt x="56" y="44"/>
                    <a:pt x="56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lnTo>
                    <a:pt x="59" y="42"/>
                  </a:lnTo>
                  <a:close/>
                  <a:moveTo>
                    <a:pt x="64" y="135"/>
                  </a:moveTo>
                  <a:cubicBezTo>
                    <a:pt x="64" y="134"/>
                    <a:pt x="64" y="134"/>
                    <a:pt x="64" y="134"/>
                  </a:cubicBezTo>
                  <a:cubicBezTo>
                    <a:pt x="64" y="135"/>
                    <a:pt x="64" y="135"/>
                    <a:pt x="64" y="135"/>
                  </a:cubicBezTo>
                  <a:cubicBezTo>
                    <a:pt x="64" y="135"/>
                    <a:pt x="64" y="135"/>
                    <a:pt x="64" y="135"/>
                  </a:cubicBezTo>
                  <a:close/>
                  <a:moveTo>
                    <a:pt x="64" y="34"/>
                  </a:moveTo>
                  <a:cubicBezTo>
                    <a:pt x="63" y="34"/>
                    <a:pt x="63" y="34"/>
                    <a:pt x="63" y="34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3" y="34"/>
                    <a:pt x="63" y="34"/>
                    <a:pt x="63" y="34"/>
                  </a:cubicBezTo>
                  <a:cubicBezTo>
                    <a:pt x="64" y="34"/>
                    <a:pt x="64" y="34"/>
                    <a:pt x="64" y="34"/>
                  </a:cubicBezTo>
                  <a:close/>
                  <a:moveTo>
                    <a:pt x="64" y="33"/>
                  </a:moveTo>
                  <a:cubicBezTo>
                    <a:pt x="66" y="32"/>
                    <a:pt x="66" y="32"/>
                    <a:pt x="66" y="32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4" y="33"/>
                    <a:pt x="64" y="33"/>
                    <a:pt x="64" y="33"/>
                  </a:cubicBezTo>
                  <a:close/>
                  <a:moveTo>
                    <a:pt x="66" y="98"/>
                  </a:moveTo>
                  <a:cubicBezTo>
                    <a:pt x="66" y="98"/>
                    <a:pt x="66" y="98"/>
                    <a:pt x="66" y="98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6" y="98"/>
                    <a:pt x="66" y="98"/>
                    <a:pt x="66" y="98"/>
                  </a:cubicBezTo>
                  <a:close/>
                  <a:moveTo>
                    <a:pt x="64" y="135"/>
                  </a:moveTo>
                  <a:cubicBezTo>
                    <a:pt x="64" y="135"/>
                    <a:pt x="64" y="135"/>
                    <a:pt x="64" y="135"/>
                  </a:cubicBezTo>
                  <a:cubicBezTo>
                    <a:pt x="64" y="135"/>
                    <a:pt x="64" y="135"/>
                    <a:pt x="64" y="135"/>
                  </a:cubicBezTo>
                  <a:close/>
                  <a:moveTo>
                    <a:pt x="64" y="135"/>
                  </a:moveTo>
                  <a:cubicBezTo>
                    <a:pt x="64" y="135"/>
                    <a:pt x="64" y="135"/>
                    <a:pt x="64" y="135"/>
                  </a:cubicBezTo>
                  <a:cubicBezTo>
                    <a:pt x="65" y="134"/>
                    <a:pt x="65" y="134"/>
                    <a:pt x="65" y="134"/>
                  </a:cubicBezTo>
                  <a:lnTo>
                    <a:pt x="64" y="135"/>
                  </a:lnTo>
                  <a:close/>
                  <a:moveTo>
                    <a:pt x="65" y="99"/>
                  </a:moveTo>
                  <a:cubicBezTo>
                    <a:pt x="66" y="99"/>
                    <a:pt x="66" y="98"/>
                    <a:pt x="66" y="98"/>
                  </a:cubicBezTo>
                  <a:cubicBezTo>
                    <a:pt x="66" y="98"/>
                    <a:pt x="66" y="99"/>
                    <a:pt x="65" y="99"/>
                  </a:cubicBezTo>
                  <a:close/>
                  <a:moveTo>
                    <a:pt x="67" y="127"/>
                  </a:moveTo>
                  <a:cubicBezTo>
                    <a:pt x="66" y="128"/>
                    <a:pt x="66" y="128"/>
                    <a:pt x="66" y="128"/>
                  </a:cubicBezTo>
                  <a:cubicBezTo>
                    <a:pt x="66" y="131"/>
                    <a:pt x="66" y="131"/>
                    <a:pt x="66" y="131"/>
                  </a:cubicBezTo>
                  <a:cubicBezTo>
                    <a:pt x="66" y="132"/>
                    <a:pt x="66" y="132"/>
                    <a:pt x="66" y="132"/>
                  </a:cubicBezTo>
                  <a:cubicBezTo>
                    <a:pt x="66" y="131"/>
                    <a:pt x="66" y="131"/>
                    <a:pt x="66" y="131"/>
                  </a:cubicBezTo>
                  <a:cubicBezTo>
                    <a:pt x="66" y="128"/>
                    <a:pt x="66" y="128"/>
                    <a:pt x="66" y="128"/>
                  </a:cubicBezTo>
                  <a:cubicBezTo>
                    <a:pt x="67" y="127"/>
                    <a:pt x="67" y="127"/>
                    <a:pt x="67" y="127"/>
                  </a:cubicBezTo>
                  <a:cubicBezTo>
                    <a:pt x="67" y="126"/>
                    <a:pt x="67" y="126"/>
                    <a:pt x="67" y="126"/>
                  </a:cubicBezTo>
                  <a:lnTo>
                    <a:pt x="67" y="127"/>
                  </a:lnTo>
                  <a:close/>
                  <a:moveTo>
                    <a:pt x="67" y="100"/>
                  </a:moveTo>
                  <a:cubicBezTo>
                    <a:pt x="67" y="100"/>
                    <a:pt x="67" y="100"/>
                    <a:pt x="67" y="100"/>
                  </a:cubicBezTo>
                  <a:cubicBezTo>
                    <a:pt x="67" y="100"/>
                    <a:pt x="67" y="99"/>
                    <a:pt x="68" y="99"/>
                  </a:cubicBezTo>
                  <a:cubicBezTo>
                    <a:pt x="67" y="99"/>
                    <a:pt x="67" y="100"/>
                    <a:pt x="67" y="100"/>
                  </a:cubicBezTo>
                  <a:close/>
                  <a:moveTo>
                    <a:pt x="68" y="100"/>
                  </a:move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70" y="100"/>
                    <a:pt x="70" y="101"/>
                  </a:cubicBezTo>
                  <a:cubicBezTo>
                    <a:pt x="70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8" y="100"/>
                  </a:cubicBezTo>
                  <a:close/>
                  <a:moveTo>
                    <a:pt x="75" y="144"/>
                  </a:moveTo>
                  <a:cubicBezTo>
                    <a:pt x="73" y="142"/>
                    <a:pt x="73" y="142"/>
                    <a:pt x="73" y="142"/>
                  </a:cubicBezTo>
                  <a:cubicBezTo>
                    <a:pt x="70" y="142"/>
                    <a:pt x="70" y="142"/>
                    <a:pt x="70" y="142"/>
                  </a:cubicBezTo>
                  <a:cubicBezTo>
                    <a:pt x="69" y="140"/>
                    <a:pt x="69" y="140"/>
                    <a:pt x="69" y="140"/>
                  </a:cubicBezTo>
                  <a:cubicBezTo>
                    <a:pt x="69" y="140"/>
                    <a:pt x="69" y="140"/>
                    <a:pt x="69" y="140"/>
                  </a:cubicBezTo>
                  <a:cubicBezTo>
                    <a:pt x="70" y="142"/>
                    <a:pt x="70" y="142"/>
                    <a:pt x="70" y="142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75" y="144"/>
                    <a:pt x="75" y="144"/>
                    <a:pt x="75" y="144"/>
                  </a:cubicBezTo>
                  <a:close/>
                  <a:moveTo>
                    <a:pt x="76" y="43"/>
                  </a:move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76" y="44"/>
                  </a:moveTo>
                  <a:cubicBezTo>
                    <a:pt x="76" y="44"/>
                    <a:pt x="76" y="44"/>
                    <a:pt x="76" y="44"/>
                  </a:cubicBezTo>
                  <a:cubicBezTo>
                    <a:pt x="77" y="43"/>
                    <a:pt x="77" y="43"/>
                    <a:pt x="77" y="43"/>
                  </a:cubicBezTo>
                  <a:lnTo>
                    <a:pt x="76" y="44"/>
                  </a:lnTo>
                  <a:close/>
                  <a:moveTo>
                    <a:pt x="82" y="29"/>
                  </a:moveTo>
                  <a:cubicBezTo>
                    <a:pt x="82" y="29"/>
                    <a:pt x="82" y="29"/>
                    <a:pt x="82" y="29"/>
                  </a:cubicBezTo>
                  <a:cubicBezTo>
                    <a:pt x="81" y="29"/>
                    <a:pt x="81" y="29"/>
                    <a:pt x="81" y="29"/>
                  </a:cubicBezTo>
                  <a:lnTo>
                    <a:pt x="82" y="29"/>
                  </a:lnTo>
                  <a:close/>
                  <a:moveTo>
                    <a:pt x="82" y="35"/>
                  </a:moveTo>
                  <a:cubicBezTo>
                    <a:pt x="81" y="35"/>
                    <a:pt x="81" y="35"/>
                    <a:pt x="81" y="35"/>
                  </a:cubicBezTo>
                  <a:cubicBezTo>
                    <a:pt x="82" y="35"/>
                    <a:pt x="82" y="35"/>
                    <a:pt x="82" y="35"/>
                  </a:cubicBezTo>
                  <a:close/>
                  <a:moveTo>
                    <a:pt x="80" y="29"/>
                  </a:move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80" y="35"/>
                    <a:pt x="80" y="35"/>
                    <a:pt x="80" y="35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80" y="35"/>
                    <a:pt x="80" y="35"/>
                    <a:pt x="80" y="35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80" y="30"/>
                    <a:pt x="80" y="30"/>
                    <a:pt x="80" y="30"/>
                  </a:cubicBezTo>
                  <a:lnTo>
                    <a:pt x="80" y="29"/>
                  </a:lnTo>
                  <a:close/>
                  <a:moveTo>
                    <a:pt x="79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lose/>
                  <a:moveTo>
                    <a:pt x="79" y="125"/>
                  </a:moveTo>
                  <a:cubicBezTo>
                    <a:pt x="79" y="127"/>
                    <a:pt x="79" y="127"/>
                    <a:pt x="79" y="127"/>
                  </a:cubicBezTo>
                  <a:cubicBezTo>
                    <a:pt x="80" y="130"/>
                    <a:pt x="80" y="130"/>
                    <a:pt x="80" y="130"/>
                  </a:cubicBezTo>
                  <a:cubicBezTo>
                    <a:pt x="79" y="132"/>
                    <a:pt x="79" y="132"/>
                    <a:pt x="79" y="132"/>
                  </a:cubicBezTo>
                  <a:cubicBezTo>
                    <a:pt x="80" y="134"/>
                    <a:pt x="80" y="134"/>
                    <a:pt x="80" y="134"/>
                  </a:cubicBezTo>
                  <a:cubicBezTo>
                    <a:pt x="80" y="134"/>
                    <a:pt x="80" y="134"/>
                    <a:pt x="80" y="134"/>
                  </a:cubicBezTo>
                  <a:cubicBezTo>
                    <a:pt x="79" y="132"/>
                    <a:pt x="79" y="132"/>
                    <a:pt x="79" y="132"/>
                  </a:cubicBezTo>
                  <a:cubicBezTo>
                    <a:pt x="80" y="130"/>
                    <a:pt x="80" y="130"/>
                    <a:pt x="80" y="130"/>
                  </a:cubicBezTo>
                  <a:cubicBezTo>
                    <a:pt x="79" y="127"/>
                    <a:pt x="79" y="127"/>
                    <a:pt x="79" y="127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8" y="125"/>
                    <a:pt x="78" y="125"/>
                    <a:pt x="78" y="125"/>
                  </a:cubicBezTo>
                  <a:lnTo>
                    <a:pt x="79" y="125"/>
                  </a:lnTo>
                  <a:close/>
                  <a:moveTo>
                    <a:pt x="79" y="153"/>
                  </a:moveTo>
                  <a:cubicBezTo>
                    <a:pt x="79" y="153"/>
                    <a:pt x="79" y="153"/>
                    <a:pt x="79" y="153"/>
                  </a:cubicBezTo>
                  <a:cubicBezTo>
                    <a:pt x="78" y="154"/>
                    <a:pt x="78" y="154"/>
                    <a:pt x="78" y="154"/>
                  </a:cubicBezTo>
                  <a:lnTo>
                    <a:pt x="79" y="153"/>
                  </a:lnTo>
                  <a:close/>
                  <a:moveTo>
                    <a:pt x="79" y="152"/>
                  </a:moveTo>
                  <a:cubicBezTo>
                    <a:pt x="78" y="152"/>
                    <a:pt x="79" y="152"/>
                    <a:pt x="79" y="152"/>
                  </a:cubicBezTo>
                  <a:cubicBezTo>
                    <a:pt x="79" y="152"/>
                    <a:pt x="78" y="152"/>
                    <a:pt x="79" y="152"/>
                  </a:cubicBezTo>
                  <a:close/>
                  <a:moveTo>
                    <a:pt x="79" y="152"/>
                  </a:moveTo>
                  <a:cubicBezTo>
                    <a:pt x="79" y="152"/>
                    <a:pt x="79" y="152"/>
                    <a:pt x="79" y="152"/>
                  </a:cubicBezTo>
                  <a:cubicBezTo>
                    <a:pt x="79" y="152"/>
                    <a:pt x="79" y="152"/>
                    <a:pt x="79" y="152"/>
                  </a:cubicBezTo>
                  <a:cubicBezTo>
                    <a:pt x="79" y="152"/>
                    <a:pt x="79" y="152"/>
                    <a:pt x="80" y="152"/>
                  </a:cubicBezTo>
                  <a:cubicBezTo>
                    <a:pt x="79" y="152"/>
                    <a:pt x="79" y="152"/>
                    <a:pt x="79" y="152"/>
                  </a:cubicBezTo>
                  <a:close/>
                  <a:moveTo>
                    <a:pt x="79" y="146"/>
                  </a:moveTo>
                  <a:cubicBezTo>
                    <a:pt x="79" y="146"/>
                    <a:pt x="79" y="146"/>
                    <a:pt x="79" y="146"/>
                  </a:cubicBezTo>
                  <a:cubicBezTo>
                    <a:pt x="79" y="146"/>
                    <a:pt x="79" y="146"/>
                    <a:pt x="79" y="146"/>
                  </a:cubicBezTo>
                  <a:close/>
                  <a:moveTo>
                    <a:pt x="78" y="146"/>
                  </a:moveTo>
                  <a:cubicBezTo>
                    <a:pt x="78" y="146"/>
                    <a:pt x="78" y="146"/>
                    <a:pt x="78" y="146"/>
                  </a:cubicBezTo>
                  <a:cubicBezTo>
                    <a:pt x="78" y="146"/>
                    <a:pt x="78" y="146"/>
                    <a:pt x="78" y="146"/>
                  </a:cubicBezTo>
                  <a:close/>
                  <a:moveTo>
                    <a:pt x="78" y="156"/>
                  </a:moveTo>
                  <a:cubicBezTo>
                    <a:pt x="78" y="156"/>
                    <a:pt x="78" y="156"/>
                    <a:pt x="78" y="156"/>
                  </a:cubicBezTo>
                  <a:cubicBezTo>
                    <a:pt x="78" y="155"/>
                    <a:pt x="78" y="155"/>
                    <a:pt x="78" y="155"/>
                  </a:cubicBezTo>
                  <a:cubicBezTo>
                    <a:pt x="78" y="155"/>
                    <a:pt x="78" y="155"/>
                    <a:pt x="78" y="155"/>
                  </a:cubicBezTo>
                  <a:lnTo>
                    <a:pt x="78" y="156"/>
                  </a:lnTo>
                  <a:close/>
                  <a:moveTo>
                    <a:pt x="78" y="145"/>
                  </a:moveTo>
                  <a:cubicBezTo>
                    <a:pt x="78" y="146"/>
                    <a:pt x="78" y="146"/>
                    <a:pt x="78" y="146"/>
                  </a:cubicBezTo>
                  <a:cubicBezTo>
                    <a:pt x="78" y="145"/>
                    <a:pt x="78" y="145"/>
                    <a:pt x="78" y="145"/>
                  </a:cubicBezTo>
                  <a:close/>
                  <a:moveTo>
                    <a:pt x="78" y="174"/>
                  </a:moveTo>
                  <a:cubicBezTo>
                    <a:pt x="78" y="174"/>
                    <a:pt x="78" y="174"/>
                    <a:pt x="78" y="174"/>
                  </a:cubicBezTo>
                  <a:cubicBezTo>
                    <a:pt x="78" y="174"/>
                    <a:pt x="78" y="174"/>
                    <a:pt x="78" y="174"/>
                  </a:cubicBezTo>
                  <a:close/>
                  <a:moveTo>
                    <a:pt x="79" y="178"/>
                  </a:moveTo>
                  <a:cubicBezTo>
                    <a:pt x="79" y="178"/>
                    <a:pt x="79" y="177"/>
                    <a:pt x="79" y="177"/>
                  </a:cubicBezTo>
                  <a:cubicBezTo>
                    <a:pt x="79" y="177"/>
                    <a:pt x="79" y="176"/>
                    <a:pt x="79" y="175"/>
                  </a:cubicBezTo>
                  <a:cubicBezTo>
                    <a:pt x="79" y="176"/>
                    <a:pt x="79" y="177"/>
                    <a:pt x="79" y="177"/>
                  </a:cubicBezTo>
                  <a:cubicBezTo>
                    <a:pt x="79" y="177"/>
                    <a:pt x="79" y="178"/>
                    <a:pt x="79" y="178"/>
                  </a:cubicBezTo>
                  <a:close/>
                  <a:moveTo>
                    <a:pt x="78" y="174"/>
                  </a:moveTo>
                  <a:cubicBezTo>
                    <a:pt x="78" y="174"/>
                    <a:pt x="78" y="174"/>
                    <a:pt x="78" y="174"/>
                  </a:cubicBezTo>
                  <a:cubicBezTo>
                    <a:pt x="78" y="174"/>
                    <a:pt x="79" y="173"/>
                    <a:pt x="79" y="171"/>
                  </a:cubicBezTo>
                  <a:cubicBezTo>
                    <a:pt x="79" y="173"/>
                    <a:pt x="78" y="174"/>
                    <a:pt x="78" y="174"/>
                  </a:cubicBezTo>
                  <a:close/>
                  <a:moveTo>
                    <a:pt x="79" y="169"/>
                  </a:moveTo>
                  <a:cubicBezTo>
                    <a:pt x="79" y="169"/>
                    <a:pt x="79" y="169"/>
                    <a:pt x="79" y="169"/>
                  </a:cubicBezTo>
                  <a:cubicBezTo>
                    <a:pt x="79" y="169"/>
                    <a:pt x="80" y="169"/>
                    <a:pt x="80" y="170"/>
                  </a:cubicBezTo>
                  <a:cubicBezTo>
                    <a:pt x="80" y="169"/>
                    <a:pt x="79" y="169"/>
                    <a:pt x="79" y="169"/>
                  </a:cubicBezTo>
                  <a:close/>
                  <a:moveTo>
                    <a:pt x="80" y="155"/>
                  </a:moveTo>
                  <a:cubicBezTo>
                    <a:pt x="80" y="155"/>
                    <a:pt x="79" y="156"/>
                    <a:pt x="79" y="156"/>
                  </a:cubicBezTo>
                  <a:cubicBezTo>
                    <a:pt x="79" y="156"/>
                    <a:pt x="80" y="155"/>
                    <a:pt x="80" y="155"/>
                  </a:cubicBezTo>
                  <a:cubicBezTo>
                    <a:pt x="81" y="155"/>
                    <a:pt x="83" y="156"/>
                    <a:pt x="83" y="156"/>
                  </a:cubicBezTo>
                  <a:cubicBezTo>
                    <a:pt x="83" y="156"/>
                    <a:pt x="83" y="156"/>
                    <a:pt x="83" y="156"/>
                  </a:cubicBezTo>
                  <a:cubicBezTo>
                    <a:pt x="83" y="156"/>
                    <a:pt x="81" y="155"/>
                    <a:pt x="80" y="155"/>
                  </a:cubicBezTo>
                  <a:close/>
                  <a:moveTo>
                    <a:pt x="80" y="150"/>
                  </a:moveTo>
                  <a:cubicBezTo>
                    <a:pt x="80" y="150"/>
                    <a:pt x="80" y="149"/>
                    <a:pt x="80" y="149"/>
                  </a:cubicBezTo>
                  <a:cubicBezTo>
                    <a:pt x="80" y="149"/>
                    <a:pt x="80" y="149"/>
                    <a:pt x="80" y="148"/>
                  </a:cubicBezTo>
                  <a:cubicBezTo>
                    <a:pt x="80" y="149"/>
                    <a:pt x="80" y="149"/>
                    <a:pt x="80" y="149"/>
                  </a:cubicBezTo>
                  <a:cubicBezTo>
                    <a:pt x="80" y="149"/>
                    <a:pt x="80" y="150"/>
                    <a:pt x="80" y="150"/>
                  </a:cubicBezTo>
                  <a:close/>
                  <a:moveTo>
                    <a:pt x="82" y="168"/>
                  </a:moveTo>
                  <a:cubicBezTo>
                    <a:pt x="81" y="167"/>
                    <a:pt x="81" y="167"/>
                    <a:pt x="81" y="167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82" y="168"/>
                    <a:pt x="82" y="168"/>
                    <a:pt x="82" y="168"/>
                  </a:cubicBezTo>
                  <a:cubicBezTo>
                    <a:pt x="82" y="168"/>
                    <a:pt x="82" y="168"/>
                    <a:pt x="82" y="168"/>
                  </a:cubicBezTo>
                  <a:close/>
                  <a:moveTo>
                    <a:pt x="82" y="166"/>
                  </a:moveTo>
                  <a:cubicBezTo>
                    <a:pt x="81" y="167"/>
                    <a:pt x="81" y="167"/>
                    <a:pt x="81" y="167"/>
                  </a:cubicBezTo>
                  <a:cubicBezTo>
                    <a:pt x="82" y="166"/>
                    <a:pt x="82" y="166"/>
                    <a:pt x="82" y="166"/>
                  </a:cubicBezTo>
                  <a:cubicBezTo>
                    <a:pt x="83" y="165"/>
                    <a:pt x="83" y="165"/>
                    <a:pt x="83" y="165"/>
                  </a:cubicBezTo>
                  <a:lnTo>
                    <a:pt x="82" y="166"/>
                  </a:lnTo>
                  <a:close/>
                  <a:moveTo>
                    <a:pt x="83" y="40"/>
                  </a:moveTo>
                  <a:cubicBezTo>
                    <a:pt x="81" y="41"/>
                    <a:pt x="81" y="41"/>
                    <a:pt x="81" y="41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4" y="40"/>
                    <a:pt x="84" y="40"/>
                    <a:pt x="84" y="40"/>
                  </a:cubicBezTo>
                  <a:lnTo>
                    <a:pt x="83" y="40"/>
                  </a:lnTo>
                  <a:close/>
                  <a:moveTo>
                    <a:pt x="85" y="163"/>
                  </a:moveTo>
                  <a:cubicBezTo>
                    <a:pt x="84" y="163"/>
                    <a:pt x="84" y="163"/>
                    <a:pt x="84" y="163"/>
                  </a:cubicBezTo>
                  <a:cubicBezTo>
                    <a:pt x="85" y="163"/>
                    <a:pt x="85" y="163"/>
                    <a:pt x="85" y="163"/>
                  </a:cubicBezTo>
                  <a:cubicBezTo>
                    <a:pt x="85" y="162"/>
                    <a:pt x="85" y="162"/>
                    <a:pt x="85" y="162"/>
                  </a:cubicBezTo>
                  <a:lnTo>
                    <a:pt x="85" y="163"/>
                  </a:lnTo>
                  <a:close/>
                  <a:moveTo>
                    <a:pt x="86" y="39"/>
                  </a:moveTo>
                  <a:cubicBezTo>
                    <a:pt x="86" y="39"/>
                    <a:pt x="86" y="39"/>
                    <a:pt x="86" y="39"/>
                  </a:cubicBezTo>
                  <a:cubicBezTo>
                    <a:pt x="87" y="39"/>
                    <a:pt x="87" y="39"/>
                    <a:pt x="87" y="39"/>
                  </a:cubicBezTo>
                  <a:cubicBezTo>
                    <a:pt x="87" y="39"/>
                    <a:pt x="87" y="39"/>
                    <a:pt x="87" y="39"/>
                  </a:cubicBezTo>
                  <a:cubicBezTo>
                    <a:pt x="87" y="39"/>
                    <a:pt x="87" y="39"/>
                    <a:pt x="87" y="39"/>
                  </a:cubicBezTo>
                  <a:cubicBezTo>
                    <a:pt x="86" y="39"/>
                    <a:pt x="86" y="39"/>
                    <a:pt x="86" y="39"/>
                  </a:cubicBezTo>
                  <a:close/>
                  <a:moveTo>
                    <a:pt x="87" y="156"/>
                  </a:moveTo>
                  <a:cubicBezTo>
                    <a:pt x="87" y="157"/>
                    <a:pt x="87" y="157"/>
                    <a:pt x="87" y="157"/>
                  </a:cubicBezTo>
                  <a:cubicBezTo>
                    <a:pt x="86" y="156"/>
                    <a:pt x="86" y="156"/>
                    <a:pt x="86" y="156"/>
                  </a:cubicBezTo>
                  <a:cubicBezTo>
                    <a:pt x="87" y="157"/>
                    <a:pt x="87" y="157"/>
                    <a:pt x="87" y="157"/>
                  </a:cubicBezTo>
                  <a:lnTo>
                    <a:pt x="87" y="156"/>
                  </a:lnTo>
                  <a:close/>
                  <a:moveTo>
                    <a:pt x="86" y="171"/>
                  </a:moveTo>
                  <a:cubicBezTo>
                    <a:pt x="86" y="171"/>
                    <a:pt x="86" y="171"/>
                    <a:pt x="86" y="171"/>
                  </a:cubicBezTo>
                  <a:cubicBezTo>
                    <a:pt x="86" y="170"/>
                    <a:pt x="86" y="170"/>
                    <a:pt x="86" y="170"/>
                  </a:cubicBezTo>
                  <a:cubicBezTo>
                    <a:pt x="86" y="169"/>
                    <a:pt x="86" y="169"/>
                    <a:pt x="86" y="169"/>
                  </a:cubicBezTo>
                  <a:cubicBezTo>
                    <a:pt x="86" y="170"/>
                    <a:pt x="86" y="170"/>
                    <a:pt x="86" y="170"/>
                  </a:cubicBezTo>
                  <a:cubicBezTo>
                    <a:pt x="86" y="171"/>
                    <a:pt x="86" y="171"/>
                    <a:pt x="86" y="171"/>
                  </a:cubicBezTo>
                  <a:close/>
                  <a:moveTo>
                    <a:pt x="87" y="160"/>
                  </a:moveTo>
                  <a:cubicBezTo>
                    <a:pt x="86" y="161"/>
                    <a:pt x="86" y="161"/>
                    <a:pt x="86" y="161"/>
                  </a:cubicBezTo>
                  <a:cubicBezTo>
                    <a:pt x="87" y="160"/>
                    <a:pt x="87" y="160"/>
                    <a:pt x="87" y="160"/>
                  </a:cubicBezTo>
                  <a:cubicBezTo>
                    <a:pt x="88" y="159"/>
                    <a:pt x="88" y="159"/>
                    <a:pt x="88" y="159"/>
                  </a:cubicBezTo>
                  <a:lnTo>
                    <a:pt x="87" y="160"/>
                  </a:lnTo>
                  <a:close/>
                  <a:moveTo>
                    <a:pt x="87" y="140"/>
                  </a:moveTo>
                  <a:cubicBezTo>
                    <a:pt x="87" y="140"/>
                    <a:pt x="87" y="136"/>
                    <a:pt x="87" y="136"/>
                  </a:cubicBezTo>
                  <a:cubicBezTo>
                    <a:pt x="87" y="136"/>
                    <a:pt x="87" y="136"/>
                    <a:pt x="87" y="136"/>
                  </a:cubicBezTo>
                  <a:cubicBezTo>
                    <a:pt x="87" y="136"/>
                    <a:pt x="87" y="140"/>
                    <a:pt x="87" y="140"/>
                  </a:cubicBezTo>
                  <a:cubicBezTo>
                    <a:pt x="88" y="141"/>
                    <a:pt x="88" y="142"/>
                    <a:pt x="88" y="142"/>
                  </a:cubicBezTo>
                  <a:cubicBezTo>
                    <a:pt x="88" y="142"/>
                    <a:pt x="88" y="141"/>
                    <a:pt x="87" y="140"/>
                  </a:cubicBezTo>
                  <a:close/>
                  <a:moveTo>
                    <a:pt x="92" y="38"/>
                  </a:moveTo>
                  <a:cubicBezTo>
                    <a:pt x="92" y="35"/>
                    <a:pt x="92" y="35"/>
                    <a:pt x="92" y="35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2" y="38"/>
                    <a:pt x="92" y="38"/>
                    <a:pt x="92" y="38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91" y="39"/>
                    <a:pt x="91" y="39"/>
                    <a:pt x="91" y="39"/>
                  </a:cubicBezTo>
                  <a:lnTo>
                    <a:pt x="92" y="38"/>
                  </a:lnTo>
                  <a:close/>
                  <a:moveTo>
                    <a:pt x="91" y="39"/>
                  </a:moveTo>
                  <a:cubicBezTo>
                    <a:pt x="90" y="39"/>
                    <a:pt x="90" y="39"/>
                    <a:pt x="90" y="39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90" y="40"/>
                    <a:pt x="90" y="40"/>
                    <a:pt x="90" y="40"/>
                  </a:cubicBezTo>
                  <a:lnTo>
                    <a:pt x="91" y="39"/>
                  </a:lnTo>
                  <a:close/>
                  <a:moveTo>
                    <a:pt x="90" y="41"/>
                  </a:moveTo>
                  <a:cubicBezTo>
                    <a:pt x="92" y="42"/>
                    <a:pt x="92" y="42"/>
                    <a:pt x="92" y="42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90" y="41"/>
                    <a:pt x="90" y="41"/>
                    <a:pt x="90" y="41"/>
                  </a:cubicBezTo>
                  <a:close/>
                  <a:moveTo>
                    <a:pt x="92" y="143"/>
                  </a:moveTo>
                  <a:cubicBezTo>
                    <a:pt x="91" y="143"/>
                    <a:pt x="91" y="143"/>
                    <a:pt x="91" y="143"/>
                  </a:cubicBezTo>
                  <a:cubicBezTo>
                    <a:pt x="91" y="146"/>
                    <a:pt x="91" y="146"/>
                    <a:pt x="91" y="146"/>
                  </a:cubicBezTo>
                  <a:cubicBezTo>
                    <a:pt x="91" y="143"/>
                    <a:pt x="91" y="143"/>
                    <a:pt x="91" y="143"/>
                  </a:cubicBezTo>
                  <a:lnTo>
                    <a:pt x="92" y="143"/>
                  </a:lnTo>
                  <a:close/>
                  <a:moveTo>
                    <a:pt x="90" y="173"/>
                  </a:moveTo>
                  <a:cubicBezTo>
                    <a:pt x="90" y="173"/>
                    <a:pt x="90" y="173"/>
                    <a:pt x="89" y="173"/>
                  </a:cubicBezTo>
                  <a:cubicBezTo>
                    <a:pt x="90" y="173"/>
                    <a:pt x="90" y="173"/>
                    <a:pt x="90" y="173"/>
                  </a:cubicBezTo>
                  <a:cubicBezTo>
                    <a:pt x="90" y="173"/>
                    <a:pt x="90" y="173"/>
                    <a:pt x="90" y="173"/>
                  </a:cubicBezTo>
                  <a:cubicBezTo>
                    <a:pt x="90" y="173"/>
                    <a:pt x="90" y="173"/>
                    <a:pt x="90" y="173"/>
                  </a:cubicBezTo>
                  <a:close/>
                  <a:moveTo>
                    <a:pt x="90" y="151"/>
                  </a:moveTo>
                  <a:cubicBezTo>
                    <a:pt x="89" y="154"/>
                    <a:pt x="89" y="154"/>
                    <a:pt x="89" y="154"/>
                  </a:cubicBezTo>
                  <a:cubicBezTo>
                    <a:pt x="89" y="154"/>
                    <a:pt x="89" y="154"/>
                    <a:pt x="89" y="154"/>
                  </a:cubicBezTo>
                  <a:cubicBezTo>
                    <a:pt x="89" y="154"/>
                    <a:pt x="89" y="154"/>
                    <a:pt x="89" y="154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90" y="150"/>
                    <a:pt x="90" y="150"/>
                    <a:pt x="90" y="150"/>
                  </a:cubicBezTo>
                  <a:lnTo>
                    <a:pt x="90" y="151"/>
                  </a:lnTo>
                  <a:close/>
                  <a:moveTo>
                    <a:pt x="91" y="149"/>
                  </a:moveTo>
                  <a:cubicBezTo>
                    <a:pt x="93" y="148"/>
                    <a:pt x="93" y="148"/>
                    <a:pt x="93" y="148"/>
                  </a:cubicBezTo>
                  <a:cubicBezTo>
                    <a:pt x="93" y="148"/>
                    <a:pt x="93" y="148"/>
                    <a:pt x="93" y="148"/>
                  </a:cubicBezTo>
                  <a:cubicBezTo>
                    <a:pt x="91" y="149"/>
                    <a:pt x="91" y="149"/>
                    <a:pt x="91" y="149"/>
                  </a:cubicBezTo>
                  <a:close/>
                  <a:moveTo>
                    <a:pt x="92" y="174"/>
                  </a:moveTo>
                  <a:cubicBezTo>
                    <a:pt x="92" y="173"/>
                    <a:pt x="92" y="173"/>
                    <a:pt x="92" y="173"/>
                  </a:cubicBezTo>
                  <a:cubicBezTo>
                    <a:pt x="92" y="173"/>
                    <a:pt x="92" y="173"/>
                    <a:pt x="91" y="173"/>
                  </a:cubicBezTo>
                  <a:cubicBezTo>
                    <a:pt x="92" y="173"/>
                    <a:pt x="92" y="173"/>
                    <a:pt x="92" y="173"/>
                  </a:cubicBezTo>
                  <a:cubicBezTo>
                    <a:pt x="92" y="174"/>
                    <a:pt x="92" y="174"/>
                    <a:pt x="92" y="174"/>
                  </a:cubicBezTo>
                  <a:cubicBezTo>
                    <a:pt x="92" y="175"/>
                    <a:pt x="92" y="175"/>
                    <a:pt x="92" y="175"/>
                  </a:cubicBezTo>
                  <a:lnTo>
                    <a:pt x="92" y="174"/>
                  </a:lnTo>
                  <a:close/>
                  <a:moveTo>
                    <a:pt x="92" y="156"/>
                  </a:moveTo>
                  <a:cubicBezTo>
                    <a:pt x="91" y="156"/>
                    <a:pt x="91" y="156"/>
                    <a:pt x="91" y="156"/>
                  </a:cubicBezTo>
                  <a:cubicBezTo>
                    <a:pt x="92" y="156"/>
                    <a:pt x="92" y="156"/>
                    <a:pt x="92" y="156"/>
                  </a:cubicBezTo>
                  <a:cubicBezTo>
                    <a:pt x="93" y="155"/>
                    <a:pt x="93" y="155"/>
                    <a:pt x="93" y="155"/>
                  </a:cubicBezTo>
                  <a:lnTo>
                    <a:pt x="92" y="156"/>
                  </a:lnTo>
                  <a:close/>
                  <a:moveTo>
                    <a:pt x="94" y="155"/>
                  </a:moveTo>
                  <a:cubicBezTo>
                    <a:pt x="93" y="153"/>
                    <a:pt x="93" y="153"/>
                    <a:pt x="93" y="153"/>
                  </a:cubicBezTo>
                  <a:cubicBezTo>
                    <a:pt x="94" y="155"/>
                    <a:pt x="94" y="155"/>
                    <a:pt x="94" y="155"/>
                  </a:cubicBezTo>
                  <a:close/>
                  <a:moveTo>
                    <a:pt x="98" y="51"/>
                  </a:moveTo>
                  <a:cubicBezTo>
                    <a:pt x="95" y="47"/>
                    <a:pt x="95" y="47"/>
                    <a:pt x="95" y="47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8" y="51"/>
                    <a:pt x="98" y="5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84" name="Freeform 226">
              <a:extLst>
                <a:ext uri="{FF2B5EF4-FFF2-40B4-BE49-F238E27FC236}">
                  <a16:creationId xmlns:a16="http://schemas.microsoft.com/office/drawing/2014/main" id="{8E0EC4C3-9C8D-476F-8E0B-4DEF23F66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5" y="2574"/>
              <a:ext cx="16" cy="15"/>
            </a:xfrm>
            <a:custGeom>
              <a:avLst/>
              <a:gdLst>
                <a:gd name="T0" fmla="*/ 2 w 7"/>
                <a:gd name="T1" fmla="*/ 6 h 6"/>
                <a:gd name="T2" fmla="*/ 3 w 7"/>
                <a:gd name="T3" fmla="*/ 6 h 6"/>
                <a:gd name="T4" fmla="*/ 3 w 7"/>
                <a:gd name="T5" fmla="*/ 6 h 6"/>
                <a:gd name="T6" fmla="*/ 5 w 7"/>
                <a:gd name="T7" fmla="*/ 5 h 6"/>
                <a:gd name="T8" fmla="*/ 5 w 7"/>
                <a:gd name="T9" fmla="*/ 5 h 6"/>
                <a:gd name="T10" fmla="*/ 5 w 7"/>
                <a:gd name="T11" fmla="*/ 5 h 6"/>
                <a:gd name="T12" fmla="*/ 6 w 7"/>
                <a:gd name="T13" fmla="*/ 3 h 6"/>
                <a:gd name="T14" fmla="*/ 7 w 7"/>
                <a:gd name="T15" fmla="*/ 1 h 6"/>
                <a:gd name="T16" fmla="*/ 7 w 7"/>
                <a:gd name="T17" fmla="*/ 1 h 6"/>
                <a:gd name="T18" fmla="*/ 7 w 7"/>
                <a:gd name="T19" fmla="*/ 0 h 6"/>
                <a:gd name="T20" fmla="*/ 6 w 7"/>
                <a:gd name="T21" fmla="*/ 0 h 6"/>
                <a:gd name="T22" fmla="*/ 6 w 7"/>
                <a:gd name="T23" fmla="*/ 0 h 6"/>
                <a:gd name="T24" fmla="*/ 5 w 7"/>
                <a:gd name="T25" fmla="*/ 0 h 6"/>
                <a:gd name="T26" fmla="*/ 5 w 7"/>
                <a:gd name="T27" fmla="*/ 0 h 6"/>
                <a:gd name="T28" fmla="*/ 4 w 7"/>
                <a:gd name="T29" fmla="*/ 0 h 6"/>
                <a:gd name="T30" fmla="*/ 3 w 7"/>
                <a:gd name="T31" fmla="*/ 0 h 6"/>
                <a:gd name="T32" fmla="*/ 3 w 7"/>
                <a:gd name="T33" fmla="*/ 0 h 6"/>
                <a:gd name="T34" fmla="*/ 2 w 7"/>
                <a:gd name="T35" fmla="*/ 0 h 6"/>
                <a:gd name="T36" fmla="*/ 2 w 7"/>
                <a:gd name="T37" fmla="*/ 0 h 6"/>
                <a:gd name="T38" fmla="*/ 1 w 7"/>
                <a:gd name="T39" fmla="*/ 0 h 6"/>
                <a:gd name="T40" fmla="*/ 0 w 7"/>
                <a:gd name="T41" fmla="*/ 1 h 6"/>
                <a:gd name="T42" fmla="*/ 0 w 7"/>
                <a:gd name="T43" fmla="*/ 2 h 6"/>
                <a:gd name="T44" fmla="*/ 0 w 7"/>
                <a:gd name="T45" fmla="*/ 4 h 6"/>
                <a:gd name="T46" fmla="*/ 0 w 7"/>
                <a:gd name="T47" fmla="*/ 4 h 6"/>
                <a:gd name="T48" fmla="*/ 1 w 7"/>
                <a:gd name="T49" fmla="*/ 5 h 6"/>
                <a:gd name="T50" fmla="*/ 2 w 7"/>
                <a:gd name="T5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" h="6">
                  <a:moveTo>
                    <a:pt x="2" y="6"/>
                  </a:moveTo>
                  <a:cubicBezTo>
                    <a:pt x="2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4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4"/>
                    <a:pt x="6" y="4"/>
                    <a:pt x="6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5"/>
                    <a:pt x="1" y="5"/>
                  </a:cubicBezTo>
                  <a:lnTo>
                    <a:pt x="2" y="6"/>
                  </a:ln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85" name="Freeform 227">
              <a:extLst>
                <a:ext uri="{FF2B5EF4-FFF2-40B4-BE49-F238E27FC236}">
                  <a16:creationId xmlns:a16="http://schemas.microsoft.com/office/drawing/2014/main" id="{D8EE5E92-AE67-4FF6-9D97-A39866FDA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2" y="2572"/>
              <a:ext cx="2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0 w 1"/>
                <a:gd name="T7" fmla="*/ 1 h 1"/>
                <a:gd name="T8" fmla="*/ 1 w 1"/>
                <a:gd name="T9" fmla="*/ 1 h 1"/>
                <a:gd name="T10" fmla="*/ 1 w 1"/>
                <a:gd name="T11" fmla="*/ 0 h 1"/>
                <a:gd name="T12" fmla="*/ 1 w 1"/>
                <a:gd name="T13" fmla="*/ 0 h 1"/>
                <a:gd name="T14" fmla="*/ 0 w 1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86" name="Freeform 228">
              <a:extLst>
                <a:ext uri="{FF2B5EF4-FFF2-40B4-BE49-F238E27FC236}">
                  <a16:creationId xmlns:a16="http://schemas.microsoft.com/office/drawing/2014/main" id="{9A1CFD6B-B43D-4488-9003-1DB204EA3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2" y="2572"/>
              <a:ext cx="3" cy="2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0 h 1"/>
                <a:gd name="T6" fmla="*/ 1 w 1"/>
                <a:gd name="T7" fmla="*/ 0 h 1"/>
                <a:gd name="T8" fmla="*/ 1 w 1"/>
                <a:gd name="T9" fmla="*/ 0 h 1"/>
                <a:gd name="T10" fmla="*/ 0 w 1"/>
                <a:gd name="T11" fmla="*/ 0 h 1"/>
                <a:gd name="T12" fmla="*/ 0 w 1"/>
                <a:gd name="T13" fmla="*/ 1 h 1"/>
                <a:gd name="T14" fmla="*/ 0 w 1"/>
                <a:gd name="T15" fmla="*/ 1 h 1"/>
                <a:gd name="T16" fmla="*/ 1 w 1"/>
                <a:gd name="T1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87" name="Freeform 229">
              <a:extLst>
                <a:ext uri="{FF2B5EF4-FFF2-40B4-BE49-F238E27FC236}">
                  <a16:creationId xmlns:a16="http://schemas.microsoft.com/office/drawing/2014/main" id="{FA1997F1-1F6E-41F1-BD86-18C17F4994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7" y="2577"/>
              <a:ext cx="5" cy="5"/>
            </a:xfrm>
            <a:custGeom>
              <a:avLst/>
              <a:gdLst>
                <a:gd name="T0" fmla="*/ 1 w 2"/>
                <a:gd name="T1" fmla="*/ 0 h 2"/>
                <a:gd name="T2" fmla="*/ 1 w 2"/>
                <a:gd name="T3" fmla="*/ 1 h 2"/>
                <a:gd name="T4" fmla="*/ 0 w 2"/>
                <a:gd name="T5" fmla="*/ 1 h 2"/>
                <a:gd name="T6" fmla="*/ 0 w 2"/>
                <a:gd name="T7" fmla="*/ 2 h 2"/>
                <a:gd name="T8" fmla="*/ 1 w 2"/>
                <a:gd name="T9" fmla="*/ 2 h 2"/>
                <a:gd name="T10" fmla="*/ 2 w 2"/>
                <a:gd name="T11" fmla="*/ 1 h 2"/>
                <a:gd name="T12" fmla="*/ 2 w 2"/>
                <a:gd name="T13" fmla="*/ 0 h 2"/>
                <a:gd name="T14" fmla="*/ 2 w 2"/>
                <a:gd name="T15" fmla="*/ 0 h 2"/>
                <a:gd name="T16" fmla="*/ 1 w 2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88" name="Freeform 230">
              <a:extLst>
                <a:ext uri="{FF2B5EF4-FFF2-40B4-BE49-F238E27FC236}">
                  <a16:creationId xmlns:a16="http://schemas.microsoft.com/office/drawing/2014/main" id="{05864F7C-C448-4FFD-A854-24BF4C1FC6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7" y="2567"/>
              <a:ext cx="2" cy="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89" name="Freeform 231">
              <a:extLst>
                <a:ext uri="{FF2B5EF4-FFF2-40B4-BE49-F238E27FC236}">
                  <a16:creationId xmlns:a16="http://schemas.microsoft.com/office/drawing/2014/main" id="{BEBCC904-568F-4DA0-BDD5-089890D47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7" y="2570"/>
              <a:ext cx="5" cy="2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0 h 1"/>
                <a:gd name="T4" fmla="*/ 0 w 2"/>
                <a:gd name="T5" fmla="*/ 0 h 1"/>
                <a:gd name="T6" fmla="*/ 0 w 2"/>
                <a:gd name="T7" fmla="*/ 1 h 1"/>
                <a:gd name="T8" fmla="*/ 1 w 2"/>
                <a:gd name="T9" fmla="*/ 1 h 1"/>
                <a:gd name="T10" fmla="*/ 2 w 2"/>
                <a:gd name="T11" fmla="*/ 1 h 1"/>
                <a:gd name="T12" fmla="*/ 2 w 2"/>
                <a:gd name="T13" fmla="*/ 0 h 1"/>
                <a:gd name="T14" fmla="*/ 1 w 2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90" name="Freeform 232">
              <a:extLst>
                <a:ext uri="{FF2B5EF4-FFF2-40B4-BE49-F238E27FC236}">
                  <a16:creationId xmlns:a16="http://schemas.microsoft.com/office/drawing/2014/main" id="{639D902F-24C3-4776-9CA8-7AF825ED4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1" y="3089"/>
              <a:ext cx="55" cy="31"/>
            </a:xfrm>
            <a:custGeom>
              <a:avLst/>
              <a:gdLst>
                <a:gd name="T0" fmla="*/ 19 w 23"/>
                <a:gd name="T1" fmla="*/ 9 h 13"/>
                <a:gd name="T2" fmla="*/ 19 w 23"/>
                <a:gd name="T3" fmla="*/ 8 h 13"/>
                <a:gd name="T4" fmla="*/ 17 w 23"/>
                <a:gd name="T5" fmla="*/ 7 h 13"/>
                <a:gd name="T6" fmla="*/ 16 w 23"/>
                <a:gd name="T7" fmla="*/ 5 h 13"/>
                <a:gd name="T8" fmla="*/ 13 w 23"/>
                <a:gd name="T9" fmla="*/ 5 h 13"/>
                <a:gd name="T10" fmla="*/ 12 w 23"/>
                <a:gd name="T11" fmla="*/ 4 h 13"/>
                <a:gd name="T12" fmla="*/ 12 w 23"/>
                <a:gd name="T13" fmla="*/ 4 h 13"/>
                <a:gd name="T14" fmla="*/ 12 w 23"/>
                <a:gd name="T15" fmla="*/ 3 h 13"/>
                <a:gd name="T16" fmla="*/ 13 w 23"/>
                <a:gd name="T17" fmla="*/ 2 h 13"/>
                <a:gd name="T18" fmla="*/ 13 w 23"/>
                <a:gd name="T19" fmla="*/ 2 h 13"/>
                <a:gd name="T20" fmla="*/ 12 w 23"/>
                <a:gd name="T21" fmla="*/ 2 h 13"/>
                <a:gd name="T22" fmla="*/ 12 w 23"/>
                <a:gd name="T23" fmla="*/ 1 h 13"/>
                <a:gd name="T24" fmla="*/ 11 w 23"/>
                <a:gd name="T25" fmla="*/ 1 h 13"/>
                <a:gd name="T26" fmla="*/ 10 w 23"/>
                <a:gd name="T27" fmla="*/ 1 h 13"/>
                <a:gd name="T28" fmla="*/ 9 w 23"/>
                <a:gd name="T29" fmla="*/ 0 h 13"/>
                <a:gd name="T30" fmla="*/ 9 w 23"/>
                <a:gd name="T31" fmla="*/ 1 h 13"/>
                <a:gd name="T32" fmla="*/ 8 w 23"/>
                <a:gd name="T33" fmla="*/ 1 h 13"/>
                <a:gd name="T34" fmla="*/ 7 w 23"/>
                <a:gd name="T35" fmla="*/ 2 h 13"/>
                <a:gd name="T36" fmla="*/ 6 w 23"/>
                <a:gd name="T37" fmla="*/ 2 h 13"/>
                <a:gd name="T38" fmla="*/ 6 w 23"/>
                <a:gd name="T39" fmla="*/ 2 h 13"/>
                <a:gd name="T40" fmla="*/ 7 w 23"/>
                <a:gd name="T41" fmla="*/ 2 h 13"/>
                <a:gd name="T42" fmla="*/ 6 w 23"/>
                <a:gd name="T43" fmla="*/ 3 h 13"/>
                <a:gd name="T44" fmla="*/ 6 w 23"/>
                <a:gd name="T45" fmla="*/ 3 h 13"/>
                <a:gd name="T46" fmla="*/ 6 w 23"/>
                <a:gd name="T47" fmla="*/ 3 h 13"/>
                <a:gd name="T48" fmla="*/ 6 w 23"/>
                <a:gd name="T49" fmla="*/ 4 h 13"/>
                <a:gd name="T50" fmla="*/ 6 w 23"/>
                <a:gd name="T51" fmla="*/ 5 h 13"/>
                <a:gd name="T52" fmla="*/ 6 w 23"/>
                <a:gd name="T53" fmla="*/ 5 h 13"/>
                <a:gd name="T54" fmla="*/ 7 w 23"/>
                <a:gd name="T55" fmla="*/ 5 h 13"/>
                <a:gd name="T56" fmla="*/ 9 w 23"/>
                <a:gd name="T57" fmla="*/ 4 h 13"/>
                <a:gd name="T58" fmla="*/ 9 w 23"/>
                <a:gd name="T59" fmla="*/ 4 h 13"/>
                <a:gd name="T60" fmla="*/ 9 w 23"/>
                <a:gd name="T61" fmla="*/ 5 h 13"/>
                <a:gd name="T62" fmla="*/ 10 w 23"/>
                <a:gd name="T63" fmla="*/ 5 h 13"/>
                <a:gd name="T64" fmla="*/ 8 w 23"/>
                <a:gd name="T65" fmla="*/ 6 h 13"/>
                <a:gd name="T66" fmla="*/ 7 w 23"/>
                <a:gd name="T67" fmla="*/ 6 h 13"/>
                <a:gd name="T68" fmla="*/ 7 w 23"/>
                <a:gd name="T69" fmla="*/ 7 h 13"/>
                <a:gd name="T70" fmla="*/ 7 w 23"/>
                <a:gd name="T71" fmla="*/ 8 h 13"/>
                <a:gd name="T72" fmla="*/ 8 w 23"/>
                <a:gd name="T73" fmla="*/ 9 h 13"/>
                <a:gd name="T74" fmla="*/ 7 w 23"/>
                <a:gd name="T75" fmla="*/ 9 h 13"/>
                <a:gd name="T76" fmla="*/ 7 w 23"/>
                <a:gd name="T77" fmla="*/ 9 h 13"/>
                <a:gd name="T78" fmla="*/ 5 w 23"/>
                <a:gd name="T79" fmla="*/ 9 h 13"/>
                <a:gd name="T80" fmla="*/ 5 w 23"/>
                <a:gd name="T81" fmla="*/ 9 h 13"/>
                <a:gd name="T82" fmla="*/ 3 w 23"/>
                <a:gd name="T83" fmla="*/ 10 h 13"/>
                <a:gd name="T84" fmla="*/ 1 w 23"/>
                <a:gd name="T85" fmla="*/ 10 h 13"/>
                <a:gd name="T86" fmla="*/ 2 w 23"/>
                <a:gd name="T87" fmla="*/ 11 h 13"/>
                <a:gd name="T88" fmla="*/ 5 w 23"/>
                <a:gd name="T89" fmla="*/ 11 h 13"/>
                <a:gd name="T90" fmla="*/ 7 w 23"/>
                <a:gd name="T91" fmla="*/ 12 h 13"/>
                <a:gd name="T92" fmla="*/ 10 w 23"/>
                <a:gd name="T93" fmla="*/ 12 h 13"/>
                <a:gd name="T94" fmla="*/ 11 w 23"/>
                <a:gd name="T95" fmla="*/ 12 h 13"/>
                <a:gd name="T96" fmla="*/ 12 w 23"/>
                <a:gd name="T97" fmla="*/ 12 h 13"/>
                <a:gd name="T98" fmla="*/ 14 w 23"/>
                <a:gd name="T99" fmla="*/ 12 h 13"/>
                <a:gd name="T100" fmla="*/ 14 w 23"/>
                <a:gd name="T101" fmla="*/ 12 h 13"/>
                <a:gd name="T102" fmla="*/ 17 w 23"/>
                <a:gd name="T103" fmla="*/ 12 h 13"/>
                <a:gd name="T104" fmla="*/ 18 w 23"/>
                <a:gd name="T105" fmla="*/ 12 h 13"/>
                <a:gd name="T106" fmla="*/ 19 w 23"/>
                <a:gd name="T107" fmla="*/ 13 h 13"/>
                <a:gd name="T108" fmla="*/ 20 w 23"/>
                <a:gd name="T109" fmla="*/ 12 h 13"/>
                <a:gd name="T110" fmla="*/ 21 w 23"/>
                <a:gd name="T111" fmla="*/ 12 h 13"/>
                <a:gd name="T112" fmla="*/ 22 w 23"/>
                <a:gd name="T113" fmla="*/ 12 h 13"/>
                <a:gd name="T114" fmla="*/ 22 w 23"/>
                <a:gd name="T115" fmla="*/ 12 h 13"/>
                <a:gd name="T116" fmla="*/ 23 w 23"/>
                <a:gd name="T117" fmla="*/ 11 h 13"/>
                <a:gd name="T118" fmla="*/ 23 w 23"/>
                <a:gd name="T119" fmla="*/ 11 h 13"/>
                <a:gd name="T120" fmla="*/ 21 w 23"/>
                <a:gd name="T121" fmla="*/ 11 h 13"/>
                <a:gd name="T122" fmla="*/ 19 w 23"/>
                <a:gd name="T1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" h="13">
                  <a:moveTo>
                    <a:pt x="19" y="9"/>
                  </a:move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7" y="7"/>
                    <a:pt x="17" y="7"/>
                  </a:cubicBezTo>
                  <a:cubicBezTo>
                    <a:pt x="16" y="6"/>
                    <a:pt x="16" y="6"/>
                    <a:pt x="16" y="5"/>
                  </a:cubicBezTo>
                  <a:cubicBezTo>
                    <a:pt x="15" y="4"/>
                    <a:pt x="14" y="5"/>
                    <a:pt x="13" y="5"/>
                  </a:cubicBezTo>
                  <a:cubicBezTo>
                    <a:pt x="12" y="4"/>
                    <a:pt x="13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3"/>
                    <a:pt x="12" y="3"/>
                  </a:cubicBezTo>
                  <a:cubicBezTo>
                    <a:pt x="12" y="3"/>
                    <a:pt x="12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1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4"/>
                    <a:pt x="6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7" y="5"/>
                  </a:cubicBezTo>
                  <a:cubicBezTo>
                    <a:pt x="7" y="5"/>
                    <a:pt x="8" y="5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5"/>
                    <a:pt x="8" y="6"/>
                    <a:pt x="8" y="6"/>
                  </a:cubicBezTo>
                  <a:cubicBezTo>
                    <a:pt x="8" y="6"/>
                    <a:pt x="7" y="6"/>
                    <a:pt x="7" y="6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8"/>
                    <a:pt x="7" y="8"/>
                  </a:cubicBezTo>
                  <a:cubicBezTo>
                    <a:pt x="8" y="8"/>
                    <a:pt x="8" y="9"/>
                    <a:pt x="8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6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3" y="9"/>
                    <a:pt x="3" y="10"/>
                  </a:cubicBezTo>
                  <a:cubicBezTo>
                    <a:pt x="3" y="10"/>
                    <a:pt x="1" y="10"/>
                    <a:pt x="1" y="10"/>
                  </a:cubicBezTo>
                  <a:cubicBezTo>
                    <a:pt x="1" y="10"/>
                    <a:pt x="0" y="11"/>
                    <a:pt x="2" y="11"/>
                  </a:cubicBezTo>
                  <a:cubicBezTo>
                    <a:pt x="3" y="11"/>
                    <a:pt x="5" y="11"/>
                    <a:pt x="5" y="11"/>
                  </a:cubicBezTo>
                  <a:cubicBezTo>
                    <a:pt x="5" y="11"/>
                    <a:pt x="7" y="11"/>
                    <a:pt x="7" y="12"/>
                  </a:cubicBezTo>
                  <a:cubicBezTo>
                    <a:pt x="8" y="12"/>
                    <a:pt x="9" y="12"/>
                    <a:pt x="10" y="12"/>
                  </a:cubicBezTo>
                  <a:cubicBezTo>
                    <a:pt x="10" y="12"/>
                    <a:pt x="11" y="12"/>
                    <a:pt x="11" y="12"/>
                  </a:cubicBezTo>
                  <a:cubicBezTo>
                    <a:pt x="12" y="13"/>
                    <a:pt x="12" y="12"/>
                    <a:pt x="12" y="12"/>
                  </a:cubicBezTo>
                  <a:cubicBezTo>
                    <a:pt x="13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6" y="12"/>
                    <a:pt x="17" y="12"/>
                    <a:pt x="17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3"/>
                    <a:pt x="19" y="13"/>
                  </a:cubicBezTo>
                  <a:cubicBezTo>
                    <a:pt x="19" y="13"/>
                    <a:pt x="20" y="12"/>
                    <a:pt x="20" y="12"/>
                  </a:cubicBezTo>
                  <a:cubicBezTo>
                    <a:pt x="20" y="12"/>
                    <a:pt x="21" y="12"/>
                    <a:pt x="21" y="12"/>
                  </a:cubicBezTo>
                  <a:cubicBezTo>
                    <a:pt x="21" y="12"/>
                    <a:pt x="21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3" y="11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2" y="11"/>
                    <a:pt x="21" y="11"/>
                    <a:pt x="21" y="11"/>
                  </a:cubicBezTo>
                  <a:cubicBezTo>
                    <a:pt x="20" y="11"/>
                    <a:pt x="20" y="9"/>
                    <a:pt x="19" y="9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91" name="Freeform 233">
              <a:extLst>
                <a:ext uri="{FF2B5EF4-FFF2-40B4-BE49-F238E27FC236}">
                  <a16:creationId xmlns:a16="http://schemas.microsoft.com/office/drawing/2014/main" id="{86185135-923C-49D1-B62C-21D00F41F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" y="3115"/>
              <a:ext cx="7" cy="3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0 h 1"/>
                <a:gd name="T4" fmla="*/ 0 w 3"/>
                <a:gd name="T5" fmla="*/ 1 h 1"/>
                <a:gd name="T6" fmla="*/ 0 w 3"/>
                <a:gd name="T7" fmla="*/ 1 h 1"/>
                <a:gd name="T8" fmla="*/ 0 w 3"/>
                <a:gd name="T9" fmla="*/ 1 h 1"/>
                <a:gd name="T10" fmla="*/ 1 w 3"/>
                <a:gd name="T11" fmla="*/ 1 h 1"/>
                <a:gd name="T12" fmla="*/ 1 w 3"/>
                <a:gd name="T13" fmla="*/ 1 h 1"/>
                <a:gd name="T14" fmla="*/ 2 w 3"/>
                <a:gd name="T15" fmla="*/ 1 h 1"/>
                <a:gd name="T16" fmla="*/ 2 w 3"/>
                <a:gd name="T17" fmla="*/ 1 h 1"/>
                <a:gd name="T18" fmla="*/ 3 w 3"/>
                <a:gd name="T19" fmla="*/ 1 h 1"/>
                <a:gd name="T20" fmla="*/ 3 w 3"/>
                <a:gd name="T21" fmla="*/ 0 h 1"/>
                <a:gd name="T22" fmla="*/ 2 w 3"/>
                <a:gd name="T2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92" name="Freeform 234">
              <a:extLst>
                <a:ext uri="{FF2B5EF4-FFF2-40B4-BE49-F238E27FC236}">
                  <a16:creationId xmlns:a16="http://schemas.microsoft.com/office/drawing/2014/main" id="{EB893C5B-4E2D-4191-8536-6B51CC2F1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8" y="3118"/>
              <a:ext cx="23" cy="9"/>
            </a:xfrm>
            <a:custGeom>
              <a:avLst/>
              <a:gdLst>
                <a:gd name="T0" fmla="*/ 7 w 10"/>
                <a:gd name="T1" fmla="*/ 1 h 4"/>
                <a:gd name="T2" fmla="*/ 8 w 10"/>
                <a:gd name="T3" fmla="*/ 2 h 4"/>
                <a:gd name="T4" fmla="*/ 9 w 10"/>
                <a:gd name="T5" fmla="*/ 2 h 4"/>
                <a:gd name="T6" fmla="*/ 9 w 10"/>
                <a:gd name="T7" fmla="*/ 1 h 4"/>
                <a:gd name="T8" fmla="*/ 8 w 10"/>
                <a:gd name="T9" fmla="*/ 0 h 4"/>
                <a:gd name="T10" fmla="*/ 8 w 10"/>
                <a:gd name="T11" fmla="*/ 0 h 4"/>
                <a:gd name="T12" fmla="*/ 6 w 10"/>
                <a:gd name="T13" fmla="*/ 0 h 4"/>
                <a:gd name="T14" fmla="*/ 5 w 10"/>
                <a:gd name="T15" fmla="*/ 1 h 4"/>
                <a:gd name="T16" fmla="*/ 5 w 10"/>
                <a:gd name="T17" fmla="*/ 1 h 4"/>
                <a:gd name="T18" fmla="*/ 2 w 10"/>
                <a:gd name="T19" fmla="*/ 1 h 4"/>
                <a:gd name="T20" fmla="*/ 2 w 10"/>
                <a:gd name="T21" fmla="*/ 1 h 4"/>
                <a:gd name="T22" fmla="*/ 0 w 10"/>
                <a:gd name="T23" fmla="*/ 1 h 4"/>
                <a:gd name="T24" fmla="*/ 0 w 10"/>
                <a:gd name="T25" fmla="*/ 2 h 4"/>
                <a:gd name="T26" fmla="*/ 1 w 10"/>
                <a:gd name="T27" fmla="*/ 2 h 4"/>
                <a:gd name="T28" fmla="*/ 3 w 10"/>
                <a:gd name="T29" fmla="*/ 2 h 4"/>
                <a:gd name="T30" fmla="*/ 4 w 10"/>
                <a:gd name="T31" fmla="*/ 2 h 4"/>
                <a:gd name="T32" fmla="*/ 4 w 10"/>
                <a:gd name="T33" fmla="*/ 2 h 4"/>
                <a:gd name="T34" fmla="*/ 6 w 10"/>
                <a:gd name="T35" fmla="*/ 3 h 4"/>
                <a:gd name="T36" fmla="*/ 7 w 10"/>
                <a:gd name="T37" fmla="*/ 4 h 4"/>
                <a:gd name="T38" fmla="*/ 6 w 10"/>
                <a:gd name="T39" fmla="*/ 3 h 4"/>
                <a:gd name="T40" fmla="*/ 6 w 10"/>
                <a:gd name="T41" fmla="*/ 2 h 4"/>
                <a:gd name="T42" fmla="*/ 6 w 10"/>
                <a:gd name="T43" fmla="*/ 1 h 4"/>
                <a:gd name="T44" fmla="*/ 7 w 10"/>
                <a:gd name="T4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4">
                  <a:moveTo>
                    <a:pt x="7" y="1"/>
                  </a:moveTo>
                  <a:cubicBezTo>
                    <a:pt x="7" y="1"/>
                    <a:pt x="8" y="2"/>
                    <a:pt x="8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0" y="1"/>
                    <a:pt x="9" y="1"/>
                  </a:cubicBezTo>
                  <a:cubicBezTo>
                    <a:pt x="9" y="1"/>
                    <a:pt x="9" y="1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6" y="0"/>
                    <a:pt x="6" y="0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3"/>
                    <a:pt x="3" y="3"/>
                    <a:pt x="3" y="2"/>
                  </a:cubicBezTo>
                  <a:cubicBezTo>
                    <a:pt x="3" y="2"/>
                    <a:pt x="4" y="3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3"/>
                    <a:pt x="5" y="3"/>
                    <a:pt x="6" y="3"/>
                  </a:cubicBezTo>
                  <a:cubicBezTo>
                    <a:pt x="6" y="4"/>
                    <a:pt x="6" y="4"/>
                    <a:pt x="7" y="4"/>
                  </a:cubicBezTo>
                  <a:cubicBezTo>
                    <a:pt x="7" y="4"/>
                    <a:pt x="7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6" y="1"/>
                  </a:cubicBezTo>
                  <a:cubicBezTo>
                    <a:pt x="6" y="1"/>
                    <a:pt x="6" y="1"/>
                    <a:pt x="7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93" name="Freeform 235">
              <a:extLst>
                <a:ext uri="{FF2B5EF4-FFF2-40B4-BE49-F238E27FC236}">
                  <a16:creationId xmlns:a16="http://schemas.microsoft.com/office/drawing/2014/main" id="{4A855047-BFE4-4F24-8645-8C7C02A37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" y="3127"/>
              <a:ext cx="3" cy="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1 h 1"/>
                <a:gd name="T8" fmla="*/ 1 w 1"/>
                <a:gd name="T9" fmla="*/ 1 h 1"/>
                <a:gd name="T10" fmla="*/ 0 w 1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94" name="Freeform 236">
              <a:extLst>
                <a:ext uri="{FF2B5EF4-FFF2-40B4-BE49-F238E27FC236}">
                  <a16:creationId xmlns:a16="http://schemas.microsoft.com/office/drawing/2014/main" id="{F8F8C721-D08D-44ED-97E5-0CEF34859D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" y="3127"/>
              <a:ext cx="2" cy="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0 w 1"/>
                <a:gd name="T7" fmla="*/ 1 h 1"/>
                <a:gd name="T8" fmla="*/ 1 w 1"/>
                <a:gd name="T9" fmla="*/ 1 h 1"/>
                <a:gd name="T10" fmla="*/ 0 w 1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95" name="Freeform 237">
              <a:extLst>
                <a:ext uri="{FF2B5EF4-FFF2-40B4-BE49-F238E27FC236}">
                  <a16:creationId xmlns:a16="http://schemas.microsoft.com/office/drawing/2014/main" id="{55EB5A4B-5029-497B-A35E-B56A4C5BF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3118"/>
              <a:ext cx="4" cy="5"/>
            </a:xfrm>
            <a:custGeom>
              <a:avLst/>
              <a:gdLst>
                <a:gd name="T0" fmla="*/ 2 w 2"/>
                <a:gd name="T1" fmla="*/ 0 h 2"/>
                <a:gd name="T2" fmla="*/ 1 w 2"/>
                <a:gd name="T3" fmla="*/ 0 h 2"/>
                <a:gd name="T4" fmla="*/ 1 w 2"/>
                <a:gd name="T5" fmla="*/ 0 h 2"/>
                <a:gd name="T6" fmla="*/ 0 w 2"/>
                <a:gd name="T7" fmla="*/ 0 h 2"/>
                <a:gd name="T8" fmla="*/ 0 w 2"/>
                <a:gd name="T9" fmla="*/ 1 h 2"/>
                <a:gd name="T10" fmla="*/ 1 w 2"/>
                <a:gd name="T11" fmla="*/ 1 h 2"/>
                <a:gd name="T12" fmla="*/ 1 w 2"/>
                <a:gd name="T13" fmla="*/ 1 h 2"/>
                <a:gd name="T14" fmla="*/ 2 w 2"/>
                <a:gd name="T15" fmla="*/ 1 h 2"/>
                <a:gd name="T16" fmla="*/ 2 w 2"/>
                <a:gd name="T17" fmla="*/ 1 h 2"/>
                <a:gd name="T18" fmla="*/ 2 w 2"/>
                <a:gd name="T19" fmla="*/ 1 h 2"/>
                <a:gd name="T20" fmla="*/ 2 w 2"/>
                <a:gd name="T21" fmla="*/ 0 h 2"/>
                <a:gd name="T22" fmla="*/ 2 w 2"/>
                <a:gd name="T2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96" name="Freeform 238">
              <a:extLst>
                <a:ext uri="{FF2B5EF4-FFF2-40B4-BE49-F238E27FC236}">
                  <a16:creationId xmlns:a16="http://schemas.microsoft.com/office/drawing/2014/main" id="{7185C766-0E1A-424E-81E7-7AB19ED5A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1" y="3104"/>
              <a:ext cx="14" cy="7"/>
            </a:xfrm>
            <a:custGeom>
              <a:avLst/>
              <a:gdLst>
                <a:gd name="T0" fmla="*/ 3 w 6"/>
                <a:gd name="T1" fmla="*/ 3 h 3"/>
                <a:gd name="T2" fmla="*/ 3 w 6"/>
                <a:gd name="T3" fmla="*/ 3 h 3"/>
                <a:gd name="T4" fmla="*/ 5 w 6"/>
                <a:gd name="T5" fmla="*/ 3 h 3"/>
                <a:gd name="T6" fmla="*/ 5 w 6"/>
                <a:gd name="T7" fmla="*/ 2 h 3"/>
                <a:gd name="T8" fmla="*/ 6 w 6"/>
                <a:gd name="T9" fmla="*/ 2 h 3"/>
                <a:gd name="T10" fmla="*/ 6 w 6"/>
                <a:gd name="T11" fmla="*/ 1 h 3"/>
                <a:gd name="T12" fmla="*/ 6 w 6"/>
                <a:gd name="T13" fmla="*/ 0 h 3"/>
                <a:gd name="T14" fmla="*/ 5 w 6"/>
                <a:gd name="T15" fmla="*/ 0 h 3"/>
                <a:gd name="T16" fmla="*/ 4 w 6"/>
                <a:gd name="T17" fmla="*/ 2 h 3"/>
                <a:gd name="T18" fmla="*/ 4 w 6"/>
                <a:gd name="T19" fmla="*/ 2 h 3"/>
                <a:gd name="T20" fmla="*/ 3 w 6"/>
                <a:gd name="T21" fmla="*/ 2 h 3"/>
                <a:gd name="T22" fmla="*/ 2 w 6"/>
                <a:gd name="T23" fmla="*/ 2 h 3"/>
                <a:gd name="T24" fmla="*/ 1 w 6"/>
                <a:gd name="T25" fmla="*/ 2 h 3"/>
                <a:gd name="T26" fmla="*/ 1 w 6"/>
                <a:gd name="T27" fmla="*/ 3 h 3"/>
                <a:gd name="T28" fmla="*/ 3 w 6"/>
                <a:gd name="T2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4" y="3"/>
                    <a:pt x="5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2"/>
                    <a:pt x="5" y="2"/>
                    <a:pt x="6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1"/>
                    <a:pt x="6" y="1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5" y="1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0" y="2"/>
                    <a:pt x="0" y="2"/>
                    <a:pt x="1" y="3"/>
                  </a:cubicBezTo>
                  <a:cubicBezTo>
                    <a:pt x="1" y="3"/>
                    <a:pt x="2" y="3"/>
                    <a:pt x="3" y="3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97" name="Freeform 239">
              <a:extLst>
                <a:ext uri="{FF2B5EF4-FFF2-40B4-BE49-F238E27FC236}">
                  <a16:creationId xmlns:a16="http://schemas.microsoft.com/office/drawing/2014/main" id="{11793A02-7217-4D80-B941-D9A78412B0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2" y="3094"/>
              <a:ext cx="19" cy="14"/>
            </a:xfrm>
            <a:custGeom>
              <a:avLst/>
              <a:gdLst>
                <a:gd name="T0" fmla="*/ 7 w 8"/>
                <a:gd name="T1" fmla="*/ 4 h 6"/>
                <a:gd name="T2" fmla="*/ 6 w 8"/>
                <a:gd name="T3" fmla="*/ 3 h 6"/>
                <a:gd name="T4" fmla="*/ 4 w 8"/>
                <a:gd name="T5" fmla="*/ 2 h 6"/>
                <a:gd name="T6" fmla="*/ 3 w 8"/>
                <a:gd name="T7" fmla="*/ 1 h 6"/>
                <a:gd name="T8" fmla="*/ 1 w 8"/>
                <a:gd name="T9" fmla="*/ 0 h 6"/>
                <a:gd name="T10" fmla="*/ 0 w 8"/>
                <a:gd name="T11" fmla="*/ 0 h 6"/>
                <a:gd name="T12" fmla="*/ 0 w 8"/>
                <a:gd name="T13" fmla="*/ 0 h 6"/>
                <a:gd name="T14" fmla="*/ 1 w 8"/>
                <a:gd name="T15" fmla="*/ 1 h 6"/>
                <a:gd name="T16" fmla="*/ 2 w 8"/>
                <a:gd name="T17" fmla="*/ 1 h 6"/>
                <a:gd name="T18" fmla="*/ 3 w 8"/>
                <a:gd name="T19" fmla="*/ 2 h 6"/>
                <a:gd name="T20" fmla="*/ 5 w 8"/>
                <a:gd name="T21" fmla="*/ 3 h 6"/>
                <a:gd name="T22" fmla="*/ 5 w 8"/>
                <a:gd name="T23" fmla="*/ 4 h 6"/>
                <a:gd name="T24" fmla="*/ 4 w 8"/>
                <a:gd name="T25" fmla="*/ 4 h 6"/>
                <a:gd name="T26" fmla="*/ 4 w 8"/>
                <a:gd name="T27" fmla="*/ 5 h 6"/>
                <a:gd name="T28" fmla="*/ 5 w 8"/>
                <a:gd name="T29" fmla="*/ 6 h 6"/>
                <a:gd name="T30" fmla="*/ 5 w 8"/>
                <a:gd name="T31" fmla="*/ 6 h 6"/>
                <a:gd name="T32" fmla="*/ 5 w 8"/>
                <a:gd name="T33" fmla="*/ 6 h 6"/>
                <a:gd name="T34" fmla="*/ 7 w 8"/>
                <a:gd name="T35" fmla="*/ 6 h 6"/>
                <a:gd name="T36" fmla="*/ 8 w 8"/>
                <a:gd name="T37" fmla="*/ 5 h 6"/>
                <a:gd name="T38" fmla="*/ 8 w 8"/>
                <a:gd name="T39" fmla="*/ 5 h 6"/>
                <a:gd name="T40" fmla="*/ 7 w 8"/>
                <a:gd name="T4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" h="6">
                  <a:moveTo>
                    <a:pt x="7" y="4"/>
                  </a:moveTo>
                  <a:cubicBezTo>
                    <a:pt x="7" y="3"/>
                    <a:pt x="6" y="3"/>
                    <a:pt x="6" y="3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3" y="1"/>
                    <a:pt x="2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4" y="2"/>
                    <a:pt x="4" y="3"/>
                    <a:pt x="5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5"/>
                    <a:pt x="5" y="5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7" y="6"/>
                    <a:pt x="7" y="6"/>
                  </a:cubicBezTo>
                  <a:cubicBezTo>
                    <a:pt x="7" y="6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4"/>
                    <a:pt x="7" y="4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98" name="Freeform 240">
              <a:extLst>
                <a:ext uri="{FF2B5EF4-FFF2-40B4-BE49-F238E27FC236}">
                  <a16:creationId xmlns:a16="http://schemas.microsoft.com/office/drawing/2014/main" id="{973AFA7F-8D59-49B1-B3D0-8AB7EC23A7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0" y="3080"/>
              <a:ext cx="5" cy="7"/>
            </a:xfrm>
            <a:custGeom>
              <a:avLst/>
              <a:gdLst>
                <a:gd name="T0" fmla="*/ 2 w 2"/>
                <a:gd name="T1" fmla="*/ 2 h 3"/>
                <a:gd name="T2" fmla="*/ 1 w 2"/>
                <a:gd name="T3" fmla="*/ 1 h 3"/>
                <a:gd name="T4" fmla="*/ 1 w 2"/>
                <a:gd name="T5" fmla="*/ 1 h 3"/>
                <a:gd name="T6" fmla="*/ 1 w 2"/>
                <a:gd name="T7" fmla="*/ 0 h 3"/>
                <a:gd name="T8" fmla="*/ 0 w 2"/>
                <a:gd name="T9" fmla="*/ 0 h 3"/>
                <a:gd name="T10" fmla="*/ 0 w 2"/>
                <a:gd name="T11" fmla="*/ 1 h 3"/>
                <a:gd name="T12" fmla="*/ 0 w 2"/>
                <a:gd name="T13" fmla="*/ 1 h 3"/>
                <a:gd name="T14" fmla="*/ 0 w 2"/>
                <a:gd name="T15" fmla="*/ 2 h 3"/>
                <a:gd name="T16" fmla="*/ 1 w 2"/>
                <a:gd name="T17" fmla="*/ 3 h 3"/>
                <a:gd name="T18" fmla="*/ 1 w 2"/>
                <a:gd name="T19" fmla="*/ 2 h 3"/>
                <a:gd name="T20" fmla="*/ 2 w 2"/>
                <a:gd name="T2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" h="3">
                  <a:moveTo>
                    <a:pt x="2" y="2"/>
                  </a:move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99" name="Freeform 241">
              <a:extLst>
                <a:ext uri="{FF2B5EF4-FFF2-40B4-BE49-F238E27FC236}">
                  <a16:creationId xmlns:a16="http://schemas.microsoft.com/office/drawing/2014/main" id="{EF17889A-F070-49A5-9700-80EB1CC17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5" y="3037"/>
              <a:ext cx="10" cy="33"/>
            </a:xfrm>
            <a:custGeom>
              <a:avLst/>
              <a:gdLst>
                <a:gd name="T0" fmla="*/ 2 w 4"/>
                <a:gd name="T1" fmla="*/ 11 h 14"/>
                <a:gd name="T2" fmla="*/ 2 w 4"/>
                <a:gd name="T3" fmla="*/ 11 h 14"/>
                <a:gd name="T4" fmla="*/ 3 w 4"/>
                <a:gd name="T5" fmla="*/ 10 h 14"/>
                <a:gd name="T6" fmla="*/ 2 w 4"/>
                <a:gd name="T7" fmla="*/ 9 h 14"/>
                <a:gd name="T8" fmla="*/ 2 w 4"/>
                <a:gd name="T9" fmla="*/ 9 h 14"/>
                <a:gd name="T10" fmla="*/ 3 w 4"/>
                <a:gd name="T11" fmla="*/ 7 h 14"/>
                <a:gd name="T12" fmla="*/ 3 w 4"/>
                <a:gd name="T13" fmla="*/ 6 h 14"/>
                <a:gd name="T14" fmla="*/ 3 w 4"/>
                <a:gd name="T15" fmla="*/ 6 h 14"/>
                <a:gd name="T16" fmla="*/ 3 w 4"/>
                <a:gd name="T17" fmla="*/ 5 h 14"/>
                <a:gd name="T18" fmla="*/ 4 w 4"/>
                <a:gd name="T19" fmla="*/ 4 h 14"/>
                <a:gd name="T20" fmla="*/ 3 w 4"/>
                <a:gd name="T21" fmla="*/ 3 h 14"/>
                <a:gd name="T22" fmla="*/ 3 w 4"/>
                <a:gd name="T23" fmla="*/ 1 h 14"/>
                <a:gd name="T24" fmla="*/ 2 w 4"/>
                <a:gd name="T25" fmla="*/ 0 h 14"/>
                <a:gd name="T26" fmla="*/ 1 w 4"/>
                <a:gd name="T27" fmla="*/ 1 h 14"/>
                <a:gd name="T28" fmla="*/ 1 w 4"/>
                <a:gd name="T29" fmla="*/ 2 h 14"/>
                <a:gd name="T30" fmla="*/ 0 w 4"/>
                <a:gd name="T31" fmla="*/ 3 h 14"/>
                <a:gd name="T32" fmla="*/ 0 w 4"/>
                <a:gd name="T33" fmla="*/ 5 h 14"/>
                <a:gd name="T34" fmla="*/ 1 w 4"/>
                <a:gd name="T35" fmla="*/ 5 h 14"/>
                <a:gd name="T36" fmla="*/ 1 w 4"/>
                <a:gd name="T37" fmla="*/ 7 h 14"/>
                <a:gd name="T38" fmla="*/ 1 w 4"/>
                <a:gd name="T39" fmla="*/ 9 h 14"/>
                <a:gd name="T40" fmla="*/ 1 w 4"/>
                <a:gd name="T41" fmla="*/ 10 h 14"/>
                <a:gd name="T42" fmla="*/ 1 w 4"/>
                <a:gd name="T43" fmla="*/ 11 h 14"/>
                <a:gd name="T44" fmla="*/ 1 w 4"/>
                <a:gd name="T45" fmla="*/ 11 h 14"/>
                <a:gd name="T46" fmla="*/ 1 w 4"/>
                <a:gd name="T47" fmla="*/ 12 h 14"/>
                <a:gd name="T48" fmla="*/ 1 w 4"/>
                <a:gd name="T49" fmla="*/ 12 h 14"/>
                <a:gd name="T50" fmla="*/ 1 w 4"/>
                <a:gd name="T51" fmla="*/ 13 h 14"/>
                <a:gd name="T52" fmla="*/ 1 w 4"/>
                <a:gd name="T53" fmla="*/ 14 h 14"/>
                <a:gd name="T54" fmla="*/ 1 w 4"/>
                <a:gd name="T55" fmla="*/ 13 h 14"/>
                <a:gd name="T56" fmla="*/ 2 w 4"/>
                <a:gd name="T57" fmla="*/ 12 h 14"/>
                <a:gd name="T58" fmla="*/ 2 w 4"/>
                <a:gd name="T59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" h="14">
                  <a:moveTo>
                    <a:pt x="2" y="11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3" y="11"/>
                    <a:pt x="3" y="10"/>
                    <a:pt x="3" y="10"/>
                  </a:cubicBezTo>
                  <a:cubicBezTo>
                    <a:pt x="3" y="10"/>
                    <a:pt x="3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3" y="8"/>
                    <a:pt x="3" y="7"/>
                  </a:cubicBezTo>
                  <a:cubicBezTo>
                    <a:pt x="3" y="7"/>
                    <a:pt x="4" y="7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5"/>
                    <a:pt x="3" y="5"/>
                  </a:cubicBezTo>
                  <a:cubicBezTo>
                    <a:pt x="3" y="5"/>
                    <a:pt x="3" y="4"/>
                    <a:pt x="4" y="4"/>
                  </a:cubicBezTo>
                  <a:cubicBezTo>
                    <a:pt x="4" y="4"/>
                    <a:pt x="3" y="3"/>
                    <a:pt x="3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3"/>
                    <a:pt x="1" y="4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7"/>
                    <a:pt x="1" y="7"/>
                  </a:cubicBezTo>
                  <a:cubicBezTo>
                    <a:pt x="1" y="7"/>
                    <a:pt x="1" y="9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1" y="14"/>
                    <a:pt x="1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2"/>
                    <a:pt x="2" y="12"/>
                    <a:pt x="2" y="1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00" name="Freeform 242">
              <a:extLst>
                <a:ext uri="{FF2B5EF4-FFF2-40B4-BE49-F238E27FC236}">
                  <a16:creationId xmlns:a16="http://schemas.microsoft.com/office/drawing/2014/main" id="{B8007671-CE87-41E0-9252-C09E3C208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2" y="3013"/>
              <a:ext cx="5" cy="3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2 w 2"/>
                <a:gd name="T5" fmla="*/ 0 h 1"/>
                <a:gd name="T6" fmla="*/ 1 w 2"/>
                <a:gd name="T7" fmla="*/ 0 h 1"/>
                <a:gd name="T8" fmla="*/ 1 w 2"/>
                <a:gd name="T9" fmla="*/ 0 h 1"/>
                <a:gd name="T10" fmla="*/ 1 w 2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1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01" name="Freeform 243">
              <a:extLst>
                <a:ext uri="{FF2B5EF4-FFF2-40B4-BE49-F238E27FC236}">
                  <a16:creationId xmlns:a16="http://schemas.microsoft.com/office/drawing/2014/main" id="{8ED2B98D-F6D5-4BE4-9803-1B33A0B7D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7" y="3011"/>
              <a:ext cx="2" cy="5"/>
            </a:xfrm>
            <a:custGeom>
              <a:avLst/>
              <a:gdLst>
                <a:gd name="T0" fmla="*/ 1 w 1"/>
                <a:gd name="T1" fmla="*/ 1 h 2"/>
                <a:gd name="T2" fmla="*/ 1 w 1"/>
                <a:gd name="T3" fmla="*/ 1 h 2"/>
                <a:gd name="T4" fmla="*/ 1 w 1"/>
                <a:gd name="T5" fmla="*/ 0 h 2"/>
                <a:gd name="T6" fmla="*/ 0 w 1"/>
                <a:gd name="T7" fmla="*/ 0 h 2"/>
                <a:gd name="T8" fmla="*/ 0 w 1"/>
                <a:gd name="T9" fmla="*/ 1 h 2"/>
                <a:gd name="T10" fmla="*/ 0 w 1"/>
                <a:gd name="T11" fmla="*/ 2 h 2"/>
                <a:gd name="T12" fmla="*/ 1 w 1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2"/>
                    <a:pt x="1" y="1"/>
                    <a:pt x="1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02" name="Freeform 244">
              <a:extLst>
                <a:ext uri="{FF2B5EF4-FFF2-40B4-BE49-F238E27FC236}">
                  <a16:creationId xmlns:a16="http://schemas.microsoft.com/office/drawing/2014/main" id="{37C58C9C-7646-4CC6-8451-ACCAC547C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" y="3006"/>
              <a:ext cx="4" cy="5"/>
            </a:xfrm>
            <a:custGeom>
              <a:avLst/>
              <a:gdLst>
                <a:gd name="T0" fmla="*/ 2 w 2"/>
                <a:gd name="T1" fmla="*/ 1 h 2"/>
                <a:gd name="T2" fmla="*/ 2 w 2"/>
                <a:gd name="T3" fmla="*/ 1 h 2"/>
                <a:gd name="T4" fmla="*/ 2 w 2"/>
                <a:gd name="T5" fmla="*/ 0 h 2"/>
                <a:gd name="T6" fmla="*/ 1 w 2"/>
                <a:gd name="T7" fmla="*/ 0 h 2"/>
                <a:gd name="T8" fmla="*/ 0 w 2"/>
                <a:gd name="T9" fmla="*/ 0 h 2"/>
                <a:gd name="T10" fmla="*/ 0 w 2"/>
                <a:gd name="T11" fmla="*/ 1 h 2"/>
                <a:gd name="T12" fmla="*/ 1 w 2"/>
                <a:gd name="T13" fmla="*/ 2 h 2"/>
                <a:gd name="T14" fmla="*/ 2 w 2"/>
                <a:gd name="T15" fmla="*/ 2 h 2"/>
                <a:gd name="T16" fmla="*/ 2 w 2"/>
                <a:gd name="T1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2"/>
                    <a:pt x="2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03" name="Freeform 245">
              <a:extLst>
                <a:ext uri="{FF2B5EF4-FFF2-40B4-BE49-F238E27FC236}">
                  <a16:creationId xmlns:a16="http://schemas.microsoft.com/office/drawing/2014/main" id="{2BFEA0EC-055C-483B-A5C7-5A7BA0F66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" y="3002"/>
              <a:ext cx="4" cy="2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1 h 1"/>
                <a:gd name="T4" fmla="*/ 1 w 2"/>
                <a:gd name="T5" fmla="*/ 1 h 1"/>
                <a:gd name="T6" fmla="*/ 2 w 2"/>
                <a:gd name="T7" fmla="*/ 1 h 1"/>
                <a:gd name="T8" fmla="*/ 2 w 2"/>
                <a:gd name="T9" fmla="*/ 1 h 1"/>
                <a:gd name="T10" fmla="*/ 1 w 2"/>
                <a:gd name="T11" fmla="*/ 0 h 1"/>
                <a:gd name="T12" fmla="*/ 0 w 2"/>
                <a:gd name="T13" fmla="*/ 1 h 1"/>
                <a:gd name="T14" fmla="*/ 0 w 2"/>
                <a:gd name="T1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04" name="Freeform 246">
              <a:extLst>
                <a:ext uri="{FF2B5EF4-FFF2-40B4-BE49-F238E27FC236}">
                  <a16:creationId xmlns:a16="http://schemas.microsoft.com/office/drawing/2014/main" id="{8EBCADDE-5F2E-4839-81D4-DD233E14D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" y="3002"/>
              <a:ext cx="4" cy="4"/>
            </a:xfrm>
            <a:custGeom>
              <a:avLst/>
              <a:gdLst>
                <a:gd name="T0" fmla="*/ 0 w 2"/>
                <a:gd name="T1" fmla="*/ 2 h 2"/>
                <a:gd name="T2" fmla="*/ 1 w 2"/>
                <a:gd name="T3" fmla="*/ 2 h 2"/>
                <a:gd name="T4" fmla="*/ 2 w 2"/>
                <a:gd name="T5" fmla="*/ 1 h 2"/>
                <a:gd name="T6" fmla="*/ 2 w 2"/>
                <a:gd name="T7" fmla="*/ 1 h 2"/>
                <a:gd name="T8" fmla="*/ 2 w 2"/>
                <a:gd name="T9" fmla="*/ 0 h 2"/>
                <a:gd name="T10" fmla="*/ 1 w 2"/>
                <a:gd name="T11" fmla="*/ 0 h 2"/>
                <a:gd name="T12" fmla="*/ 1 w 2"/>
                <a:gd name="T13" fmla="*/ 0 h 2"/>
                <a:gd name="T14" fmla="*/ 0 w 2"/>
                <a:gd name="T15" fmla="*/ 1 h 2"/>
                <a:gd name="T16" fmla="*/ 0 w 2"/>
                <a:gd name="T17" fmla="*/ 1 h 2"/>
                <a:gd name="T18" fmla="*/ 0 w 2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05" name="Freeform 247">
              <a:extLst>
                <a:ext uri="{FF2B5EF4-FFF2-40B4-BE49-F238E27FC236}">
                  <a16:creationId xmlns:a16="http://schemas.microsoft.com/office/drawing/2014/main" id="{876123C3-3582-48B1-9CE8-FF685D939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" y="2975"/>
              <a:ext cx="7" cy="15"/>
            </a:xfrm>
            <a:custGeom>
              <a:avLst/>
              <a:gdLst>
                <a:gd name="T0" fmla="*/ 0 w 3"/>
                <a:gd name="T1" fmla="*/ 5 h 6"/>
                <a:gd name="T2" fmla="*/ 0 w 3"/>
                <a:gd name="T3" fmla="*/ 5 h 6"/>
                <a:gd name="T4" fmla="*/ 0 w 3"/>
                <a:gd name="T5" fmla="*/ 6 h 6"/>
                <a:gd name="T6" fmla="*/ 1 w 3"/>
                <a:gd name="T7" fmla="*/ 6 h 6"/>
                <a:gd name="T8" fmla="*/ 2 w 3"/>
                <a:gd name="T9" fmla="*/ 6 h 6"/>
                <a:gd name="T10" fmla="*/ 2 w 3"/>
                <a:gd name="T11" fmla="*/ 5 h 6"/>
                <a:gd name="T12" fmla="*/ 2 w 3"/>
                <a:gd name="T13" fmla="*/ 5 h 6"/>
                <a:gd name="T14" fmla="*/ 2 w 3"/>
                <a:gd name="T15" fmla="*/ 5 h 6"/>
                <a:gd name="T16" fmla="*/ 3 w 3"/>
                <a:gd name="T17" fmla="*/ 5 h 6"/>
                <a:gd name="T18" fmla="*/ 3 w 3"/>
                <a:gd name="T19" fmla="*/ 4 h 6"/>
                <a:gd name="T20" fmla="*/ 2 w 3"/>
                <a:gd name="T21" fmla="*/ 3 h 6"/>
                <a:gd name="T22" fmla="*/ 2 w 3"/>
                <a:gd name="T23" fmla="*/ 3 h 6"/>
                <a:gd name="T24" fmla="*/ 2 w 3"/>
                <a:gd name="T25" fmla="*/ 3 h 6"/>
                <a:gd name="T26" fmla="*/ 3 w 3"/>
                <a:gd name="T27" fmla="*/ 2 h 6"/>
                <a:gd name="T28" fmla="*/ 3 w 3"/>
                <a:gd name="T29" fmla="*/ 2 h 6"/>
                <a:gd name="T30" fmla="*/ 3 w 3"/>
                <a:gd name="T31" fmla="*/ 2 h 6"/>
                <a:gd name="T32" fmla="*/ 3 w 3"/>
                <a:gd name="T33" fmla="*/ 1 h 6"/>
                <a:gd name="T34" fmla="*/ 3 w 3"/>
                <a:gd name="T35" fmla="*/ 0 h 6"/>
                <a:gd name="T36" fmla="*/ 3 w 3"/>
                <a:gd name="T37" fmla="*/ 0 h 6"/>
                <a:gd name="T38" fmla="*/ 2 w 3"/>
                <a:gd name="T39" fmla="*/ 0 h 6"/>
                <a:gd name="T40" fmla="*/ 2 w 3"/>
                <a:gd name="T41" fmla="*/ 0 h 6"/>
                <a:gd name="T42" fmla="*/ 1 w 3"/>
                <a:gd name="T43" fmla="*/ 0 h 6"/>
                <a:gd name="T44" fmla="*/ 1 w 3"/>
                <a:gd name="T45" fmla="*/ 1 h 6"/>
                <a:gd name="T46" fmla="*/ 1 w 3"/>
                <a:gd name="T47" fmla="*/ 3 h 6"/>
                <a:gd name="T48" fmla="*/ 1 w 3"/>
                <a:gd name="T49" fmla="*/ 3 h 6"/>
                <a:gd name="T50" fmla="*/ 1 w 3"/>
                <a:gd name="T51" fmla="*/ 3 h 6"/>
                <a:gd name="T52" fmla="*/ 1 w 3"/>
                <a:gd name="T53" fmla="*/ 4 h 6"/>
                <a:gd name="T54" fmla="*/ 0 w 3"/>
                <a:gd name="T5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" h="6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0" y="4"/>
                    <a:pt x="0" y="5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06" name="Freeform 248">
              <a:extLst>
                <a:ext uri="{FF2B5EF4-FFF2-40B4-BE49-F238E27FC236}">
                  <a16:creationId xmlns:a16="http://schemas.microsoft.com/office/drawing/2014/main" id="{9D417C2A-9F08-4A32-A407-D7849E02E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6" y="3077"/>
              <a:ext cx="14" cy="12"/>
            </a:xfrm>
            <a:custGeom>
              <a:avLst/>
              <a:gdLst>
                <a:gd name="T0" fmla="*/ 6 w 6"/>
                <a:gd name="T1" fmla="*/ 1 h 5"/>
                <a:gd name="T2" fmla="*/ 6 w 6"/>
                <a:gd name="T3" fmla="*/ 0 h 5"/>
                <a:gd name="T4" fmla="*/ 6 w 6"/>
                <a:gd name="T5" fmla="*/ 0 h 5"/>
                <a:gd name="T6" fmla="*/ 4 w 6"/>
                <a:gd name="T7" fmla="*/ 0 h 5"/>
                <a:gd name="T8" fmla="*/ 3 w 6"/>
                <a:gd name="T9" fmla="*/ 0 h 5"/>
                <a:gd name="T10" fmla="*/ 3 w 6"/>
                <a:gd name="T11" fmla="*/ 0 h 5"/>
                <a:gd name="T12" fmla="*/ 3 w 6"/>
                <a:gd name="T13" fmla="*/ 0 h 5"/>
                <a:gd name="T14" fmla="*/ 3 w 6"/>
                <a:gd name="T15" fmla="*/ 0 h 5"/>
                <a:gd name="T16" fmla="*/ 2 w 6"/>
                <a:gd name="T17" fmla="*/ 1 h 5"/>
                <a:gd name="T18" fmla="*/ 2 w 6"/>
                <a:gd name="T19" fmla="*/ 1 h 5"/>
                <a:gd name="T20" fmla="*/ 2 w 6"/>
                <a:gd name="T21" fmla="*/ 1 h 5"/>
                <a:gd name="T22" fmla="*/ 2 w 6"/>
                <a:gd name="T23" fmla="*/ 2 h 5"/>
                <a:gd name="T24" fmla="*/ 2 w 6"/>
                <a:gd name="T25" fmla="*/ 2 h 5"/>
                <a:gd name="T26" fmla="*/ 1 w 6"/>
                <a:gd name="T27" fmla="*/ 2 h 5"/>
                <a:gd name="T28" fmla="*/ 0 w 6"/>
                <a:gd name="T29" fmla="*/ 3 h 5"/>
                <a:gd name="T30" fmla="*/ 0 w 6"/>
                <a:gd name="T31" fmla="*/ 3 h 5"/>
                <a:gd name="T32" fmla="*/ 0 w 6"/>
                <a:gd name="T33" fmla="*/ 5 h 5"/>
                <a:gd name="T34" fmla="*/ 0 w 6"/>
                <a:gd name="T35" fmla="*/ 5 h 5"/>
                <a:gd name="T36" fmla="*/ 1 w 6"/>
                <a:gd name="T37" fmla="*/ 4 h 5"/>
                <a:gd name="T38" fmla="*/ 2 w 6"/>
                <a:gd name="T39" fmla="*/ 4 h 5"/>
                <a:gd name="T40" fmla="*/ 2 w 6"/>
                <a:gd name="T41" fmla="*/ 4 h 5"/>
                <a:gd name="T42" fmla="*/ 2 w 6"/>
                <a:gd name="T43" fmla="*/ 4 h 5"/>
                <a:gd name="T44" fmla="*/ 2 w 6"/>
                <a:gd name="T45" fmla="*/ 3 h 5"/>
                <a:gd name="T46" fmla="*/ 2 w 6"/>
                <a:gd name="T47" fmla="*/ 3 h 5"/>
                <a:gd name="T48" fmla="*/ 3 w 6"/>
                <a:gd name="T49" fmla="*/ 3 h 5"/>
                <a:gd name="T50" fmla="*/ 4 w 6"/>
                <a:gd name="T51" fmla="*/ 3 h 5"/>
                <a:gd name="T52" fmla="*/ 4 w 6"/>
                <a:gd name="T53" fmla="*/ 3 h 5"/>
                <a:gd name="T54" fmla="*/ 3 w 6"/>
                <a:gd name="T55" fmla="*/ 2 h 5"/>
                <a:gd name="T56" fmla="*/ 3 w 6"/>
                <a:gd name="T57" fmla="*/ 2 h 5"/>
                <a:gd name="T58" fmla="*/ 4 w 6"/>
                <a:gd name="T59" fmla="*/ 2 h 5"/>
                <a:gd name="T60" fmla="*/ 6 w 6"/>
                <a:gd name="T61" fmla="*/ 2 h 5"/>
                <a:gd name="T62" fmla="*/ 6 w 6"/>
                <a:gd name="T63" fmla="*/ 2 h 5"/>
                <a:gd name="T64" fmla="*/ 6 w 6"/>
                <a:gd name="T65" fmla="*/ 2 h 5"/>
                <a:gd name="T66" fmla="*/ 6 w 6"/>
                <a:gd name="T6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" h="5">
                  <a:moveTo>
                    <a:pt x="6" y="1"/>
                  </a:moveTo>
                  <a:cubicBezTo>
                    <a:pt x="6" y="1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" y="5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4" y="2"/>
                    <a:pt x="5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1"/>
                    <a:pt x="6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07" name="Freeform 249">
              <a:extLst>
                <a:ext uri="{FF2B5EF4-FFF2-40B4-BE49-F238E27FC236}">
                  <a16:creationId xmlns:a16="http://schemas.microsoft.com/office/drawing/2014/main" id="{516156C3-76E5-4503-87C7-D133779DF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6" y="3075"/>
              <a:ext cx="15" cy="12"/>
            </a:xfrm>
            <a:custGeom>
              <a:avLst/>
              <a:gdLst>
                <a:gd name="T0" fmla="*/ 4 w 6"/>
                <a:gd name="T1" fmla="*/ 3 h 5"/>
                <a:gd name="T2" fmla="*/ 5 w 6"/>
                <a:gd name="T3" fmla="*/ 2 h 5"/>
                <a:gd name="T4" fmla="*/ 5 w 6"/>
                <a:gd name="T5" fmla="*/ 2 h 5"/>
                <a:gd name="T6" fmla="*/ 6 w 6"/>
                <a:gd name="T7" fmla="*/ 1 h 5"/>
                <a:gd name="T8" fmla="*/ 5 w 6"/>
                <a:gd name="T9" fmla="*/ 0 h 5"/>
                <a:gd name="T10" fmla="*/ 4 w 6"/>
                <a:gd name="T11" fmla="*/ 0 h 5"/>
                <a:gd name="T12" fmla="*/ 4 w 6"/>
                <a:gd name="T13" fmla="*/ 1 h 5"/>
                <a:gd name="T14" fmla="*/ 3 w 6"/>
                <a:gd name="T15" fmla="*/ 1 h 5"/>
                <a:gd name="T16" fmla="*/ 3 w 6"/>
                <a:gd name="T17" fmla="*/ 1 h 5"/>
                <a:gd name="T18" fmla="*/ 2 w 6"/>
                <a:gd name="T19" fmla="*/ 1 h 5"/>
                <a:gd name="T20" fmla="*/ 2 w 6"/>
                <a:gd name="T21" fmla="*/ 1 h 5"/>
                <a:gd name="T22" fmla="*/ 1 w 6"/>
                <a:gd name="T23" fmla="*/ 1 h 5"/>
                <a:gd name="T24" fmla="*/ 1 w 6"/>
                <a:gd name="T25" fmla="*/ 1 h 5"/>
                <a:gd name="T26" fmla="*/ 2 w 6"/>
                <a:gd name="T27" fmla="*/ 2 h 5"/>
                <a:gd name="T28" fmla="*/ 1 w 6"/>
                <a:gd name="T29" fmla="*/ 3 h 5"/>
                <a:gd name="T30" fmla="*/ 1 w 6"/>
                <a:gd name="T31" fmla="*/ 3 h 5"/>
                <a:gd name="T32" fmla="*/ 1 w 6"/>
                <a:gd name="T33" fmla="*/ 3 h 5"/>
                <a:gd name="T34" fmla="*/ 2 w 6"/>
                <a:gd name="T35" fmla="*/ 3 h 5"/>
                <a:gd name="T36" fmla="*/ 1 w 6"/>
                <a:gd name="T37" fmla="*/ 4 h 5"/>
                <a:gd name="T38" fmla="*/ 0 w 6"/>
                <a:gd name="T39" fmla="*/ 4 h 5"/>
                <a:gd name="T40" fmla="*/ 0 w 6"/>
                <a:gd name="T41" fmla="*/ 4 h 5"/>
                <a:gd name="T42" fmla="*/ 1 w 6"/>
                <a:gd name="T43" fmla="*/ 5 h 5"/>
                <a:gd name="T44" fmla="*/ 1 w 6"/>
                <a:gd name="T45" fmla="*/ 5 h 5"/>
                <a:gd name="T46" fmla="*/ 2 w 6"/>
                <a:gd name="T47" fmla="*/ 5 h 5"/>
                <a:gd name="T48" fmla="*/ 2 w 6"/>
                <a:gd name="T49" fmla="*/ 5 h 5"/>
                <a:gd name="T50" fmla="*/ 2 w 6"/>
                <a:gd name="T51" fmla="*/ 5 h 5"/>
                <a:gd name="T52" fmla="*/ 2 w 6"/>
                <a:gd name="T53" fmla="*/ 4 h 5"/>
                <a:gd name="T54" fmla="*/ 3 w 6"/>
                <a:gd name="T55" fmla="*/ 4 h 5"/>
                <a:gd name="T56" fmla="*/ 3 w 6"/>
                <a:gd name="T57" fmla="*/ 4 h 5"/>
                <a:gd name="T58" fmla="*/ 3 w 6"/>
                <a:gd name="T59" fmla="*/ 4 h 5"/>
                <a:gd name="T60" fmla="*/ 3 w 6"/>
                <a:gd name="T61" fmla="*/ 4 h 5"/>
                <a:gd name="T62" fmla="*/ 3 w 6"/>
                <a:gd name="T63" fmla="*/ 4 h 5"/>
                <a:gd name="T64" fmla="*/ 4 w 6"/>
                <a:gd name="T6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" h="5">
                  <a:moveTo>
                    <a:pt x="4" y="3"/>
                  </a:moveTo>
                  <a:cubicBezTo>
                    <a:pt x="4" y="3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5" y="1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2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3"/>
                    <a:pt x="4" y="3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08" name="Freeform 250">
              <a:extLst>
                <a:ext uri="{FF2B5EF4-FFF2-40B4-BE49-F238E27FC236}">
                  <a16:creationId xmlns:a16="http://schemas.microsoft.com/office/drawing/2014/main" id="{EA7646DD-0933-4AC7-B0C0-41EF0D6C6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" y="3082"/>
              <a:ext cx="5" cy="0"/>
            </a:xfrm>
            <a:custGeom>
              <a:avLst/>
              <a:gdLst>
                <a:gd name="T0" fmla="*/ 2 w 2"/>
                <a:gd name="T1" fmla="*/ 1 w 2"/>
                <a:gd name="T2" fmla="*/ 1 w 2"/>
                <a:gd name="T3" fmla="*/ 1 w 2"/>
                <a:gd name="T4" fmla="*/ 1 w 2"/>
                <a:gd name="T5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09" name="Freeform 251">
              <a:extLst>
                <a:ext uri="{FF2B5EF4-FFF2-40B4-BE49-F238E27FC236}">
                  <a16:creationId xmlns:a16="http://schemas.microsoft.com/office/drawing/2014/main" id="{FF722F8C-0FDB-4004-968D-CBB683D53A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8" y="2024"/>
              <a:ext cx="14" cy="9"/>
            </a:xfrm>
            <a:custGeom>
              <a:avLst/>
              <a:gdLst>
                <a:gd name="T0" fmla="*/ 5 w 6"/>
                <a:gd name="T1" fmla="*/ 1 h 4"/>
                <a:gd name="T2" fmla="*/ 5 w 6"/>
                <a:gd name="T3" fmla="*/ 1 h 4"/>
                <a:gd name="T4" fmla="*/ 4 w 6"/>
                <a:gd name="T5" fmla="*/ 1 h 4"/>
                <a:gd name="T6" fmla="*/ 4 w 6"/>
                <a:gd name="T7" fmla="*/ 1 h 4"/>
                <a:gd name="T8" fmla="*/ 3 w 6"/>
                <a:gd name="T9" fmla="*/ 1 h 4"/>
                <a:gd name="T10" fmla="*/ 3 w 6"/>
                <a:gd name="T11" fmla="*/ 1 h 4"/>
                <a:gd name="T12" fmla="*/ 2 w 6"/>
                <a:gd name="T13" fmla="*/ 1 h 4"/>
                <a:gd name="T14" fmla="*/ 2 w 6"/>
                <a:gd name="T15" fmla="*/ 1 h 4"/>
                <a:gd name="T16" fmla="*/ 1 w 6"/>
                <a:gd name="T17" fmla="*/ 2 h 4"/>
                <a:gd name="T18" fmla="*/ 1 w 6"/>
                <a:gd name="T19" fmla="*/ 2 h 4"/>
                <a:gd name="T20" fmla="*/ 1 w 6"/>
                <a:gd name="T21" fmla="*/ 2 h 4"/>
                <a:gd name="T22" fmla="*/ 0 w 6"/>
                <a:gd name="T23" fmla="*/ 3 h 4"/>
                <a:gd name="T24" fmla="*/ 0 w 6"/>
                <a:gd name="T25" fmla="*/ 3 h 4"/>
                <a:gd name="T26" fmla="*/ 1 w 6"/>
                <a:gd name="T27" fmla="*/ 4 h 4"/>
                <a:gd name="T28" fmla="*/ 1 w 6"/>
                <a:gd name="T29" fmla="*/ 4 h 4"/>
                <a:gd name="T30" fmla="*/ 2 w 6"/>
                <a:gd name="T31" fmla="*/ 4 h 4"/>
                <a:gd name="T32" fmla="*/ 2 w 6"/>
                <a:gd name="T33" fmla="*/ 3 h 4"/>
                <a:gd name="T34" fmla="*/ 3 w 6"/>
                <a:gd name="T35" fmla="*/ 3 h 4"/>
                <a:gd name="T36" fmla="*/ 3 w 6"/>
                <a:gd name="T37" fmla="*/ 3 h 4"/>
                <a:gd name="T38" fmla="*/ 4 w 6"/>
                <a:gd name="T39" fmla="*/ 3 h 4"/>
                <a:gd name="T40" fmla="*/ 5 w 6"/>
                <a:gd name="T41" fmla="*/ 3 h 4"/>
                <a:gd name="T42" fmla="*/ 5 w 6"/>
                <a:gd name="T43" fmla="*/ 2 h 4"/>
                <a:gd name="T44" fmla="*/ 5 w 6"/>
                <a:gd name="T45" fmla="*/ 2 h 4"/>
                <a:gd name="T46" fmla="*/ 5 w 6"/>
                <a:gd name="T4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" h="4">
                  <a:moveTo>
                    <a:pt x="5" y="1"/>
                  </a:moveTo>
                  <a:cubicBezTo>
                    <a:pt x="5" y="1"/>
                    <a:pt x="5" y="0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4" y="3"/>
                    <a:pt x="5" y="3"/>
                    <a:pt x="5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2"/>
                    <a:pt x="6" y="3"/>
                    <a:pt x="5" y="2"/>
                  </a:cubicBezTo>
                  <a:lnTo>
                    <a:pt x="5" y="1"/>
                  </a:ln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0" name="Freeform 252">
              <a:extLst>
                <a:ext uri="{FF2B5EF4-FFF2-40B4-BE49-F238E27FC236}">
                  <a16:creationId xmlns:a16="http://schemas.microsoft.com/office/drawing/2014/main" id="{C64683D7-04E2-42F4-9AAD-36AADC171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9" y="2038"/>
              <a:ext cx="12" cy="7"/>
            </a:xfrm>
            <a:custGeom>
              <a:avLst/>
              <a:gdLst>
                <a:gd name="T0" fmla="*/ 4 w 5"/>
                <a:gd name="T1" fmla="*/ 1 h 3"/>
                <a:gd name="T2" fmla="*/ 4 w 5"/>
                <a:gd name="T3" fmla="*/ 1 h 3"/>
                <a:gd name="T4" fmla="*/ 4 w 5"/>
                <a:gd name="T5" fmla="*/ 0 h 3"/>
                <a:gd name="T6" fmla="*/ 3 w 5"/>
                <a:gd name="T7" fmla="*/ 0 h 3"/>
                <a:gd name="T8" fmla="*/ 2 w 5"/>
                <a:gd name="T9" fmla="*/ 0 h 3"/>
                <a:gd name="T10" fmla="*/ 2 w 5"/>
                <a:gd name="T11" fmla="*/ 0 h 3"/>
                <a:gd name="T12" fmla="*/ 2 w 5"/>
                <a:gd name="T13" fmla="*/ 0 h 3"/>
                <a:gd name="T14" fmla="*/ 1 w 5"/>
                <a:gd name="T15" fmla="*/ 0 h 3"/>
                <a:gd name="T16" fmla="*/ 2 w 5"/>
                <a:gd name="T17" fmla="*/ 0 h 3"/>
                <a:gd name="T18" fmla="*/ 2 w 5"/>
                <a:gd name="T19" fmla="*/ 1 h 3"/>
                <a:gd name="T20" fmla="*/ 1 w 5"/>
                <a:gd name="T21" fmla="*/ 2 h 3"/>
                <a:gd name="T22" fmla="*/ 1 w 5"/>
                <a:gd name="T23" fmla="*/ 2 h 3"/>
                <a:gd name="T24" fmla="*/ 0 w 5"/>
                <a:gd name="T25" fmla="*/ 3 h 3"/>
                <a:gd name="T26" fmla="*/ 0 w 5"/>
                <a:gd name="T27" fmla="*/ 3 h 3"/>
                <a:gd name="T28" fmla="*/ 1 w 5"/>
                <a:gd name="T29" fmla="*/ 3 h 3"/>
                <a:gd name="T30" fmla="*/ 1 w 5"/>
                <a:gd name="T31" fmla="*/ 3 h 3"/>
                <a:gd name="T32" fmla="*/ 3 w 5"/>
                <a:gd name="T33" fmla="*/ 2 h 3"/>
                <a:gd name="T34" fmla="*/ 4 w 5"/>
                <a:gd name="T35" fmla="*/ 2 h 3"/>
                <a:gd name="T36" fmla="*/ 4 w 5"/>
                <a:gd name="T3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2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1"/>
                    <a:pt x="4" y="1"/>
                    <a:pt x="4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1" name="Freeform 253">
              <a:extLst>
                <a:ext uri="{FF2B5EF4-FFF2-40B4-BE49-F238E27FC236}">
                  <a16:creationId xmlns:a16="http://schemas.microsoft.com/office/drawing/2014/main" id="{7F4CEB70-F0EC-4ACA-B356-D6ED9DF3C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9" y="2043"/>
              <a:ext cx="8" cy="7"/>
            </a:xfrm>
            <a:custGeom>
              <a:avLst/>
              <a:gdLst>
                <a:gd name="T0" fmla="*/ 2 w 3"/>
                <a:gd name="T1" fmla="*/ 0 h 3"/>
                <a:gd name="T2" fmla="*/ 2 w 3"/>
                <a:gd name="T3" fmla="*/ 0 h 3"/>
                <a:gd name="T4" fmla="*/ 2 w 3"/>
                <a:gd name="T5" fmla="*/ 0 h 3"/>
                <a:gd name="T6" fmla="*/ 1 w 3"/>
                <a:gd name="T7" fmla="*/ 1 h 3"/>
                <a:gd name="T8" fmla="*/ 1 w 3"/>
                <a:gd name="T9" fmla="*/ 1 h 3"/>
                <a:gd name="T10" fmla="*/ 0 w 3"/>
                <a:gd name="T11" fmla="*/ 1 h 3"/>
                <a:gd name="T12" fmla="*/ 0 w 3"/>
                <a:gd name="T13" fmla="*/ 2 h 3"/>
                <a:gd name="T14" fmla="*/ 0 w 3"/>
                <a:gd name="T15" fmla="*/ 2 h 3"/>
                <a:gd name="T16" fmla="*/ 0 w 3"/>
                <a:gd name="T17" fmla="*/ 2 h 3"/>
                <a:gd name="T18" fmla="*/ 0 w 3"/>
                <a:gd name="T19" fmla="*/ 3 h 3"/>
                <a:gd name="T20" fmla="*/ 0 w 3"/>
                <a:gd name="T21" fmla="*/ 3 h 3"/>
                <a:gd name="T22" fmla="*/ 1 w 3"/>
                <a:gd name="T23" fmla="*/ 2 h 3"/>
                <a:gd name="T24" fmla="*/ 2 w 3"/>
                <a:gd name="T25" fmla="*/ 1 h 3"/>
                <a:gd name="T26" fmla="*/ 3 w 3"/>
                <a:gd name="T27" fmla="*/ 1 h 3"/>
                <a:gd name="T28" fmla="*/ 3 w 3"/>
                <a:gd name="T29" fmla="*/ 0 h 3"/>
                <a:gd name="T30" fmla="*/ 3 w 3"/>
                <a:gd name="T31" fmla="*/ 0 h 3"/>
                <a:gd name="T32" fmla="*/ 2 w 3"/>
                <a:gd name="T3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2" name="Freeform 254">
              <a:extLst>
                <a:ext uri="{FF2B5EF4-FFF2-40B4-BE49-F238E27FC236}">
                  <a16:creationId xmlns:a16="http://schemas.microsoft.com/office/drawing/2014/main" id="{2BF74D3E-1721-4B32-BE3A-B2B824C46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6" y="1991"/>
              <a:ext cx="19" cy="14"/>
            </a:xfrm>
            <a:custGeom>
              <a:avLst/>
              <a:gdLst>
                <a:gd name="T0" fmla="*/ 8 w 8"/>
                <a:gd name="T1" fmla="*/ 2 h 6"/>
                <a:gd name="T2" fmla="*/ 7 w 8"/>
                <a:gd name="T3" fmla="*/ 1 h 6"/>
                <a:gd name="T4" fmla="*/ 8 w 8"/>
                <a:gd name="T5" fmla="*/ 1 h 6"/>
                <a:gd name="T6" fmla="*/ 8 w 8"/>
                <a:gd name="T7" fmla="*/ 0 h 6"/>
                <a:gd name="T8" fmla="*/ 6 w 8"/>
                <a:gd name="T9" fmla="*/ 0 h 6"/>
                <a:gd name="T10" fmla="*/ 6 w 8"/>
                <a:gd name="T11" fmla="*/ 0 h 6"/>
                <a:gd name="T12" fmla="*/ 5 w 8"/>
                <a:gd name="T13" fmla="*/ 0 h 6"/>
                <a:gd name="T14" fmla="*/ 4 w 8"/>
                <a:gd name="T15" fmla="*/ 0 h 6"/>
                <a:gd name="T16" fmla="*/ 5 w 8"/>
                <a:gd name="T17" fmla="*/ 1 h 6"/>
                <a:gd name="T18" fmla="*/ 4 w 8"/>
                <a:gd name="T19" fmla="*/ 1 h 6"/>
                <a:gd name="T20" fmla="*/ 4 w 8"/>
                <a:gd name="T21" fmla="*/ 1 h 6"/>
                <a:gd name="T22" fmla="*/ 3 w 8"/>
                <a:gd name="T23" fmla="*/ 1 h 6"/>
                <a:gd name="T24" fmla="*/ 3 w 8"/>
                <a:gd name="T25" fmla="*/ 2 h 6"/>
                <a:gd name="T26" fmla="*/ 3 w 8"/>
                <a:gd name="T27" fmla="*/ 2 h 6"/>
                <a:gd name="T28" fmla="*/ 3 w 8"/>
                <a:gd name="T29" fmla="*/ 3 h 6"/>
                <a:gd name="T30" fmla="*/ 2 w 8"/>
                <a:gd name="T31" fmla="*/ 2 h 6"/>
                <a:gd name="T32" fmla="*/ 2 w 8"/>
                <a:gd name="T33" fmla="*/ 2 h 6"/>
                <a:gd name="T34" fmla="*/ 1 w 8"/>
                <a:gd name="T35" fmla="*/ 2 h 6"/>
                <a:gd name="T36" fmla="*/ 0 w 8"/>
                <a:gd name="T37" fmla="*/ 3 h 6"/>
                <a:gd name="T38" fmla="*/ 0 w 8"/>
                <a:gd name="T39" fmla="*/ 3 h 6"/>
                <a:gd name="T40" fmla="*/ 1 w 8"/>
                <a:gd name="T41" fmla="*/ 4 h 6"/>
                <a:gd name="T42" fmla="*/ 1 w 8"/>
                <a:gd name="T43" fmla="*/ 4 h 6"/>
                <a:gd name="T44" fmla="*/ 2 w 8"/>
                <a:gd name="T45" fmla="*/ 5 h 6"/>
                <a:gd name="T46" fmla="*/ 2 w 8"/>
                <a:gd name="T47" fmla="*/ 5 h 6"/>
                <a:gd name="T48" fmla="*/ 2 w 8"/>
                <a:gd name="T49" fmla="*/ 6 h 6"/>
                <a:gd name="T50" fmla="*/ 3 w 8"/>
                <a:gd name="T51" fmla="*/ 6 h 6"/>
                <a:gd name="T52" fmla="*/ 4 w 8"/>
                <a:gd name="T53" fmla="*/ 5 h 6"/>
                <a:gd name="T54" fmla="*/ 4 w 8"/>
                <a:gd name="T55" fmla="*/ 4 h 6"/>
                <a:gd name="T56" fmla="*/ 5 w 8"/>
                <a:gd name="T57" fmla="*/ 4 h 6"/>
                <a:gd name="T58" fmla="*/ 6 w 8"/>
                <a:gd name="T59" fmla="*/ 3 h 6"/>
                <a:gd name="T60" fmla="*/ 7 w 8"/>
                <a:gd name="T61" fmla="*/ 4 h 6"/>
                <a:gd name="T62" fmla="*/ 6 w 8"/>
                <a:gd name="T63" fmla="*/ 3 h 6"/>
                <a:gd name="T64" fmla="*/ 7 w 8"/>
                <a:gd name="T65" fmla="*/ 2 h 6"/>
                <a:gd name="T66" fmla="*/ 8 w 8"/>
                <a:gd name="T67" fmla="*/ 3 h 6"/>
                <a:gd name="T68" fmla="*/ 8 w 8"/>
                <a:gd name="T69" fmla="*/ 2 h 6"/>
                <a:gd name="T70" fmla="*/ 8 w 8"/>
                <a:gd name="T7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cubicBezTo>
                    <a:pt x="8" y="2"/>
                    <a:pt x="7" y="2"/>
                    <a:pt x="7" y="1"/>
                  </a:cubicBezTo>
                  <a:cubicBezTo>
                    <a:pt x="7" y="1"/>
                    <a:pt x="7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3" y="0"/>
                    <a:pt x="3" y="1"/>
                  </a:cubicBezTo>
                  <a:cubicBezTo>
                    <a:pt x="2" y="1"/>
                    <a:pt x="3" y="1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3" y="3"/>
                    <a:pt x="2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1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3" y="6"/>
                  </a:cubicBezTo>
                  <a:cubicBezTo>
                    <a:pt x="4" y="6"/>
                    <a:pt x="3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6" y="3"/>
                    <a:pt x="6" y="3"/>
                  </a:cubicBezTo>
                  <a:cubicBezTo>
                    <a:pt x="6" y="3"/>
                    <a:pt x="7" y="4"/>
                    <a:pt x="7" y="4"/>
                  </a:cubicBezTo>
                  <a:cubicBezTo>
                    <a:pt x="7" y="3"/>
                    <a:pt x="7" y="3"/>
                    <a:pt x="6" y="3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7" y="2"/>
                    <a:pt x="8" y="3"/>
                    <a:pt x="8" y="3"/>
                  </a:cubicBezTo>
                  <a:cubicBezTo>
                    <a:pt x="8" y="3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3" name="Freeform 255">
              <a:extLst>
                <a:ext uri="{FF2B5EF4-FFF2-40B4-BE49-F238E27FC236}">
                  <a16:creationId xmlns:a16="http://schemas.microsoft.com/office/drawing/2014/main" id="{6D246D5D-056B-4B0C-96D2-B94E3AA13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" y="1984"/>
              <a:ext cx="9" cy="7"/>
            </a:xfrm>
            <a:custGeom>
              <a:avLst/>
              <a:gdLst>
                <a:gd name="T0" fmla="*/ 3 w 4"/>
                <a:gd name="T1" fmla="*/ 1 h 3"/>
                <a:gd name="T2" fmla="*/ 2 w 4"/>
                <a:gd name="T3" fmla="*/ 1 h 3"/>
                <a:gd name="T4" fmla="*/ 1 w 4"/>
                <a:gd name="T5" fmla="*/ 1 h 3"/>
                <a:gd name="T6" fmla="*/ 1 w 4"/>
                <a:gd name="T7" fmla="*/ 1 h 3"/>
                <a:gd name="T8" fmla="*/ 1 w 4"/>
                <a:gd name="T9" fmla="*/ 1 h 3"/>
                <a:gd name="T10" fmla="*/ 0 w 4"/>
                <a:gd name="T11" fmla="*/ 1 h 3"/>
                <a:gd name="T12" fmla="*/ 0 w 4"/>
                <a:gd name="T13" fmla="*/ 2 h 3"/>
                <a:gd name="T14" fmla="*/ 1 w 4"/>
                <a:gd name="T15" fmla="*/ 3 h 3"/>
                <a:gd name="T16" fmla="*/ 1 w 4"/>
                <a:gd name="T17" fmla="*/ 3 h 3"/>
                <a:gd name="T18" fmla="*/ 2 w 4"/>
                <a:gd name="T19" fmla="*/ 2 h 3"/>
                <a:gd name="T20" fmla="*/ 2 w 4"/>
                <a:gd name="T21" fmla="*/ 2 h 3"/>
                <a:gd name="T22" fmla="*/ 3 w 4"/>
                <a:gd name="T23" fmla="*/ 2 h 3"/>
                <a:gd name="T24" fmla="*/ 3 w 4"/>
                <a:gd name="T25" fmla="*/ 2 h 3"/>
                <a:gd name="T26" fmla="*/ 4 w 4"/>
                <a:gd name="T27" fmla="*/ 2 h 3"/>
                <a:gd name="T28" fmla="*/ 3 w 4"/>
                <a:gd name="T2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" h="3">
                  <a:moveTo>
                    <a:pt x="3" y="1"/>
                  </a:move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3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4" name="Freeform 256">
              <a:extLst>
                <a:ext uri="{FF2B5EF4-FFF2-40B4-BE49-F238E27FC236}">
                  <a16:creationId xmlns:a16="http://schemas.microsoft.com/office/drawing/2014/main" id="{9A2258CE-76D5-4C02-98FA-4548E85F9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8" y="1701"/>
              <a:ext cx="17" cy="5"/>
            </a:xfrm>
            <a:custGeom>
              <a:avLst/>
              <a:gdLst>
                <a:gd name="T0" fmla="*/ 7 w 7"/>
                <a:gd name="T1" fmla="*/ 1 h 2"/>
                <a:gd name="T2" fmla="*/ 6 w 7"/>
                <a:gd name="T3" fmla="*/ 1 h 2"/>
                <a:gd name="T4" fmla="*/ 3 w 7"/>
                <a:gd name="T5" fmla="*/ 1 h 2"/>
                <a:gd name="T6" fmla="*/ 3 w 7"/>
                <a:gd name="T7" fmla="*/ 1 h 2"/>
                <a:gd name="T8" fmla="*/ 2 w 7"/>
                <a:gd name="T9" fmla="*/ 0 h 2"/>
                <a:gd name="T10" fmla="*/ 1 w 7"/>
                <a:gd name="T11" fmla="*/ 0 h 2"/>
                <a:gd name="T12" fmla="*/ 0 w 7"/>
                <a:gd name="T13" fmla="*/ 0 h 2"/>
                <a:gd name="T14" fmla="*/ 0 w 7"/>
                <a:gd name="T15" fmla="*/ 0 h 2"/>
                <a:gd name="T16" fmla="*/ 0 w 7"/>
                <a:gd name="T17" fmla="*/ 1 h 2"/>
                <a:gd name="T18" fmla="*/ 1 w 7"/>
                <a:gd name="T19" fmla="*/ 1 h 2"/>
                <a:gd name="T20" fmla="*/ 3 w 7"/>
                <a:gd name="T21" fmla="*/ 2 h 2"/>
                <a:gd name="T22" fmla="*/ 4 w 7"/>
                <a:gd name="T23" fmla="*/ 2 h 2"/>
                <a:gd name="T24" fmla="*/ 6 w 7"/>
                <a:gd name="T25" fmla="*/ 2 h 2"/>
                <a:gd name="T26" fmla="*/ 6 w 7"/>
                <a:gd name="T27" fmla="*/ 2 h 2"/>
                <a:gd name="T28" fmla="*/ 7 w 7"/>
                <a:gd name="T29" fmla="*/ 2 h 2"/>
                <a:gd name="T30" fmla="*/ 7 w 7"/>
                <a:gd name="T31" fmla="*/ 1 h 2"/>
                <a:gd name="T32" fmla="*/ 7 w 7"/>
                <a:gd name="T3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2">
                  <a:moveTo>
                    <a:pt x="7" y="1"/>
                  </a:moveTo>
                  <a:cubicBezTo>
                    <a:pt x="7" y="1"/>
                    <a:pt x="6" y="1"/>
                    <a:pt x="6" y="1"/>
                  </a:cubicBezTo>
                  <a:cubicBezTo>
                    <a:pt x="5" y="1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3" y="2"/>
                    <a:pt x="4" y="2"/>
                  </a:cubicBezTo>
                  <a:cubicBezTo>
                    <a:pt x="4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5" name="Freeform 257">
              <a:extLst>
                <a:ext uri="{FF2B5EF4-FFF2-40B4-BE49-F238E27FC236}">
                  <a16:creationId xmlns:a16="http://schemas.microsoft.com/office/drawing/2014/main" id="{50AC739F-D950-4306-8CD4-2E4DFB6616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2" y="1632"/>
              <a:ext cx="464" cy="335"/>
            </a:xfrm>
            <a:custGeom>
              <a:avLst/>
              <a:gdLst>
                <a:gd name="T0" fmla="*/ 155 w 196"/>
                <a:gd name="T1" fmla="*/ 84 h 141"/>
                <a:gd name="T2" fmla="*/ 146 w 196"/>
                <a:gd name="T3" fmla="*/ 84 h 141"/>
                <a:gd name="T4" fmla="*/ 147 w 196"/>
                <a:gd name="T5" fmla="*/ 75 h 141"/>
                <a:gd name="T6" fmla="*/ 165 w 196"/>
                <a:gd name="T7" fmla="*/ 83 h 141"/>
                <a:gd name="T8" fmla="*/ 163 w 196"/>
                <a:gd name="T9" fmla="*/ 76 h 141"/>
                <a:gd name="T10" fmla="*/ 155 w 196"/>
                <a:gd name="T11" fmla="*/ 69 h 141"/>
                <a:gd name="T12" fmla="*/ 158 w 196"/>
                <a:gd name="T13" fmla="*/ 65 h 141"/>
                <a:gd name="T14" fmla="*/ 170 w 196"/>
                <a:gd name="T15" fmla="*/ 63 h 141"/>
                <a:gd name="T16" fmla="*/ 164 w 196"/>
                <a:gd name="T17" fmla="*/ 60 h 141"/>
                <a:gd name="T18" fmla="*/ 174 w 196"/>
                <a:gd name="T19" fmla="*/ 60 h 141"/>
                <a:gd name="T20" fmla="*/ 166 w 196"/>
                <a:gd name="T21" fmla="*/ 53 h 141"/>
                <a:gd name="T22" fmla="*/ 172 w 196"/>
                <a:gd name="T23" fmla="*/ 52 h 141"/>
                <a:gd name="T24" fmla="*/ 166 w 196"/>
                <a:gd name="T25" fmla="*/ 48 h 141"/>
                <a:gd name="T26" fmla="*/ 174 w 196"/>
                <a:gd name="T27" fmla="*/ 42 h 141"/>
                <a:gd name="T28" fmla="*/ 170 w 196"/>
                <a:gd name="T29" fmla="*/ 38 h 141"/>
                <a:gd name="T30" fmla="*/ 170 w 196"/>
                <a:gd name="T31" fmla="*/ 32 h 141"/>
                <a:gd name="T32" fmla="*/ 171 w 196"/>
                <a:gd name="T33" fmla="*/ 25 h 141"/>
                <a:gd name="T34" fmla="*/ 180 w 196"/>
                <a:gd name="T35" fmla="*/ 21 h 141"/>
                <a:gd name="T36" fmla="*/ 188 w 196"/>
                <a:gd name="T37" fmla="*/ 19 h 141"/>
                <a:gd name="T38" fmla="*/ 181 w 196"/>
                <a:gd name="T39" fmla="*/ 12 h 141"/>
                <a:gd name="T40" fmla="*/ 172 w 196"/>
                <a:gd name="T41" fmla="*/ 15 h 141"/>
                <a:gd name="T42" fmla="*/ 159 w 196"/>
                <a:gd name="T43" fmla="*/ 20 h 141"/>
                <a:gd name="T44" fmla="*/ 158 w 196"/>
                <a:gd name="T45" fmla="*/ 12 h 141"/>
                <a:gd name="T46" fmla="*/ 142 w 196"/>
                <a:gd name="T47" fmla="*/ 12 h 141"/>
                <a:gd name="T48" fmla="*/ 138 w 196"/>
                <a:gd name="T49" fmla="*/ 10 h 141"/>
                <a:gd name="T50" fmla="*/ 161 w 196"/>
                <a:gd name="T51" fmla="*/ 6 h 141"/>
                <a:gd name="T52" fmla="*/ 135 w 196"/>
                <a:gd name="T53" fmla="*/ 4 h 141"/>
                <a:gd name="T54" fmla="*/ 136 w 196"/>
                <a:gd name="T55" fmla="*/ 0 h 141"/>
                <a:gd name="T56" fmla="*/ 119 w 196"/>
                <a:gd name="T57" fmla="*/ 1 h 141"/>
                <a:gd name="T58" fmla="*/ 114 w 196"/>
                <a:gd name="T59" fmla="*/ 4 h 141"/>
                <a:gd name="T60" fmla="*/ 86 w 196"/>
                <a:gd name="T61" fmla="*/ 5 h 141"/>
                <a:gd name="T62" fmla="*/ 106 w 196"/>
                <a:gd name="T63" fmla="*/ 8 h 141"/>
                <a:gd name="T64" fmla="*/ 90 w 196"/>
                <a:gd name="T65" fmla="*/ 7 h 141"/>
                <a:gd name="T66" fmla="*/ 93 w 196"/>
                <a:gd name="T67" fmla="*/ 13 h 141"/>
                <a:gd name="T68" fmla="*/ 73 w 196"/>
                <a:gd name="T69" fmla="*/ 12 h 141"/>
                <a:gd name="T70" fmla="*/ 63 w 196"/>
                <a:gd name="T71" fmla="*/ 13 h 141"/>
                <a:gd name="T72" fmla="*/ 52 w 196"/>
                <a:gd name="T73" fmla="*/ 14 h 141"/>
                <a:gd name="T74" fmla="*/ 39 w 196"/>
                <a:gd name="T75" fmla="*/ 17 h 141"/>
                <a:gd name="T76" fmla="*/ 27 w 196"/>
                <a:gd name="T77" fmla="*/ 20 h 141"/>
                <a:gd name="T78" fmla="*/ 28 w 196"/>
                <a:gd name="T79" fmla="*/ 24 h 141"/>
                <a:gd name="T80" fmla="*/ 26 w 196"/>
                <a:gd name="T81" fmla="*/ 29 h 141"/>
                <a:gd name="T82" fmla="*/ 11 w 196"/>
                <a:gd name="T83" fmla="*/ 33 h 141"/>
                <a:gd name="T84" fmla="*/ 16 w 196"/>
                <a:gd name="T85" fmla="*/ 41 h 141"/>
                <a:gd name="T86" fmla="*/ 13 w 196"/>
                <a:gd name="T87" fmla="*/ 46 h 141"/>
                <a:gd name="T88" fmla="*/ 26 w 196"/>
                <a:gd name="T89" fmla="*/ 49 h 141"/>
                <a:gd name="T90" fmla="*/ 52 w 196"/>
                <a:gd name="T91" fmla="*/ 57 h 141"/>
                <a:gd name="T92" fmla="*/ 60 w 196"/>
                <a:gd name="T93" fmla="*/ 71 h 141"/>
                <a:gd name="T94" fmla="*/ 66 w 196"/>
                <a:gd name="T95" fmla="*/ 79 h 141"/>
                <a:gd name="T96" fmla="*/ 62 w 196"/>
                <a:gd name="T97" fmla="*/ 82 h 141"/>
                <a:gd name="T98" fmla="*/ 72 w 196"/>
                <a:gd name="T99" fmla="*/ 90 h 141"/>
                <a:gd name="T100" fmla="*/ 64 w 196"/>
                <a:gd name="T101" fmla="*/ 103 h 141"/>
                <a:gd name="T102" fmla="*/ 69 w 196"/>
                <a:gd name="T103" fmla="*/ 118 h 141"/>
                <a:gd name="T104" fmla="*/ 73 w 196"/>
                <a:gd name="T105" fmla="*/ 124 h 141"/>
                <a:gd name="T106" fmla="*/ 82 w 196"/>
                <a:gd name="T107" fmla="*/ 136 h 141"/>
                <a:gd name="T108" fmla="*/ 93 w 196"/>
                <a:gd name="T109" fmla="*/ 140 h 141"/>
                <a:gd name="T110" fmla="*/ 100 w 196"/>
                <a:gd name="T111" fmla="*/ 129 h 141"/>
                <a:gd name="T112" fmla="*/ 103 w 196"/>
                <a:gd name="T113" fmla="*/ 118 h 141"/>
                <a:gd name="T114" fmla="*/ 111 w 196"/>
                <a:gd name="T115" fmla="*/ 111 h 141"/>
                <a:gd name="T116" fmla="*/ 120 w 196"/>
                <a:gd name="T117" fmla="*/ 109 h 141"/>
                <a:gd name="T118" fmla="*/ 141 w 196"/>
                <a:gd name="T119" fmla="*/ 97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6" h="141">
                  <a:moveTo>
                    <a:pt x="158" y="89"/>
                  </a:moveTo>
                  <a:cubicBezTo>
                    <a:pt x="158" y="89"/>
                    <a:pt x="158" y="89"/>
                    <a:pt x="158" y="89"/>
                  </a:cubicBezTo>
                  <a:cubicBezTo>
                    <a:pt x="158" y="89"/>
                    <a:pt x="158" y="89"/>
                    <a:pt x="159" y="89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87"/>
                    <a:pt x="159" y="87"/>
                    <a:pt x="159" y="87"/>
                  </a:cubicBezTo>
                  <a:cubicBezTo>
                    <a:pt x="160" y="87"/>
                    <a:pt x="161" y="87"/>
                    <a:pt x="161" y="87"/>
                  </a:cubicBezTo>
                  <a:cubicBezTo>
                    <a:pt x="161" y="87"/>
                    <a:pt x="161" y="87"/>
                    <a:pt x="161" y="87"/>
                  </a:cubicBezTo>
                  <a:cubicBezTo>
                    <a:pt x="161" y="87"/>
                    <a:pt x="161" y="87"/>
                    <a:pt x="161" y="87"/>
                  </a:cubicBezTo>
                  <a:cubicBezTo>
                    <a:pt x="162" y="87"/>
                    <a:pt x="163" y="86"/>
                    <a:pt x="163" y="86"/>
                  </a:cubicBezTo>
                  <a:cubicBezTo>
                    <a:pt x="164" y="86"/>
                    <a:pt x="164" y="86"/>
                    <a:pt x="164" y="86"/>
                  </a:cubicBezTo>
                  <a:cubicBezTo>
                    <a:pt x="164" y="85"/>
                    <a:pt x="165" y="85"/>
                    <a:pt x="164" y="85"/>
                  </a:cubicBezTo>
                  <a:cubicBezTo>
                    <a:pt x="164" y="86"/>
                    <a:pt x="164" y="86"/>
                    <a:pt x="164" y="86"/>
                  </a:cubicBezTo>
                  <a:cubicBezTo>
                    <a:pt x="163" y="86"/>
                    <a:pt x="161" y="86"/>
                    <a:pt x="161" y="86"/>
                  </a:cubicBezTo>
                  <a:cubicBezTo>
                    <a:pt x="161" y="86"/>
                    <a:pt x="158" y="85"/>
                    <a:pt x="158" y="85"/>
                  </a:cubicBezTo>
                  <a:cubicBezTo>
                    <a:pt x="158" y="85"/>
                    <a:pt x="158" y="85"/>
                    <a:pt x="158" y="85"/>
                  </a:cubicBezTo>
                  <a:cubicBezTo>
                    <a:pt x="157" y="85"/>
                    <a:pt x="156" y="84"/>
                    <a:pt x="156" y="84"/>
                  </a:cubicBezTo>
                  <a:cubicBezTo>
                    <a:pt x="155" y="84"/>
                    <a:pt x="155" y="84"/>
                    <a:pt x="155" y="84"/>
                  </a:cubicBezTo>
                  <a:cubicBezTo>
                    <a:pt x="154" y="84"/>
                    <a:pt x="154" y="84"/>
                    <a:pt x="153" y="84"/>
                  </a:cubicBezTo>
                  <a:cubicBezTo>
                    <a:pt x="153" y="84"/>
                    <a:pt x="153" y="84"/>
                    <a:pt x="153" y="84"/>
                  </a:cubicBezTo>
                  <a:cubicBezTo>
                    <a:pt x="153" y="85"/>
                    <a:pt x="153" y="85"/>
                    <a:pt x="153" y="85"/>
                  </a:cubicBezTo>
                  <a:cubicBezTo>
                    <a:pt x="152" y="85"/>
                    <a:pt x="151" y="85"/>
                    <a:pt x="151" y="85"/>
                  </a:cubicBezTo>
                  <a:cubicBezTo>
                    <a:pt x="150" y="85"/>
                    <a:pt x="150" y="85"/>
                    <a:pt x="150" y="85"/>
                  </a:cubicBezTo>
                  <a:cubicBezTo>
                    <a:pt x="149" y="85"/>
                    <a:pt x="149" y="85"/>
                    <a:pt x="149" y="85"/>
                  </a:cubicBezTo>
                  <a:cubicBezTo>
                    <a:pt x="148" y="85"/>
                    <a:pt x="148" y="85"/>
                    <a:pt x="148" y="85"/>
                  </a:cubicBezTo>
                  <a:cubicBezTo>
                    <a:pt x="148" y="85"/>
                    <a:pt x="148" y="86"/>
                    <a:pt x="148" y="86"/>
                  </a:cubicBezTo>
                  <a:cubicBezTo>
                    <a:pt x="148" y="86"/>
                    <a:pt x="148" y="86"/>
                    <a:pt x="148" y="86"/>
                  </a:cubicBezTo>
                  <a:cubicBezTo>
                    <a:pt x="147" y="86"/>
                    <a:pt x="147" y="86"/>
                    <a:pt x="146" y="86"/>
                  </a:cubicBezTo>
                  <a:cubicBezTo>
                    <a:pt x="146" y="86"/>
                    <a:pt x="146" y="86"/>
                    <a:pt x="146" y="86"/>
                  </a:cubicBezTo>
                  <a:cubicBezTo>
                    <a:pt x="146" y="86"/>
                    <a:pt x="146" y="86"/>
                    <a:pt x="146" y="86"/>
                  </a:cubicBezTo>
                  <a:cubicBezTo>
                    <a:pt x="144" y="86"/>
                    <a:pt x="144" y="85"/>
                    <a:pt x="144" y="85"/>
                  </a:cubicBezTo>
                  <a:cubicBezTo>
                    <a:pt x="144" y="85"/>
                    <a:pt x="145" y="85"/>
                    <a:pt x="145" y="85"/>
                  </a:cubicBezTo>
                  <a:cubicBezTo>
                    <a:pt x="145" y="85"/>
                    <a:pt x="145" y="85"/>
                    <a:pt x="146" y="85"/>
                  </a:cubicBezTo>
                  <a:cubicBezTo>
                    <a:pt x="146" y="85"/>
                    <a:pt x="147" y="85"/>
                    <a:pt x="147" y="85"/>
                  </a:cubicBezTo>
                  <a:cubicBezTo>
                    <a:pt x="148" y="84"/>
                    <a:pt x="148" y="84"/>
                    <a:pt x="149" y="84"/>
                  </a:cubicBezTo>
                  <a:cubicBezTo>
                    <a:pt x="149" y="84"/>
                    <a:pt x="150" y="84"/>
                    <a:pt x="150" y="84"/>
                  </a:cubicBezTo>
                  <a:cubicBezTo>
                    <a:pt x="150" y="84"/>
                    <a:pt x="149" y="84"/>
                    <a:pt x="146" y="84"/>
                  </a:cubicBezTo>
                  <a:cubicBezTo>
                    <a:pt x="146" y="84"/>
                    <a:pt x="145" y="84"/>
                    <a:pt x="145" y="84"/>
                  </a:cubicBezTo>
                  <a:cubicBezTo>
                    <a:pt x="145" y="84"/>
                    <a:pt x="144" y="84"/>
                    <a:pt x="144" y="84"/>
                  </a:cubicBezTo>
                  <a:cubicBezTo>
                    <a:pt x="144" y="84"/>
                    <a:pt x="144" y="83"/>
                    <a:pt x="145" y="83"/>
                  </a:cubicBezTo>
                  <a:cubicBezTo>
                    <a:pt x="145" y="83"/>
                    <a:pt x="146" y="82"/>
                    <a:pt x="146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7" y="80"/>
                    <a:pt x="147" y="80"/>
                    <a:pt x="148" y="80"/>
                  </a:cubicBezTo>
                  <a:cubicBezTo>
                    <a:pt x="148" y="80"/>
                    <a:pt x="149" y="80"/>
                    <a:pt x="150" y="80"/>
                  </a:cubicBezTo>
                  <a:cubicBezTo>
                    <a:pt x="151" y="80"/>
                    <a:pt x="151" y="80"/>
                    <a:pt x="151" y="80"/>
                  </a:cubicBezTo>
                  <a:cubicBezTo>
                    <a:pt x="151" y="80"/>
                    <a:pt x="152" y="80"/>
                    <a:pt x="153" y="80"/>
                  </a:cubicBezTo>
                  <a:cubicBezTo>
                    <a:pt x="153" y="79"/>
                    <a:pt x="154" y="79"/>
                    <a:pt x="153" y="78"/>
                  </a:cubicBezTo>
                  <a:cubicBezTo>
                    <a:pt x="153" y="78"/>
                    <a:pt x="153" y="78"/>
                    <a:pt x="153" y="78"/>
                  </a:cubicBezTo>
                  <a:cubicBezTo>
                    <a:pt x="152" y="78"/>
                    <a:pt x="150" y="78"/>
                    <a:pt x="150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8" y="77"/>
                    <a:pt x="148" y="77"/>
                    <a:pt x="147" y="77"/>
                  </a:cubicBezTo>
                  <a:cubicBezTo>
                    <a:pt x="147" y="76"/>
                    <a:pt x="147" y="76"/>
                    <a:pt x="146" y="76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6" y="75"/>
                    <a:pt x="146" y="75"/>
                    <a:pt x="147" y="75"/>
                  </a:cubicBezTo>
                  <a:cubicBezTo>
                    <a:pt x="147" y="76"/>
                    <a:pt x="147" y="76"/>
                    <a:pt x="147" y="76"/>
                  </a:cubicBezTo>
                  <a:cubicBezTo>
                    <a:pt x="147" y="76"/>
                    <a:pt x="148" y="76"/>
                    <a:pt x="148" y="76"/>
                  </a:cubicBezTo>
                  <a:cubicBezTo>
                    <a:pt x="149" y="77"/>
                    <a:pt x="150" y="77"/>
                    <a:pt x="151" y="77"/>
                  </a:cubicBezTo>
                  <a:cubicBezTo>
                    <a:pt x="151" y="77"/>
                    <a:pt x="152" y="77"/>
                    <a:pt x="153" y="77"/>
                  </a:cubicBezTo>
                  <a:cubicBezTo>
                    <a:pt x="154" y="78"/>
                    <a:pt x="155" y="78"/>
                    <a:pt x="155" y="78"/>
                  </a:cubicBezTo>
                  <a:cubicBezTo>
                    <a:pt x="155" y="78"/>
                    <a:pt x="156" y="79"/>
                    <a:pt x="156" y="79"/>
                  </a:cubicBezTo>
                  <a:cubicBezTo>
                    <a:pt x="156" y="79"/>
                    <a:pt x="157" y="79"/>
                    <a:pt x="157" y="79"/>
                  </a:cubicBezTo>
                  <a:cubicBezTo>
                    <a:pt x="157" y="80"/>
                    <a:pt x="157" y="80"/>
                    <a:pt x="158" y="81"/>
                  </a:cubicBezTo>
                  <a:cubicBezTo>
                    <a:pt x="158" y="82"/>
                    <a:pt x="158" y="83"/>
                    <a:pt x="159" y="83"/>
                  </a:cubicBezTo>
                  <a:cubicBezTo>
                    <a:pt x="160" y="84"/>
                    <a:pt x="161" y="84"/>
                    <a:pt x="162" y="84"/>
                  </a:cubicBezTo>
                  <a:cubicBezTo>
                    <a:pt x="163" y="84"/>
                    <a:pt x="163" y="83"/>
                    <a:pt x="163" y="83"/>
                  </a:cubicBezTo>
                  <a:cubicBezTo>
                    <a:pt x="163" y="83"/>
                    <a:pt x="163" y="83"/>
                    <a:pt x="163" y="83"/>
                  </a:cubicBezTo>
                  <a:cubicBezTo>
                    <a:pt x="163" y="82"/>
                    <a:pt x="163" y="81"/>
                    <a:pt x="163" y="81"/>
                  </a:cubicBezTo>
                  <a:cubicBezTo>
                    <a:pt x="163" y="81"/>
                    <a:pt x="163" y="82"/>
                    <a:pt x="163" y="82"/>
                  </a:cubicBezTo>
                  <a:cubicBezTo>
                    <a:pt x="163" y="82"/>
                    <a:pt x="163" y="82"/>
                    <a:pt x="163" y="82"/>
                  </a:cubicBezTo>
                  <a:cubicBezTo>
                    <a:pt x="163" y="83"/>
                    <a:pt x="163" y="83"/>
                    <a:pt x="163" y="83"/>
                  </a:cubicBezTo>
                  <a:cubicBezTo>
                    <a:pt x="163" y="83"/>
                    <a:pt x="163" y="83"/>
                    <a:pt x="163" y="83"/>
                  </a:cubicBezTo>
                  <a:cubicBezTo>
                    <a:pt x="164" y="83"/>
                    <a:pt x="164" y="83"/>
                    <a:pt x="164" y="83"/>
                  </a:cubicBezTo>
                  <a:cubicBezTo>
                    <a:pt x="165" y="83"/>
                    <a:pt x="165" y="83"/>
                    <a:pt x="165" y="83"/>
                  </a:cubicBezTo>
                  <a:cubicBezTo>
                    <a:pt x="165" y="83"/>
                    <a:pt x="165" y="84"/>
                    <a:pt x="165" y="84"/>
                  </a:cubicBezTo>
                  <a:cubicBezTo>
                    <a:pt x="165" y="84"/>
                    <a:pt x="165" y="84"/>
                    <a:pt x="166" y="84"/>
                  </a:cubicBezTo>
                  <a:cubicBezTo>
                    <a:pt x="166" y="83"/>
                    <a:pt x="166" y="83"/>
                    <a:pt x="166" y="83"/>
                  </a:cubicBezTo>
                  <a:cubicBezTo>
                    <a:pt x="167" y="83"/>
                    <a:pt x="166" y="83"/>
                    <a:pt x="166" y="83"/>
                  </a:cubicBezTo>
                  <a:cubicBezTo>
                    <a:pt x="166" y="82"/>
                    <a:pt x="166" y="82"/>
                    <a:pt x="166" y="82"/>
                  </a:cubicBezTo>
                  <a:cubicBezTo>
                    <a:pt x="166" y="81"/>
                    <a:pt x="165" y="81"/>
                    <a:pt x="165" y="81"/>
                  </a:cubicBezTo>
                  <a:cubicBezTo>
                    <a:pt x="166" y="81"/>
                    <a:pt x="166" y="81"/>
                    <a:pt x="166" y="81"/>
                  </a:cubicBezTo>
                  <a:cubicBezTo>
                    <a:pt x="166" y="81"/>
                    <a:pt x="166" y="81"/>
                    <a:pt x="166" y="80"/>
                  </a:cubicBezTo>
                  <a:cubicBezTo>
                    <a:pt x="165" y="80"/>
                    <a:pt x="165" y="80"/>
                    <a:pt x="166" y="80"/>
                  </a:cubicBezTo>
                  <a:cubicBezTo>
                    <a:pt x="166" y="79"/>
                    <a:pt x="166" y="79"/>
                    <a:pt x="166" y="79"/>
                  </a:cubicBezTo>
                  <a:cubicBezTo>
                    <a:pt x="166" y="79"/>
                    <a:pt x="166" y="79"/>
                    <a:pt x="166" y="78"/>
                  </a:cubicBezTo>
                  <a:cubicBezTo>
                    <a:pt x="166" y="78"/>
                    <a:pt x="166" y="78"/>
                    <a:pt x="165" y="78"/>
                  </a:cubicBezTo>
                  <a:cubicBezTo>
                    <a:pt x="165" y="78"/>
                    <a:pt x="164" y="77"/>
                    <a:pt x="164" y="77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4" y="79"/>
                    <a:pt x="164" y="79"/>
                    <a:pt x="164" y="79"/>
                  </a:cubicBezTo>
                  <a:cubicBezTo>
                    <a:pt x="163" y="79"/>
                    <a:pt x="163" y="79"/>
                    <a:pt x="163" y="78"/>
                  </a:cubicBezTo>
                  <a:cubicBezTo>
                    <a:pt x="163" y="78"/>
                    <a:pt x="163" y="78"/>
                    <a:pt x="163" y="77"/>
                  </a:cubicBezTo>
                  <a:cubicBezTo>
                    <a:pt x="163" y="77"/>
                    <a:pt x="163" y="77"/>
                    <a:pt x="163" y="77"/>
                  </a:cubicBezTo>
                  <a:cubicBezTo>
                    <a:pt x="163" y="76"/>
                    <a:pt x="163" y="76"/>
                    <a:pt x="163" y="76"/>
                  </a:cubicBezTo>
                  <a:cubicBezTo>
                    <a:pt x="163" y="76"/>
                    <a:pt x="163" y="76"/>
                    <a:pt x="163" y="76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62" y="75"/>
                    <a:pt x="161" y="74"/>
                    <a:pt x="160" y="74"/>
                  </a:cubicBezTo>
                  <a:cubicBezTo>
                    <a:pt x="159" y="73"/>
                    <a:pt x="158" y="73"/>
                    <a:pt x="158" y="73"/>
                  </a:cubicBezTo>
                  <a:cubicBezTo>
                    <a:pt x="157" y="72"/>
                    <a:pt x="157" y="72"/>
                    <a:pt x="157" y="72"/>
                  </a:cubicBezTo>
                  <a:cubicBezTo>
                    <a:pt x="156" y="72"/>
                    <a:pt x="156" y="72"/>
                    <a:pt x="155" y="72"/>
                  </a:cubicBezTo>
                  <a:cubicBezTo>
                    <a:pt x="155" y="72"/>
                    <a:pt x="155" y="72"/>
                    <a:pt x="156" y="72"/>
                  </a:cubicBezTo>
                  <a:cubicBezTo>
                    <a:pt x="156" y="71"/>
                    <a:pt x="156" y="71"/>
                    <a:pt x="156" y="71"/>
                  </a:cubicBezTo>
                  <a:cubicBezTo>
                    <a:pt x="156" y="71"/>
                    <a:pt x="156" y="71"/>
                    <a:pt x="156" y="71"/>
                  </a:cubicBezTo>
                  <a:cubicBezTo>
                    <a:pt x="156" y="71"/>
                    <a:pt x="156" y="71"/>
                    <a:pt x="156" y="71"/>
                  </a:cubicBezTo>
                  <a:cubicBezTo>
                    <a:pt x="155" y="70"/>
                    <a:pt x="154" y="70"/>
                    <a:pt x="154" y="70"/>
                  </a:cubicBezTo>
                  <a:cubicBezTo>
                    <a:pt x="154" y="70"/>
                    <a:pt x="153" y="70"/>
                    <a:pt x="153" y="70"/>
                  </a:cubicBezTo>
                  <a:cubicBezTo>
                    <a:pt x="153" y="70"/>
                    <a:pt x="152" y="70"/>
                    <a:pt x="152" y="70"/>
                  </a:cubicBezTo>
                  <a:cubicBezTo>
                    <a:pt x="151" y="70"/>
                    <a:pt x="151" y="70"/>
                    <a:pt x="150" y="70"/>
                  </a:cubicBezTo>
                  <a:cubicBezTo>
                    <a:pt x="150" y="70"/>
                    <a:pt x="150" y="70"/>
                    <a:pt x="151" y="70"/>
                  </a:cubicBezTo>
                  <a:cubicBezTo>
                    <a:pt x="151" y="70"/>
                    <a:pt x="152" y="70"/>
                    <a:pt x="152" y="69"/>
                  </a:cubicBezTo>
                  <a:cubicBezTo>
                    <a:pt x="153" y="69"/>
                    <a:pt x="153" y="69"/>
                    <a:pt x="154" y="69"/>
                  </a:cubicBezTo>
                  <a:cubicBezTo>
                    <a:pt x="154" y="69"/>
                    <a:pt x="155" y="69"/>
                    <a:pt x="155" y="69"/>
                  </a:cubicBezTo>
                  <a:cubicBezTo>
                    <a:pt x="155" y="69"/>
                    <a:pt x="155" y="69"/>
                    <a:pt x="155" y="69"/>
                  </a:cubicBezTo>
                  <a:cubicBezTo>
                    <a:pt x="155" y="68"/>
                    <a:pt x="153" y="68"/>
                    <a:pt x="153" y="68"/>
                  </a:cubicBezTo>
                  <a:cubicBezTo>
                    <a:pt x="153" y="68"/>
                    <a:pt x="153" y="68"/>
                    <a:pt x="153" y="68"/>
                  </a:cubicBezTo>
                  <a:cubicBezTo>
                    <a:pt x="152" y="68"/>
                    <a:pt x="152" y="68"/>
                    <a:pt x="152" y="67"/>
                  </a:cubicBezTo>
                  <a:cubicBezTo>
                    <a:pt x="151" y="67"/>
                    <a:pt x="152" y="67"/>
                    <a:pt x="152" y="67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3" y="67"/>
                    <a:pt x="154" y="66"/>
                    <a:pt x="154" y="66"/>
                  </a:cubicBezTo>
                  <a:cubicBezTo>
                    <a:pt x="154" y="66"/>
                    <a:pt x="154" y="66"/>
                    <a:pt x="154" y="66"/>
                  </a:cubicBezTo>
                  <a:cubicBezTo>
                    <a:pt x="155" y="66"/>
                    <a:pt x="155" y="66"/>
                    <a:pt x="155" y="66"/>
                  </a:cubicBezTo>
                  <a:cubicBezTo>
                    <a:pt x="155" y="66"/>
                    <a:pt x="155" y="65"/>
                    <a:pt x="155" y="65"/>
                  </a:cubicBezTo>
                  <a:cubicBezTo>
                    <a:pt x="155" y="65"/>
                    <a:pt x="155" y="64"/>
                    <a:pt x="155" y="65"/>
                  </a:cubicBezTo>
                  <a:cubicBezTo>
                    <a:pt x="155" y="65"/>
                    <a:pt x="156" y="65"/>
                    <a:pt x="157" y="65"/>
                  </a:cubicBezTo>
                  <a:cubicBezTo>
                    <a:pt x="157" y="65"/>
                    <a:pt x="157" y="65"/>
                    <a:pt x="157" y="65"/>
                  </a:cubicBezTo>
                  <a:cubicBezTo>
                    <a:pt x="157" y="65"/>
                    <a:pt x="157" y="65"/>
                    <a:pt x="157" y="65"/>
                  </a:cubicBezTo>
                  <a:cubicBezTo>
                    <a:pt x="157" y="65"/>
                    <a:pt x="157" y="65"/>
                    <a:pt x="157" y="65"/>
                  </a:cubicBezTo>
                  <a:cubicBezTo>
                    <a:pt x="157" y="65"/>
                    <a:pt x="157" y="64"/>
                    <a:pt x="157" y="64"/>
                  </a:cubicBezTo>
                  <a:cubicBezTo>
                    <a:pt x="158" y="64"/>
                    <a:pt x="158" y="64"/>
                    <a:pt x="158" y="64"/>
                  </a:cubicBezTo>
                  <a:cubicBezTo>
                    <a:pt x="158" y="64"/>
                    <a:pt x="158" y="64"/>
                    <a:pt x="158" y="64"/>
                  </a:cubicBezTo>
                  <a:cubicBezTo>
                    <a:pt x="158" y="64"/>
                    <a:pt x="158" y="64"/>
                    <a:pt x="158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59" y="65"/>
                    <a:pt x="160" y="66"/>
                    <a:pt x="161" y="66"/>
                  </a:cubicBezTo>
                  <a:cubicBezTo>
                    <a:pt x="162" y="67"/>
                    <a:pt x="162" y="67"/>
                    <a:pt x="162" y="67"/>
                  </a:cubicBezTo>
                  <a:cubicBezTo>
                    <a:pt x="163" y="67"/>
                    <a:pt x="164" y="67"/>
                    <a:pt x="164" y="67"/>
                  </a:cubicBezTo>
                  <a:cubicBezTo>
                    <a:pt x="164" y="67"/>
                    <a:pt x="164" y="67"/>
                    <a:pt x="164" y="67"/>
                  </a:cubicBezTo>
                  <a:cubicBezTo>
                    <a:pt x="165" y="67"/>
                    <a:pt x="166" y="67"/>
                    <a:pt x="166" y="6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66" y="66"/>
                    <a:pt x="166" y="66"/>
                    <a:pt x="167" y="66"/>
                  </a:cubicBezTo>
                  <a:cubicBezTo>
                    <a:pt x="167" y="66"/>
                    <a:pt x="167" y="66"/>
                    <a:pt x="167" y="66"/>
                  </a:cubicBezTo>
                  <a:cubicBezTo>
                    <a:pt x="168" y="66"/>
                    <a:pt x="168" y="66"/>
                    <a:pt x="169" y="66"/>
                  </a:cubicBezTo>
                  <a:cubicBezTo>
                    <a:pt x="169" y="66"/>
                    <a:pt x="169" y="66"/>
                    <a:pt x="169" y="66"/>
                  </a:cubicBezTo>
                  <a:cubicBezTo>
                    <a:pt x="169" y="66"/>
                    <a:pt x="170" y="66"/>
                    <a:pt x="170" y="66"/>
                  </a:cubicBezTo>
                  <a:cubicBezTo>
                    <a:pt x="170" y="65"/>
                    <a:pt x="170" y="65"/>
                    <a:pt x="170" y="65"/>
                  </a:cubicBezTo>
                  <a:cubicBezTo>
                    <a:pt x="170" y="65"/>
                    <a:pt x="170" y="65"/>
                    <a:pt x="170" y="65"/>
                  </a:cubicBezTo>
                  <a:cubicBezTo>
                    <a:pt x="170" y="65"/>
                    <a:pt x="170" y="65"/>
                    <a:pt x="170" y="65"/>
                  </a:cubicBezTo>
                  <a:cubicBezTo>
                    <a:pt x="170" y="65"/>
                    <a:pt x="170" y="65"/>
                    <a:pt x="170" y="65"/>
                  </a:cubicBezTo>
                  <a:cubicBezTo>
                    <a:pt x="170" y="64"/>
                    <a:pt x="170" y="64"/>
                    <a:pt x="170" y="64"/>
                  </a:cubicBezTo>
                  <a:cubicBezTo>
                    <a:pt x="170" y="64"/>
                    <a:pt x="170" y="64"/>
                    <a:pt x="170" y="63"/>
                  </a:cubicBezTo>
                  <a:cubicBezTo>
                    <a:pt x="170" y="63"/>
                    <a:pt x="170" y="63"/>
                    <a:pt x="170" y="63"/>
                  </a:cubicBezTo>
                  <a:cubicBezTo>
                    <a:pt x="170" y="63"/>
                    <a:pt x="168" y="63"/>
                    <a:pt x="168" y="63"/>
                  </a:cubicBezTo>
                  <a:cubicBezTo>
                    <a:pt x="167" y="63"/>
                    <a:pt x="167" y="62"/>
                    <a:pt x="166" y="62"/>
                  </a:cubicBezTo>
                  <a:cubicBezTo>
                    <a:pt x="166" y="62"/>
                    <a:pt x="166" y="62"/>
                    <a:pt x="166" y="62"/>
                  </a:cubicBezTo>
                  <a:cubicBezTo>
                    <a:pt x="166" y="62"/>
                    <a:pt x="165" y="62"/>
                    <a:pt x="165" y="62"/>
                  </a:cubicBezTo>
                  <a:cubicBezTo>
                    <a:pt x="165" y="63"/>
                    <a:pt x="165" y="63"/>
                    <a:pt x="165" y="63"/>
                  </a:cubicBezTo>
                  <a:cubicBezTo>
                    <a:pt x="166" y="63"/>
                    <a:pt x="166" y="63"/>
                    <a:pt x="166" y="63"/>
                  </a:cubicBezTo>
                  <a:cubicBezTo>
                    <a:pt x="166" y="64"/>
                    <a:pt x="166" y="64"/>
                    <a:pt x="166" y="64"/>
                  </a:cubicBezTo>
                  <a:cubicBezTo>
                    <a:pt x="166" y="65"/>
                    <a:pt x="165" y="65"/>
                    <a:pt x="165" y="65"/>
                  </a:cubicBezTo>
                  <a:cubicBezTo>
                    <a:pt x="165" y="64"/>
                    <a:pt x="165" y="64"/>
                    <a:pt x="165" y="63"/>
                  </a:cubicBezTo>
                  <a:cubicBezTo>
                    <a:pt x="165" y="63"/>
                    <a:pt x="165" y="63"/>
                    <a:pt x="165" y="63"/>
                  </a:cubicBezTo>
                  <a:cubicBezTo>
                    <a:pt x="165" y="63"/>
                    <a:pt x="164" y="63"/>
                    <a:pt x="164" y="62"/>
                  </a:cubicBezTo>
                  <a:cubicBezTo>
                    <a:pt x="164" y="62"/>
                    <a:pt x="164" y="62"/>
                    <a:pt x="164" y="62"/>
                  </a:cubicBezTo>
                  <a:cubicBezTo>
                    <a:pt x="164" y="62"/>
                    <a:pt x="164" y="62"/>
                    <a:pt x="164" y="62"/>
                  </a:cubicBezTo>
                  <a:cubicBezTo>
                    <a:pt x="163" y="62"/>
                    <a:pt x="163" y="62"/>
                    <a:pt x="163" y="62"/>
                  </a:cubicBezTo>
                  <a:cubicBezTo>
                    <a:pt x="164" y="62"/>
                    <a:pt x="164" y="62"/>
                    <a:pt x="163" y="62"/>
                  </a:cubicBezTo>
                  <a:cubicBezTo>
                    <a:pt x="163" y="61"/>
                    <a:pt x="164" y="61"/>
                    <a:pt x="164" y="61"/>
                  </a:cubicBezTo>
                  <a:cubicBezTo>
                    <a:pt x="164" y="61"/>
                    <a:pt x="164" y="61"/>
                    <a:pt x="164" y="61"/>
                  </a:cubicBezTo>
                  <a:cubicBezTo>
                    <a:pt x="164" y="61"/>
                    <a:pt x="163" y="60"/>
                    <a:pt x="164" y="60"/>
                  </a:cubicBezTo>
                  <a:cubicBezTo>
                    <a:pt x="164" y="60"/>
                    <a:pt x="164" y="60"/>
                    <a:pt x="164" y="60"/>
                  </a:cubicBezTo>
                  <a:cubicBezTo>
                    <a:pt x="164" y="60"/>
                    <a:pt x="164" y="60"/>
                    <a:pt x="164" y="60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5" y="60"/>
                    <a:pt x="165" y="60"/>
                    <a:pt x="165" y="59"/>
                  </a:cubicBezTo>
                  <a:cubicBezTo>
                    <a:pt x="165" y="59"/>
                    <a:pt x="165" y="59"/>
                    <a:pt x="165" y="59"/>
                  </a:cubicBezTo>
                  <a:cubicBezTo>
                    <a:pt x="165" y="59"/>
                    <a:pt x="165" y="59"/>
                    <a:pt x="166" y="59"/>
                  </a:cubicBezTo>
                  <a:cubicBezTo>
                    <a:pt x="166" y="59"/>
                    <a:pt x="166" y="59"/>
                    <a:pt x="166" y="59"/>
                  </a:cubicBezTo>
                  <a:cubicBezTo>
                    <a:pt x="166" y="59"/>
                    <a:pt x="166" y="60"/>
                    <a:pt x="166" y="60"/>
                  </a:cubicBezTo>
                  <a:cubicBezTo>
                    <a:pt x="166" y="60"/>
                    <a:pt x="166" y="60"/>
                    <a:pt x="166" y="60"/>
                  </a:cubicBezTo>
                  <a:cubicBezTo>
                    <a:pt x="167" y="60"/>
                    <a:pt x="168" y="60"/>
                    <a:pt x="168" y="60"/>
                  </a:cubicBezTo>
                  <a:cubicBezTo>
                    <a:pt x="168" y="60"/>
                    <a:pt x="168" y="60"/>
                    <a:pt x="168" y="60"/>
                  </a:cubicBezTo>
                  <a:cubicBezTo>
                    <a:pt x="169" y="60"/>
                    <a:pt x="169" y="60"/>
                    <a:pt x="169" y="60"/>
                  </a:cubicBezTo>
                  <a:cubicBezTo>
                    <a:pt x="169" y="60"/>
                    <a:pt x="170" y="60"/>
                    <a:pt x="170" y="60"/>
                  </a:cubicBezTo>
                  <a:cubicBezTo>
                    <a:pt x="170" y="60"/>
                    <a:pt x="171" y="60"/>
                    <a:pt x="171" y="60"/>
                  </a:cubicBezTo>
                  <a:cubicBezTo>
                    <a:pt x="171" y="61"/>
                    <a:pt x="171" y="61"/>
                    <a:pt x="171" y="61"/>
                  </a:cubicBezTo>
                  <a:cubicBezTo>
                    <a:pt x="171" y="61"/>
                    <a:pt x="171" y="61"/>
                    <a:pt x="171" y="61"/>
                  </a:cubicBezTo>
                  <a:cubicBezTo>
                    <a:pt x="171" y="61"/>
                    <a:pt x="171" y="61"/>
                    <a:pt x="172" y="61"/>
                  </a:cubicBezTo>
                  <a:cubicBezTo>
                    <a:pt x="172" y="61"/>
                    <a:pt x="173" y="61"/>
                    <a:pt x="173" y="61"/>
                  </a:cubicBezTo>
                  <a:cubicBezTo>
                    <a:pt x="174" y="61"/>
                    <a:pt x="174" y="60"/>
                    <a:pt x="174" y="60"/>
                  </a:cubicBezTo>
                  <a:cubicBezTo>
                    <a:pt x="174" y="60"/>
                    <a:pt x="174" y="60"/>
                    <a:pt x="174" y="60"/>
                  </a:cubicBezTo>
                  <a:cubicBezTo>
                    <a:pt x="174" y="60"/>
                    <a:pt x="174" y="59"/>
                    <a:pt x="174" y="59"/>
                  </a:cubicBezTo>
                  <a:cubicBezTo>
                    <a:pt x="173" y="59"/>
                    <a:pt x="173" y="59"/>
                    <a:pt x="173" y="59"/>
                  </a:cubicBezTo>
                  <a:cubicBezTo>
                    <a:pt x="173" y="59"/>
                    <a:pt x="173" y="59"/>
                    <a:pt x="173" y="59"/>
                  </a:cubicBezTo>
                  <a:cubicBezTo>
                    <a:pt x="173" y="58"/>
                    <a:pt x="173" y="59"/>
                    <a:pt x="172" y="59"/>
                  </a:cubicBezTo>
                  <a:cubicBezTo>
                    <a:pt x="172" y="59"/>
                    <a:pt x="172" y="59"/>
                    <a:pt x="172" y="59"/>
                  </a:cubicBezTo>
                  <a:cubicBezTo>
                    <a:pt x="172" y="59"/>
                    <a:pt x="171" y="59"/>
                    <a:pt x="171" y="59"/>
                  </a:cubicBezTo>
                  <a:cubicBezTo>
                    <a:pt x="171" y="59"/>
                    <a:pt x="171" y="59"/>
                    <a:pt x="171" y="59"/>
                  </a:cubicBezTo>
                  <a:cubicBezTo>
                    <a:pt x="170" y="59"/>
                    <a:pt x="169" y="59"/>
                    <a:pt x="169" y="59"/>
                  </a:cubicBezTo>
                  <a:cubicBezTo>
                    <a:pt x="169" y="59"/>
                    <a:pt x="168" y="59"/>
                    <a:pt x="168" y="59"/>
                  </a:cubicBezTo>
                  <a:cubicBezTo>
                    <a:pt x="168" y="59"/>
                    <a:pt x="168" y="59"/>
                    <a:pt x="169" y="58"/>
                  </a:cubicBezTo>
                  <a:cubicBezTo>
                    <a:pt x="169" y="58"/>
                    <a:pt x="169" y="58"/>
                    <a:pt x="169" y="58"/>
                  </a:cubicBezTo>
                  <a:cubicBezTo>
                    <a:pt x="169" y="57"/>
                    <a:pt x="169" y="57"/>
                    <a:pt x="169" y="57"/>
                  </a:cubicBezTo>
                  <a:cubicBezTo>
                    <a:pt x="169" y="56"/>
                    <a:pt x="169" y="56"/>
                    <a:pt x="168" y="56"/>
                  </a:cubicBezTo>
                  <a:cubicBezTo>
                    <a:pt x="168" y="56"/>
                    <a:pt x="168" y="56"/>
                    <a:pt x="169" y="56"/>
                  </a:cubicBezTo>
                  <a:cubicBezTo>
                    <a:pt x="169" y="55"/>
                    <a:pt x="169" y="55"/>
                    <a:pt x="168" y="55"/>
                  </a:cubicBezTo>
                  <a:cubicBezTo>
                    <a:pt x="168" y="55"/>
                    <a:pt x="167" y="54"/>
                    <a:pt x="166" y="54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6" y="54"/>
                    <a:pt x="166" y="53"/>
                    <a:pt x="166" y="53"/>
                  </a:cubicBezTo>
                  <a:cubicBezTo>
                    <a:pt x="165" y="53"/>
                    <a:pt x="166" y="53"/>
                    <a:pt x="166" y="52"/>
                  </a:cubicBezTo>
                  <a:cubicBezTo>
                    <a:pt x="166" y="53"/>
                    <a:pt x="166" y="53"/>
                    <a:pt x="166" y="53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7" y="53"/>
                    <a:pt x="168" y="54"/>
                    <a:pt x="168" y="54"/>
                  </a:cubicBezTo>
                  <a:cubicBezTo>
                    <a:pt x="168" y="54"/>
                    <a:pt x="168" y="54"/>
                    <a:pt x="169" y="54"/>
                  </a:cubicBezTo>
                  <a:cubicBezTo>
                    <a:pt x="169" y="54"/>
                    <a:pt x="169" y="55"/>
                    <a:pt x="170" y="54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71" y="55"/>
                    <a:pt x="171" y="55"/>
                    <a:pt x="171" y="55"/>
                  </a:cubicBezTo>
                  <a:cubicBezTo>
                    <a:pt x="171" y="55"/>
                    <a:pt x="171" y="55"/>
                    <a:pt x="171" y="55"/>
                  </a:cubicBezTo>
                  <a:cubicBezTo>
                    <a:pt x="171" y="55"/>
                    <a:pt x="171" y="55"/>
                    <a:pt x="171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3" y="55"/>
                    <a:pt x="173" y="55"/>
                  </a:cubicBezTo>
                  <a:cubicBezTo>
                    <a:pt x="173" y="55"/>
                    <a:pt x="173" y="55"/>
                    <a:pt x="173" y="55"/>
                  </a:cubicBezTo>
                  <a:cubicBezTo>
                    <a:pt x="173" y="54"/>
                    <a:pt x="174" y="54"/>
                    <a:pt x="173" y="53"/>
                  </a:cubicBezTo>
                  <a:cubicBezTo>
                    <a:pt x="173" y="53"/>
                    <a:pt x="173" y="53"/>
                    <a:pt x="173" y="53"/>
                  </a:cubicBezTo>
                  <a:cubicBezTo>
                    <a:pt x="173" y="52"/>
                    <a:pt x="173" y="52"/>
                    <a:pt x="173" y="52"/>
                  </a:cubicBezTo>
                  <a:cubicBezTo>
                    <a:pt x="173" y="52"/>
                    <a:pt x="173" y="52"/>
                    <a:pt x="172" y="52"/>
                  </a:cubicBezTo>
                  <a:cubicBezTo>
                    <a:pt x="172" y="51"/>
                    <a:pt x="172" y="51"/>
                    <a:pt x="171" y="51"/>
                  </a:cubicBezTo>
                  <a:cubicBezTo>
                    <a:pt x="171" y="51"/>
                    <a:pt x="171" y="51"/>
                    <a:pt x="171" y="51"/>
                  </a:cubicBezTo>
                  <a:cubicBezTo>
                    <a:pt x="171" y="51"/>
                    <a:pt x="168" y="51"/>
                    <a:pt x="168" y="51"/>
                  </a:cubicBezTo>
                  <a:cubicBezTo>
                    <a:pt x="168" y="51"/>
                    <a:pt x="168" y="51"/>
                    <a:pt x="168" y="51"/>
                  </a:cubicBezTo>
                  <a:cubicBezTo>
                    <a:pt x="167" y="51"/>
                    <a:pt x="166" y="50"/>
                    <a:pt x="166" y="50"/>
                  </a:cubicBezTo>
                  <a:cubicBezTo>
                    <a:pt x="166" y="50"/>
                    <a:pt x="166" y="50"/>
                    <a:pt x="167" y="50"/>
                  </a:cubicBezTo>
                  <a:cubicBezTo>
                    <a:pt x="167" y="50"/>
                    <a:pt x="169" y="50"/>
                    <a:pt x="169" y="50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70" y="50"/>
                    <a:pt x="171" y="50"/>
                    <a:pt x="171" y="50"/>
                  </a:cubicBezTo>
                  <a:cubicBezTo>
                    <a:pt x="171" y="50"/>
                    <a:pt x="171" y="50"/>
                    <a:pt x="172" y="50"/>
                  </a:cubicBezTo>
                  <a:cubicBezTo>
                    <a:pt x="172" y="50"/>
                    <a:pt x="172" y="50"/>
                    <a:pt x="172" y="49"/>
                  </a:cubicBezTo>
                  <a:cubicBezTo>
                    <a:pt x="172" y="49"/>
                    <a:pt x="171" y="49"/>
                    <a:pt x="171" y="49"/>
                  </a:cubicBezTo>
                  <a:cubicBezTo>
                    <a:pt x="170" y="49"/>
                    <a:pt x="171" y="49"/>
                    <a:pt x="170" y="49"/>
                  </a:cubicBezTo>
                  <a:cubicBezTo>
                    <a:pt x="170" y="49"/>
                    <a:pt x="170" y="49"/>
                    <a:pt x="170" y="49"/>
                  </a:cubicBezTo>
                  <a:cubicBezTo>
                    <a:pt x="169" y="49"/>
                    <a:pt x="168" y="49"/>
                    <a:pt x="167" y="49"/>
                  </a:cubicBezTo>
                  <a:cubicBezTo>
                    <a:pt x="167" y="49"/>
                    <a:pt x="166" y="49"/>
                    <a:pt x="166" y="49"/>
                  </a:cubicBezTo>
                  <a:cubicBezTo>
                    <a:pt x="166" y="49"/>
                    <a:pt x="166" y="48"/>
                    <a:pt x="167" y="47"/>
                  </a:cubicBezTo>
                  <a:cubicBezTo>
                    <a:pt x="166" y="48"/>
                    <a:pt x="166" y="48"/>
                    <a:pt x="166" y="48"/>
                  </a:cubicBezTo>
                  <a:cubicBezTo>
                    <a:pt x="166" y="48"/>
                    <a:pt x="166" y="48"/>
                    <a:pt x="166" y="48"/>
                  </a:cubicBezTo>
                  <a:cubicBezTo>
                    <a:pt x="165" y="47"/>
                    <a:pt x="164" y="47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4" y="46"/>
                    <a:pt x="164" y="47"/>
                    <a:pt x="164" y="47"/>
                  </a:cubicBezTo>
                  <a:cubicBezTo>
                    <a:pt x="163" y="47"/>
                    <a:pt x="163" y="47"/>
                    <a:pt x="163" y="47"/>
                  </a:cubicBezTo>
                  <a:cubicBezTo>
                    <a:pt x="163" y="46"/>
                    <a:pt x="163" y="46"/>
                    <a:pt x="163" y="45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65" y="45"/>
                    <a:pt x="165" y="46"/>
                    <a:pt x="165" y="46"/>
                  </a:cubicBezTo>
                  <a:cubicBezTo>
                    <a:pt x="166" y="46"/>
                    <a:pt x="166" y="46"/>
                    <a:pt x="167" y="46"/>
                  </a:cubicBezTo>
                  <a:cubicBezTo>
                    <a:pt x="168" y="45"/>
                    <a:pt x="168" y="45"/>
                    <a:pt x="168" y="45"/>
                  </a:cubicBezTo>
                  <a:cubicBezTo>
                    <a:pt x="169" y="44"/>
                    <a:pt x="167" y="44"/>
                    <a:pt x="169" y="44"/>
                  </a:cubicBezTo>
                  <a:cubicBezTo>
                    <a:pt x="171" y="44"/>
                    <a:pt x="171" y="44"/>
                    <a:pt x="172" y="45"/>
                  </a:cubicBezTo>
                  <a:cubicBezTo>
                    <a:pt x="174" y="45"/>
                    <a:pt x="173" y="45"/>
                    <a:pt x="174" y="45"/>
                  </a:cubicBezTo>
                  <a:cubicBezTo>
                    <a:pt x="175" y="45"/>
                    <a:pt x="174" y="45"/>
                    <a:pt x="175" y="45"/>
                  </a:cubicBezTo>
                  <a:cubicBezTo>
                    <a:pt x="175" y="45"/>
                    <a:pt x="176" y="46"/>
                    <a:pt x="176" y="45"/>
                  </a:cubicBezTo>
                  <a:cubicBezTo>
                    <a:pt x="176" y="45"/>
                    <a:pt x="177" y="45"/>
                    <a:pt x="177" y="45"/>
                  </a:cubicBezTo>
                  <a:cubicBezTo>
                    <a:pt x="177" y="45"/>
                    <a:pt x="177" y="45"/>
                    <a:pt x="177" y="44"/>
                  </a:cubicBezTo>
                  <a:cubicBezTo>
                    <a:pt x="177" y="43"/>
                    <a:pt x="177" y="43"/>
                    <a:pt x="176" y="42"/>
                  </a:cubicBezTo>
                  <a:cubicBezTo>
                    <a:pt x="176" y="42"/>
                    <a:pt x="175" y="42"/>
                    <a:pt x="174" y="42"/>
                  </a:cubicBezTo>
                  <a:cubicBezTo>
                    <a:pt x="174" y="42"/>
                    <a:pt x="174" y="42"/>
                    <a:pt x="174" y="42"/>
                  </a:cubicBezTo>
                  <a:cubicBezTo>
                    <a:pt x="174" y="43"/>
                    <a:pt x="174" y="43"/>
                    <a:pt x="174" y="43"/>
                  </a:cubicBezTo>
                  <a:cubicBezTo>
                    <a:pt x="174" y="43"/>
                    <a:pt x="173" y="42"/>
                    <a:pt x="173" y="42"/>
                  </a:cubicBezTo>
                  <a:cubicBezTo>
                    <a:pt x="173" y="42"/>
                    <a:pt x="172" y="42"/>
                    <a:pt x="172" y="42"/>
                  </a:cubicBezTo>
                  <a:cubicBezTo>
                    <a:pt x="172" y="42"/>
                    <a:pt x="172" y="42"/>
                    <a:pt x="172" y="42"/>
                  </a:cubicBezTo>
                  <a:cubicBezTo>
                    <a:pt x="171" y="42"/>
                    <a:pt x="170" y="42"/>
                    <a:pt x="170" y="42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41"/>
                    <a:pt x="170" y="41"/>
                    <a:pt x="170" y="41"/>
                  </a:cubicBezTo>
                  <a:cubicBezTo>
                    <a:pt x="169" y="41"/>
                    <a:pt x="169" y="40"/>
                    <a:pt x="169" y="40"/>
                  </a:cubicBezTo>
                  <a:cubicBezTo>
                    <a:pt x="169" y="40"/>
                    <a:pt x="169" y="40"/>
                    <a:pt x="169" y="39"/>
                  </a:cubicBezTo>
                  <a:cubicBezTo>
                    <a:pt x="170" y="39"/>
                    <a:pt x="170" y="39"/>
                    <a:pt x="170" y="39"/>
                  </a:cubicBezTo>
                  <a:cubicBezTo>
                    <a:pt x="170" y="39"/>
                    <a:pt x="171" y="39"/>
                    <a:pt x="171" y="40"/>
                  </a:cubicBezTo>
                  <a:cubicBezTo>
                    <a:pt x="171" y="40"/>
                    <a:pt x="171" y="39"/>
                    <a:pt x="172" y="40"/>
                  </a:cubicBezTo>
                  <a:cubicBezTo>
                    <a:pt x="172" y="40"/>
                    <a:pt x="174" y="40"/>
                    <a:pt x="174" y="40"/>
                  </a:cubicBezTo>
                  <a:cubicBezTo>
                    <a:pt x="174" y="40"/>
                    <a:pt x="174" y="40"/>
                    <a:pt x="174" y="40"/>
                  </a:cubicBezTo>
                  <a:cubicBezTo>
                    <a:pt x="174" y="40"/>
                    <a:pt x="174" y="40"/>
                    <a:pt x="174" y="40"/>
                  </a:cubicBezTo>
                  <a:cubicBezTo>
                    <a:pt x="174" y="39"/>
                    <a:pt x="174" y="39"/>
                    <a:pt x="174" y="39"/>
                  </a:cubicBezTo>
                  <a:cubicBezTo>
                    <a:pt x="173" y="39"/>
                    <a:pt x="172" y="39"/>
                    <a:pt x="171" y="39"/>
                  </a:cubicBezTo>
                  <a:cubicBezTo>
                    <a:pt x="171" y="39"/>
                    <a:pt x="170" y="38"/>
                    <a:pt x="170" y="38"/>
                  </a:cubicBezTo>
                  <a:cubicBezTo>
                    <a:pt x="170" y="38"/>
                    <a:pt x="170" y="38"/>
                    <a:pt x="169" y="38"/>
                  </a:cubicBezTo>
                  <a:cubicBezTo>
                    <a:pt x="168" y="38"/>
                    <a:pt x="167" y="38"/>
                    <a:pt x="167" y="38"/>
                  </a:cubicBezTo>
                  <a:cubicBezTo>
                    <a:pt x="167" y="38"/>
                    <a:pt x="167" y="39"/>
                    <a:pt x="167" y="39"/>
                  </a:cubicBezTo>
                  <a:cubicBezTo>
                    <a:pt x="167" y="39"/>
                    <a:pt x="167" y="39"/>
                    <a:pt x="167" y="40"/>
                  </a:cubicBezTo>
                  <a:cubicBezTo>
                    <a:pt x="167" y="40"/>
                    <a:pt x="167" y="40"/>
                    <a:pt x="166" y="40"/>
                  </a:cubicBezTo>
                  <a:cubicBezTo>
                    <a:pt x="166" y="40"/>
                    <a:pt x="166" y="40"/>
                    <a:pt x="166" y="40"/>
                  </a:cubicBezTo>
                  <a:cubicBezTo>
                    <a:pt x="166" y="40"/>
                    <a:pt x="165" y="40"/>
                    <a:pt x="165" y="39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6" y="38"/>
                    <a:pt x="166" y="38"/>
                    <a:pt x="166" y="38"/>
                  </a:cubicBezTo>
                  <a:cubicBezTo>
                    <a:pt x="166" y="38"/>
                    <a:pt x="167" y="37"/>
                    <a:pt x="167" y="36"/>
                  </a:cubicBezTo>
                  <a:cubicBezTo>
                    <a:pt x="167" y="36"/>
                    <a:pt x="167" y="36"/>
                    <a:pt x="167" y="36"/>
                  </a:cubicBezTo>
                  <a:cubicBezTo>
                    <a:pt x="167" y="36"/>
                    <a:pt x="167" y="35"/>
                    <a:pt x="167" y="34"/>
                  </a:cubicBezTo>
                  <a:cubicBezTo>
                    <a:pt x="167" y="34"/>
                    <a:pt x="168" y="34"/>
                    <a:pt x="168" y="34"/>
                  </a:cubicBezTo>
                  <a:cubicBezTo>
                    <a:pt x="168" y="33"/>
                    <a:pt x="168" y="33"/>
                    <a:pt x="168" y="33"/>
                  </a:cubicBezTo>
                  <a:cubicBezTo>
                    <a:pt x="168" y="33"/>
                    <a:pt x="168" y="33"/>
                    <a:pt x="168" y="32"/>
                  </a:cubicBezTo>
                  <a:cubicBezTo>
                    <a:pt x="168" y="32"/>
                    <a:pt x="168" y="32"/>
                    <a:pt x="169" y="33"/>
                  </a:cubicBezTo>
                  <a:cubicBezTo>
                    <a:pt x="169" y="32"/>
                    <a:pt x="169" y="32"/>
                    <a:pt x="169" y="32"/>
                  </a:cubicBezTo>
                  <a:cubicBezTo>
                    <a:pt x="169" y="32"/>
                    <a:pt x="169" y="32"/>
                    <a:pt x="170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72" y="32"/>
                    <a:pt x="171" y="31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1" y="30"/>
                    <a:pt x="172" y="31"/>
                    <a:pt x="172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3" y="30"/>
                    <a:pt x="173" y="29"/>
                    <a:pt x="173" y="29"/>
                  </a:cubicBezTo>
                  <a:cubicBezTo>
                    <a:pt x="173" y="29"/>
                    <a:pt x="172" y="28"/>
                    <a:pt x="172" y="28"/>
                  </a:cubicBezTo>
                  <a:cubicBezTo>
                    <a:pt x="172" y="28"/>
                    <a:pt x="172" y="28"/>
                    <a:pt x="172" y="28"/>
                  </a:cubicBezTo>
                  <a:cubicBezTo>
                    <a:pt x="172" y="27"/>
                    <a:pt x="172" y="27"/>
                    <a:pt x="173" y="27"/>
                  </a:cubicBezTo>
                  <a:cubicBezTo>
                    <a:pt x="173" y="26"/>
                    <a:pt x="174" y="26"/>
                    <a:pt x="175" y="26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6" y="26"/>
                    <a:pt x="177" y="26"/>
                    <a:pt x="177" y="26"/>
                  </a:cubicBezTo>
                  <a:cubicBezTo>
                    <a:pt x="178" y="26"/>
                    <a:pt x="178" y="26"/>
                    <a:pt x="178" y="26"/>
                  </a:cubicBezTo>
                  <a:cubicBezTo>
                    <a:pt x="178" y="25"/>
                    <a:pt x="179" y="24"/>
                    <a:pt x="180" y="24"/>
                  </a:cubicBezTo>
                  <a:cubicBezTo>
                    <a:pt x="179" y="24"/>
                    <a:pt x="179" y="24"/>
                    <a:pt x="179" y="24"/>
                  </a:cubicBezTo>
                  <a:cubicBezTo>
                    <a:pt x="177" y="24"/>
                    <a:pt x="176" y="24"/>
                    <a:pt x="175" y="24"/>
                  </a:cubicBezTo>
                  <a:cubicBezTo>
                    <a:pt x="175" y="24"/>
                    <a:pt x="174" y="24"/>
                    <a:pt x="173" y="24"/>
                  </a:cubicBezTo>
                  <a:cubicBezTo>
                    <a:pt x="173" y="24"/>
                    <a:pt x="173" y="24"/>
                    <a:pt x="172" y="24"/>
                  </a:cubicBezTo>
                  <a:cubicBezTo>
                    <a:pt x="172" y="24"/>
                    <a:pt x="171" y="25"/>
                    <a:pt x="171" y="25"/>
                  </a:cubicBezTo>
                  <a:cubicBezTo>
                    <a:pt x="171" y="25"/>
                    <a:pt x="171" y="25"/>
                    <a:pt x="171" y="25"/>
                  </a:cubicBezTo>
                  <a:cubicBezTo>
                    <a:pt x="171" y="25"/>
                    <a:pt x="171" y="25"/>
                    <a:pt x="171" y="25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0" y="26"/>
                    <a:pt x="170" y="26"/>
                    <a:pt x="170" y="26"/>
                  </a:cubicBezTo>
                  <a:cubicBezTo>
                    <a:pt x="170" y="26"/>
                    <a:pt x="170" y="26"/>
                    <a:pt x="170" y="26"/>
                  </a:cubicBezTo>
                  <a:cubicBezTo>
                    <a:pt x="170" y="26"/>
                    <a:pt x="168" y="26"/>
                    <a:pt x="169" y="25"/>
                  </a:cubicBezTo>
                  <a:cubicBezTo>
                    <a:pt x="170" y="25"/>
                    <a:pt x="170" y="25"/>
                    <a:pt x="170" y="24"/>
                  </a:cubicBezTo>
                  <a:cubicBezTo>
                    <a:pt x="170" y="24"/>
                    <a:pt x="170" y="24"/>
                    <a:pt x="170" y="24"/>
                  </a:cubicBezTo>
                  <a:cubicBezTo>
                    <a:pt x="170" y="24"/>
                    <a:pt x="170" y="24"/>
                    <a:pt x="170" y="24"/>
                  </a:cubicBezTo>
                  <a:cubicBezTo>
                    <a:pt x="170" y="24"/>
                    <a:pt x="171" y="23"/>
                    <a:pt x="171" y="23"/>
                  </a:cubicBezTo>
                  <a:cubicBezTo>
                    <a:pt x="171" y="23"/>
                    <a:pt x="172" y="23"/>
                    <a:pt x="172" y="23"/>
                  </a:cubicBezTo>
                  <a:cubicBezTo>
                    <a:pt x="172" y="23"/>
                    <a:pt x="173" y="23"/>
                    <a:pt x="173" y="23"/>
                  </a:cubicBezTo>
                  <a:cubicBezTo>
                    <a:pt x="174" y="23"/>
                    <a:pt x="176" y="23"/>
                    <a:pt x="176" y="23"/>
                  </a:cubicBezTo>
                  <a:cubicBezTo>
                    <a:pt x="177" y="23"/>
                    <a:pt x="180" y="23"/>
                    <a:pt x="181" y="23"/>
                  </a:cubicBezTo>
                  <a:cubicBezTo>
                    <a:pt x="181" y="23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4" y="21"/>
                    <a:pt x="184" y="21"/>
                  </a:cubicBezTo>
                  <a:cubicBezTo>
                    <a:pt x="183" y="21"/>
                    <a:pt x="183" y="21"/>
                    <a:pt x="183" y="21"/>
                  </a:cubicBezTo>
                  <a:cubicBezTo>
                    <a:pt x="182" y="21"/>
                    <a:pt x="180" y="21"/>
                    <a:pt x="180" y="21"/>
                  </a:cubicBezTo>
                  <a:cubicBezTo>
                    <a:pt x="180" y="21"/>
                    <a:pt x="179" y="20"/>
                    <a:pt x="178" y="21"/>
                  </a:cubicBezTo>
                  <a:cubicBezTo>
                    <a:pt x="177" y="21"/>
                    <a:pt x="177" y="21"/>
                    <a:pt x="176" y="21"/>
                  </a:cubicBezTo>
                  <a:cubicBezTo>
                    <a:pt x="175" y="21"/>
                    <a:pt x="174" y="21"/>
                    <a:pt x="173" y="21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72" y="20"/>
                    <a:pt x="173" y="20"/>
                    <a:pt x="176" y="20"/>
                  </a:cubicBezTo>
                  <a:cubicBezTo>
                    <a:pt x="176" y="20"/>
                    <a:pt x="176" y="20"/>
                    <a:pt x="176" y="20"/>
                  </a:cubicBezTo>
                  <a:cubicBezTo>
                    <a:pt x="177" y="20"/>
                    <a:pt x="177" y="20"/>
                    <a:pt x="177" y="20"/>
                  </a:cubicBezTo>
                  <a:cubicBezTo>
                    <a:pt x="177" y="20"/>
                    <a:pt x="177" y="20"/>
                    <a:pt x="177" y="20"/>
                  </a:cubicBezTo>
                  <a:cubicBezTo>
                    <a:pt x="177" y="20"/>
                    <a:pt x="177" y="19"/>
                    <a:pt x="177" y="19"/>
                  </a:cubicBezTo>
                  <a:cubicBezTo>
                    <a:pt x="178" y="19"/>
                    <a:pt x="178" y="19"/>
                    <a:pt x="178" y="19"/>
                  </a:cubicBezTo>
                  <a:cubicBezTo>
                    <a:pt x="178" y="19"/>
                    <a:pt x="178" y="19"/>
                    <a:pt x="178" y="19"/>
                  </a:cubicBezTo>
                  <a:cubicBezTo>
                    <a:pt x="178" y="19"/>
                    <a:pt x="178" y="19"/>
                    <a:pt x="178" y="20"/>
                  </a:cubicBezTo>
                  <a:cubicBezTo>
                    <a:pt x="179" y="20"/>
                    <a:pt x="178" y="20"/>
                    <a:pt x="179" y="20"/>
                  </a:cubicBezTo>
                  <a:cubicBezTo>
                    <a:pt x="180" y="20"/>
                    <a:pt x="182" y="20"/>
                    <a:pt x="183" y="20"/>
                  </a:cubicBezTo>
                  <a:cubicBezTo>
                    <a:pt x="183" y="20"/>
                    <a:pt x="183" y="20"/>
                    <a:pt x="184" y="20"/>
                  </a:cubicBezTo>
                  <a:cubicBezTo>
                    <a:pt x="184" y="20"/>
                    <a:pt x="184" y="20"/>
                    <a:pt x="184" y="20"/>
                  </a:cubicBezTo>
                  <a:cubicBezTo>
                    <a:pt x="184" y="19"/>
                    <a:pt x="184" y="19"/>
                    <a:pt x="184" y="19"/>
                  </a:cubicBezTo>
                  <a:cubicBezTo>
                    <a:pt x="185" y="19"/>
                    <a:pt x="185" y="19"/>
                    <a:pt x="185" y="19"/>
                  </a:cubicBezTo>
                  <a:cubicBezTo>
                    <a:pt x="186" y="19"/>
                    <a:pt x="187" y="19"/>
                    <a:pt x="188" y="19"/>
                  </a:cubicBezTo>
                  <a:cubicBezTo>
                    <a:pt x="188" y="18"/>
                    <a:pt x="188" y="18"/>
                    <a:pt x="188" y="18"/>
                  </a:cubicBezTo>
                  <a:cubicBezTo>
                    <a:pt x="187" y="18"/>
                    <a:pt x="187" y="17"/>
                    <a:pt x="187" y="17"/>
                  </a:cubicBezTo>
                  <a:cubicBezTo>
                    <a:pt x="187" y="17"/>
                    <a:pt x="187" y="17"/>
                    <a:pt x="187" y="17"/>
                  </a:cubicBezTo>
                  <a:cubicBezTo>
                    <a:pt x="187" y="17"/>
                    <a:pt x="187" y="17"/>
                    <a:pt x="187" y="17"/>
                  </a:cubicBezTo>
                  <a:cubicBezTo>
                    <a:pt x="188" y="17"/>
                    <a:pt x="189" y="17"/>
                    <a:pt x="191" y="17"/>
                  </a:cubicBezTo>
                  <a:cubicBezTo>
                    <a:pt x="191" y="17"/>
                    <a:pt x="191" y="17"/>
                    <a:pt x="191" y="17"/>
                  </a:cubicBezTo>
                  <a:cubicBezTo>
                    <a:pt x="192" y="17"/>
                    <a:pt x="191" y="16"/>
                    <a:pt x="192" y="16"/>
                  </a:cubicBezTo>
                  <a:cubicBezTo>
                    <a:pt x="192" y="16"/>
                    <a:pt x="193" y="16"/>
                    <a:pt x="193" y="16"/>
                  </a:cubicBezTo>
                  <a:cubicBezTo>
                    <a:pt x="193" y="16"/>
                    <a:pt x="193" y="15"/>
                    <a:pt x="193" y="15"/>
                  </a:cubicBezTo>
                  <a:cubicBezTo>
                    <a:pt x="194" y="15"/>
                    <a:pt x="195" y="15"/>
                    <a:pt x="195" y="15"/>
                  </a:cubicBezTo>
                  <a:cubicBezTo>
                    <a:pt x="196" y="15"/>
                    <a:pt x="196" y="15"/>
                    <a:pt x="196" y="15"/>
                  </a:cubicBezTo>
                  <a:cubicBezTo>
                    <a:pt x="196" y="14"/>
                    <a:pt x="196" y="14"/>
                    <a:pt x="195" y="14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4" y="14"/>
                    <a:pt x="194" y="13"/>
                    <a:pt x="193" y="13"/>
                  </a:cubicBezTo>
                  <a:cubicBezTo>
                    <a:pt x="192" y="13"/>
                    <a:pt x="192" y="13"/>
                    <a:pt x="191" y="13"/>
                  </a:cubicBezTo>
                  <a:cubicBezTo>
                    <a:pt x="189" y="12"/>
                    <a:pt x="187" y="12"/>
                    <a:pt x="187" y="12"/>
                  </a:cubicBezTo>
                  <a:cubicBezTo>
                    <a:pt x="186" y="12"/>
                    <a:pt x="185" y="12"/>
                    <a:pt x="184" y="12"/>
                  </a:cubicBezTo>
                  <a:cubicBezTo>
                    <a:pt x="183" y="12"/>
                    <a:pt x="183" y="12"/>
                    <a:pt x="183" y="12"/>
                  </a:cubicBezTo>
                  <a:cubicBezTo>
                    <a:pt x="182" y="12"/>
                    <a:pt x="181" y="12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79" y="12"/>
                    <a:pt x="179" y="12"/>
                    <a:pt x="179" y="12"/>
                  </a:cubicBezTo>
                  <a:cubicBezTo>
                    <a:pt x="179" y="12"/>
                    <a:pt x="179" y="13"/>
                    <a:pt x="179" y="13"/>
                  </a:cubicBezTo>
                  <a:cubicBezTo>
                    <a:pt x="179" y="13"/>
                    <a:pt x="179" y="13"/>
                    <a:pt x="179" y="13"/>
                  </a:cubicBezTo>
                  <a:cubicBezTo>
                    <a:pt x="179" y="13"/>
                    <a:pt x="178" y="13"/>
                    <a:pt x="178" y="13"/>
                  </a:cubicBezTo>
                  <a:cubicBezTo>
                    <a:pt x="178" y="13"/>
                    <a:pt x="178" y="14"/>
                    <a:pt x="178" y="14"/>
                  </a:cubicBezTo>
                  <a:cubicBezTo>
                    <a:pt x="178" y="14"/>
                    <a:pt x="179" y="14"/>
                    <a:pt x="178" y="14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77" y="14"/>
                    <a:pt x="177" y="14"/>
                    <a:pt x="177" y="14"/>
                  </a:cubicBezTo>
                  <a:cubicBezTo>
                    <a:pt x="177" y="15"/>
                    <a:pt x="177" y="15"/>
                    <a:pt x="177" y="15"/>
                  </a:cubicBezTo>
                  <a:cubicBezTo>
                    <a:pt x="176" y="15"/>
                    <a:pt x="176" y="15"/>
                    <a:pt x="176" y="15"/>
                  </a:cubicBezTo>
                  <a:cubicBezTo>
                    <a:pt x="176" y="15"/>
                    <a:pt x="176" y="15"/>
                    <a:pt x="176" y="15"/>
                  </a:cubicBezTo>
                  <a:cubicBezTo>
                    <a:pt x="176" y="15"/>
                    <a:pt x="175" y="15"/>
                    <a:pt x="175" y="15"/>
                  </a:cubicBezTo>
                  <a:cubicBezTo>
                    <a:pt x="175" y="15"/>
                    <a:pt x="175" y="15"/>
                    <a:pt x="175" y="15"/>
                  </a:cubicBezTo>
                  <a:cubicBezTo>
                    <a:pt x="175" y="15"/>
                    <a:pt x="174" y="14"/>
                    <a:pt x="174" y="14"/>
                  </a:cubicBezTo>
                  <a:cubicBezTo>
                    <a:pt x="174" y="14"/>
                    <a:pt x="174" y="14"/>
                    <a:pt x="174" y="14"/>
                  </a:cubicBezTo>
                  <a:cubicBezTo>
                    <a:pt x="174" y="14"/>
                    <a:pt x="173" y="14"/>
                    <a:pt x="172" y="15"/>
                  </a:cubicBezTo>
                  <a:cubicBezTo>
                    <a:pt x="172" y="15"/>
                    <a:pt x="172" y="15"/>
                    <a:pt x="172" y="15"/>
                  </a:cubicBezTo>
                  <a:cubicBezTo>
                    <a:pt x="171" y="15"/>
                    <a:pt x="171" y="15"/>
                    <a:pt x="171" y="15"/>
                  </a:cubicBezTo>
                  <a:cubicBezTo>
                    <a:pt x="171" y="15"/>
                    <a:pt x="170" y="15"/>
                    <a:pt x="170" y="15"/>
                  </a:cubicBezTo>
                  <a:cubicBezTo>
                    <a:pt x="170" y="14"/>
                    <a:pt x="171" y="14"/>
                    <a:pt x="172" y="13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71" y="14"/>
                    <a:pt x="169" y="14"/>
                    <a:pt x="169" y="14"/>
                  </a:cubicBezTo>
                  <a:cubicBezTo>
                    <a:pt x="169" y="14"/>
                    <a:pt x="168" y="14"/>
                    <a:pt x="167" y="15"/>
                  </a:cubicBezTo>
                  <a:cubicBezTo>
                    <a:pt x="167" y="15"/>
                    <a:pt x="166" y="15"/>
                    <a:pt x="166" y="15"/>
                  </a:cubicBezTo>
                  <a:cubicBezTo>
                    <a:pt x="166" y="16"/>
                    <a:pt x="166" y="16"/>
                    <a:pt x="166" y="16"/>
                  </a:cubicBezTo>
                  <a:cubicBezTo>
                    <a:pt x="166" y="16"/>
                    <a:pt x="165" y="16"/>
                    <a:pt x="165" y="16"/>
                  </a:cubicBezTo>
                  <a:cubicBezTo>
                    <a:pt x="165" y="16"/>
                    <a:pt x="165" y="17"/>
                    <a:pt x="165" y="17"/>
                  </a:cubicBezTo>
                  <a:cubicBezTo>
                    <a:pt x="164" y="17"/>
                    <a:pt x="163" y="17"/>
                    <a:pt x="163" y="17"/>
                  </a:cubicBezTo>
                  <a:cubicBezTo>
                    <a:pt x="163" y="17"/>
                    <a:pt x="162" y="18"/>
                    <a:pt x="162" y="18"/>
                  </a:cubicBezTo>
                  <a:cubicBezTo>
                    <a:pt x="162" y="18"/>
                    <a:pt x="163" y="18"/>
                    <a:pt x="162" y="18"/>
                  </a:cubicBezTo>
                  <a:cubicBezTo>
                    <a:pt x="160" y="19"/>
                    <a:pt x="160" y="19"/>
                    <a:pt x="160" y="19"/>
                  </a:cubicBezTo>
                  <a:cubicBezTo>
                    <a:pt x="160" y="19"/>
                    <a:pt x="160" y="19"/>
                    <a:pt x="160" y="19"/>
                  </a:cubicBezTo>
                  <a:cubicBezTo>
                    <a:pt x="160" y="20"/>
                    <a:pt x="160" y="20"/>
                    <a:pt x="160" y="20"/>
                  </a:cubicBezTo>
                  <a:cubicBezTo>
                    <a:pt x="160" y="20"/>
                    <a:pt x="159" y="20"/>
                    <a:pt x="159" y="20"/>
                  </a:cubicBezTo>
                  <a:cubicBezTo>
                    <a:pt x="159" y="20"/>
                    <a:pt x="159" y="20"/>
                    <a:pt x="159" y="20"/>
                  </a:cubicBezTo>
                  <a:cubicBezTo>
                    <a:pt x="158" y="21"/>
                    <a:pt x="157" y="21"/>
                    <a:pt x="157" y="20"/>
                  </a:cubicBezTo>
                  <a:cubicBezTo>
                    <a:pt x="158" y="20"/>
                    <a:pt x="158" y="20"/>
                    <a:pt x="159" y="19"/>
                  </a:cubicBezTo>
                  <a:cubicBezTo>
                    <a:pt x="159" y="19"/>
                    <a:pt x="159" y="19"/>
                    <a:pt x="159" y="19"/>
                  </a:cubicBezTo>
                  <a:cubicBezTo>
                    <a:pt x="159" y="19"/>
                    <a:pt x="158" y="19"/>
                    <a:pt x="158" y="19"/>
                  </a:cubicBezTo>
                  <a:cubicBezTo>
                    <a:pt x="159" y="19"/>
                    <a:pt x="159" y="18"/>
                    <a:pt x="160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61" y="17"/>
                    <a:pt x="161" y="16"/>
                    <a:pt x="160" y="16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162" y="16"/>
                    <a:pt x="162" y="16"/>
                    <a:pt x="162" y="16"/>
                  </a:cubicBezTo>
                  <a:cubicBezTo>
                    <a:pt x="163" y="16"/>
                    <a:pt x="164" y="15"/>
                    <a:pt x="164" y="15"/>
                  </a:cubicBezTo>
                  <a:cubicBezTo>
                    <a:pt x="164" y="15"/>
                    <a:pt x="164" y="15"/>
                    <a:pt x="165" y="14"/>
                  </a:cubicBezTo>
                  <a:cubicBezTo>
                    <a:pt x="165" y="14"/>
                    <a:pt x="165" y="13"/>
                    <a:pt x="165" y="12"/>
                  </a:cubicBezTo>
                  <a:cubicBezTo>
                    <a:pt x="165" y="12"/>
                    <a:pt x="165" y="12"/>
                    <a:pt x="165" y="12"/>
                  </a:cubicBezTo>
                  <a:cubicBezTo>
                    <a:pt x="164" y="12"/>
                    <a:pt x="164" y="11"/>
                    <a:pt x="163" y="11"/>
                  </a:cubicBezTo>
                  <a:cubicBezTo>
                    <a:pt x="163" y="11"/>
                    <a:pt x="161" y="11"/>
                    <a:pt x="160" y="11"/>
                  </a:cubicBezTo>
                  <a:cubicBezTo>
                    <a:pt x="159" y="11"/>
                    <a:pt x="159" y="11"/>
                    <a:pt x="158" y="12"/>
                  </a:cubicBezTo>
                  <a:cubicBezTo>
                    <a:pt x="158" y="12"/>
                    <a:pt x="158" y="12"/>
                    <a:pt x="158" y="12"/>
                  </a:cubicBezTo>
                  <a:cubicBezTo>
                    <a:pt x="158" y="12"/>
                    <a:pt x="158" y="12"/>
                    <a:pt x="158" y="12"/>
                  </a:cubicBezTo>
                  <a:cubicBezTo>
                    <a:pt x="158" y="12"/>
                    <a:pt x="158" y="12"/>
                    <a:pt x="158" y="12"/>
                  </a:cubicBezTo>
                  <a:cubicBezTo>
                    <a:pt x="158" y="13"/>
                    <a:pt x="158" y="13"/>
                    <a:pt x="158" y="13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6" y="14"/>
                    <a:pt x="154" y="14"/>
                    <a:pt x="153" y="14"/>
                  </a:cubicBezTo>
                  <a:cubicBezTo>
                    <a:pt x="152" y="14"/>
                    <a:pt x="152" y="14"/>
                    <a:pt x="152" y="14"/>
                  </a:cubicBezTo>
                  <a:cubicBezTo>
                    <a:pt x="152" y="15"/>
                    <a:pt x="150" y="15"/>
                    <a:pt x="149" y="15"/>
                  </a:cubicBezTo>
                  <a:cubicBezTo>
                    <a:pt x="149" y="15"/>
                    <a:pt x="148" y="16"/>
                    <a:pt x="148" y="16"/>
                  </a:cubicBezTo>
                  <a:cubicBezTo>
                    <a:pt x="147" y="16"/>
                    <a:pt x="147" y="16"/>
                    <a:pt x="147" y="16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8" y="15"/>
                    <a:pt x="148" y="15"/>
                    <a:pt x="149" y="14"/>
                  </a:cubicBezTo>
                  <a:cubicBezTo>
                    <a:pt x="150" y="14"/>
                    <a:pt x="150" y="14"/>
                    <a:pt x="150" y="14"/>
                  </a:cubicBezTo>
                  <a:cubicBezTo>
                    <a:pt x="150" y="14"/>
                    <a:pt x="150" y="14"/>
                    <a:pt x="150" y="14"/>
                  </a:cubicBezTo>
                  <a:cubicBezTo>
                    <a:pt x="152" y="13"/>
                    <a:pt x="154" y="13"/>
                    <a:pt x="154" y="12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4" y="12"/>
                    <a:pt x="154" y="11"/>
                    <a:pt x="154" y="11"/>
                  </a:cubicBezTo>
                  <a:cubicBezTo>
                    <a:pt x="153" y="11"/>
                    <a:pt x="150" y="11"/>
                    <a:pt x="150" y="11"/>
                  </a:cubicBezTo>
                  <a:cubicBezTo>
                    <a:pt x="149" y="11"/>
                    <a:pt x="150" y="11"/>
                    <a:pt x="146" y="11"/>
                  </a:cubicBezTo>
                  <a:cubicBezTo>
                    <a:pt x="143" y="11"/>
                    <a:pt x="142" y="12"/>
                    <a:pt x="142" y="12"/>
                  </a:cubicBezTo>
                  <a:cubicBezTo>
                    <a:pt x="141" y="12"/>
                    <a:pt x="141" y="12"/>
                    <a:pt x="141" y="12"/>
                  </a:cubicBezTo>
                  <a:cubicBezTo>
                    <a:pt x="141" y="12"/>
                    <a:pt x="140" y="12"/>
                    <a:pt x="140" y="12"/>
                  </a:cubicBezTo>
                  <a:cubicBezTo>
                    <a:pt x="140" y="12"/>
                    <a:pt x="140" y="12"/>
                    <a:pt x="140" y="12"/>
                  </a:cubicBezTo>
                  <a:cubicBezTo>
                    <a:pt x="140" y="12"/>
                    <a:pt x="138" y="12"/>
                    <a:pt x="137" y="12"/>
                  </a:cubicBezTo>
                  <a:cubicBezTo>
                    <a:pt x="137" y="12"/>
                    <a:pt x="134" y="12"/>
                    <a:pt x="134" y="12"/>
                  </a:cubicBezTo>
                  <a:cubicBezTo>
                    <a:pt x="133" y="13"/>
                    <a:pt x="132" y="13"/>
                    <a:pt x="132" y="13"/>
                  </a:cubicBezTo>
                  <a:cubicBezTo>
                    <a:pt x="131" y="13"/>
                    <a:pt x="131" y="13"/>
                    <a:pt x="131" y="13"/>
                  </a:cubicBezTo>
                  <a:cubicBezTo>
                    <a:pt x="130" y="13"/>
                    <a:pt x="129" y="13"/>
                    <a:pt x="129" y="13"/>
                  </a:cubicBezTo>
                  <a:cubicBezTo>
                    <a:pt x="129" y="13"/>
                    <a:pt x="129" y="13"/>
                    <a:pt x="129" y="13"/>
                  </a:cubicBezTo>
                  <a:cubicBezTo>
                    <a:pt x="129" y="13"/>
                    <a:pt x="129" y="13"/>
                    <a:pt x="129" y="13"/>
                  </a:cubicBezTo>
                  <a:cubicBezTo>
                    <a:pt x="129" y="13"/>
                    <a:pt x="130" y="12"/>
                    <a:pt x="131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32" y="12"/>
                    <a:pt x="135" y="11"/>
                    <a:pt x="135" y="11"/>
                  </a:cubicBezTo>
                  <a:cubicBezTo>
                    <a:pt x="137" y="11"/>
                    <a:pt x="138" y="11"/>
                    <a:pt x="136" y="10"/>
                  </a:cubicBezTo>
                  <a:cubicBezTo>
                    <a:pt x="135" y="10"/>
                    <a:pt x="134" y="10"/>
                    <a:pt x="134" y="10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5" y="10"/>
                    <a:pt x="136" y="10"/>
                  </a:cubicBezTo>
                  <a:cubicBezTo>
                    <a:pt x="136" y="10"/>
                    <a:pt x="136" y="10"/>
                    <a:pt x="136" y="10"/>
                  </a:cubicBezTo>
                  <a:cubicBezTo>
                    <a:pt x="136" y="10"/>
                    <a:pt x="138" y="10"/>
                    <a:pt x="138" y="10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39" y="10"/>
                    <a:pt x="140" y="10"/>
                    <a:pt x="140" y="10"/>
                  </a:cubicBezTo>
                  <a:cubicBezTo>
                    <a:pt x="141" y="10"/>
                    <a:pt x="141" y="10"/>
                    <a:pt x="141" y="10"/>
                  </a:cubicBezTo>
                  <a:cubicBezTo>
                    <a:pt x="142" y="10"/>
                    <a:pt x="144" y="10"/>
                    <a:pt x="146" y="10"/>
                  </a:cubicBezTo>
                  <a:cubicBezTo>
                    <a:pt x="147" y="10"/>
                    <a:pt x="149" y="10"/>
                    <a:pt x="151" y="10"/>
                  </a:cubicBezTo>
                  <a:cubicBezTo>
                    <a:pt x="152" y="10"/>
                    <a:pt x="152" y="11"/>
                    <a:pt x="155" y="10"/>
                  </a:cubicBezTo>
                  <a:cubicBezTo>
                    <a:pt x="157" y="10"/>
                    <a:pt x="157" y="10"/>
                    <a:pt x="158" y="9"/>
                  </a:cubicBezTo>
                  <a:cubicBezTo>
                    <a:pt x="160" y="9"/>
                    <a:pt x="161" y="9"/>
                    <a:pt x="161" y="9"/>
                  </a:cubicBezTo>
                  <a:cubicBezTo>
                    <a:pt x="162" y="9"/>
                    <a:pt x="163" y="9"/>
                    <a:pt x="163" y="9"/>
                  </a:cubicBezTo>
                  <a:cubicBezTo>
                    <a:pt x="164" y="9"/>
                    <a:pt x="164" y="9"/>
                    <a:pt x="164" y="9"/>
                  </a:cubicBezTo>
                  <a:cubicBezTo>
                    <a:pt x="164" y="8"/>
                    <a:pt x="165" y="8"/>
                    <a:pt x="165" y="8"/>
                  </a:cubicBezTo>
                  <a:cubicBezTo>
                    <a:pt x="166" y="8"/>
                    <a:pt x="166" y="8"/>
                    <a:pt x="166" y="8"/>
                  </a:cubicBezTo>
                  <a:cubicBezTo>
                    <a:pt x="167" y="7"/>
                    <a:pt x="167" y="7"/>
                    <a:pt x="167" y="7"/>
                  </a:cubicBezTo>
                  <a:cubicBezTo>
                    <a:pt x="167" y="7"/>
                    <a:pt x="167" y="7"/>
                    <a:pt x="167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5" y="7"/>
                    <a:pt x="164" y="6"/>
                    <a:pt x="164" y="6"/>
                  </a:cubicBezTo>
                  <a:cubicBezTo>
                    <a:pt x="163" y="6"/>
                    <a:pt x="163" y="6"/>
                    <a:pt x="163" y="6"/>
                  </a:cubicBezTo>
                  <a:cubicBezTo>
                    <a:pt x="163" y="6"/>
                    <a:pt x="162" y="6"/>
                    <a:pt x="162" y="6"/>
                  </a:cubicBezTo>
                  <a:cubicBezTo>
                    <a:pt x="162" y="6"/>
                    <a:pt x="161" y="6"/>
                    <a:pt x="161" y="6"/>
                  </a:cubicBezTo>
                  <a:cubicBezTo>
                    <a:pt x="160" y="6"/>
                    <a:pt x="160" y="6"/>
                    <a:pt x="159" y="6"/>
                  </a:cubicBezTo>
                  <a:cubicBezTo>
                    <a:pt x="159" y="6"/>
                    <a:pt x="158" y="6"/>
                    <a:pt x="159" y="6"/>
                  </a:cubicBezTo>
                  <a:cubicBezTo>
                    <a:pt x="159" y="5"/>
                    <a:pt x="158" y="5"/>
                    <a:pt x="156" y="5"/>
                  </a:cubicBezTo>
                  <a:cubicBezTo>
                    <a:pt x="156" y="5"/>
                    <a:pt x="156" y="5"/>
                    <a:pt x="156" y="5"/>
                  </a:cubicBezTo>
                  <a:cubicBezTo>
                    <a:pt x="156" y="5"/>
                    <a:pt x="154" y="6"/>
                    <a:pt x="154" y="6"/>
                  </a:cubicBezTo>
                  <a:cubicBezTo>
                    <a:pt x="153" y="6"/>
                    <a:pt x="153" y="6"/>
                    <a:pt x="153" y="6"/>
                  </a:cubicBezTo>
                  <a:cubicBezTo>
                    <a:pt x="153" y="6"/>
                    <a:pt x="153" y="6"/>
                    <a:pt x="153" y="5"/>
                  </a:cubicBezTo>
                  <a:cubicBezTo>
                    <a:pt x="154" y="5"/>
                    <a:pt x="155" y="5"/>
                    <a:pt x="155" y="5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6" y="4"/>
                    <a:pt x="156" y="3"/>
                    <a:pt x="155" y="3"/>
                  </a:cubicBezTo>
                  <a:cubicBezTo>
                    <a:pt x="155" y="3"/>
                    <a:pt x="155" y="3"/>
                    <a:pt x="155" y="3"/>
                  </a:cubicBezTo>
                  <a:cubicBezTo>
                    <a:pt x="154" y="4"/>
                    <a:pt x="151" y="4"/>
                    <a:pt x="151" y="4"/>
                  </a:cubicBezTo>
                  <a:cubicBezTo>
                    <a:pt x="150" y="4"/>
                    <a:pt x="148" y="4"/>
                    <a:pt x="148" y="4"/>
                  </a:cubicBezTo>
                  <a:cubicBezTo>
                    <a:pt x="147" y="4"/>
                    <a:pt x="147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5" y="4"/>
                    <a:pt x="145" y="4"/>
                    <a:pt x="144" y="4"/>
                  </a:cubicBezTo>
                  <a:cubicBezTo>
                    <a:pt x="144" y="4"/>
                    <a:pt x="142" y="4"/>
                    <a:pt x="140" y="4"/>
                  </a:cubicBezTo>
                  <a:cubicBezTo>
                    <a:pt x="138" y="4"/>
                    <a:pt x="136" y="4"/>
                    <a:pt x="135" y="4"/>
                  </a:cubicBezTo>
                  <a:cubicBezTo>
                    <a:pt x="134" y="5"/>
                    <a:pt x="132" y="5"/>
                    <a:pt x="131" y="5"/>
                  </a:cubicBezTo>
                  <a:cubicBezTo>
                    <a:pt x="129" y="5"/>
                    <a:pt x="127" y="5"/>
                    <a:pt x="127" y="5"/>
                  </a:cubicBezTo>
                  <a:cubicBezTo>
                    <a:pt x="127" y="5"/>
                    <a:pt x="127" y="5"/>
                    <a:pt x="128" y="5"/>
                  </a:cubicBezTo>
                  <a:cubicBezTo>
                    <a:pt x="129" y="4"/>
                    <a:pt x="131" y="4"/>
                    <a:pt x="133" y="4"/>
                  </a:cubicBezTo>
                  <a:cubicBezTo>
                    <a:pt x="133" y="4"/>
                    <a:pt x="133" y="4"/>
                    <a:pt x="133" y="4"/>
                  </a:cubicBezTo>
                  <a:cubicBezTo>
                    <a:pt x="134" y="4"/>
                    <a:pt x="135" y="3"/>
                    <a:pt x="136" y="3"/>
                  </a:cubicBezTo>
                  <a:cubicBezTo>
                    <a:pt x="137" y="3"/>
                    <a:pt x="139" y="3"/>
                    <a:pt x="139" y="3"/>
                  </a:cubicBezTo>
                  <a:cubicBezTo>
                    <a:pt x="139" y="3"/>
                    <a:pt x="146" y="3"/>
                    <a:pt x="146" y="3"/>
                  </a:cubicBezTo>
                  <a:cubicBezTo>
                    <a:pt x="146" y="4"/>
                    <a:pt x="148" y="4"/>
                    <a:pt x="148" y="3"/>
                  </a:cubicBezTo>
                  <a:cubicBezTo>
                    <a:pt x="149" y="3"/>
                    <a:pt x="150" y="3"/>
                    <a:pt x="150" y="3"/>
                  </a:cubicBezTo>
                  <a:cubicBezTo>
                    <a:pt x="151" y="3"/>
                    <a:pt x="152" y="3"/>
                    <a:pt x="152" y="3"/>
                  </a:cubicBezTo>
                  <a:cubicBezTo>
                    <a:pt x="153" y="3"/>
                    <a:pt x="154" y="2"/>
                    <a:pt x="152" y="2"/>
                  </a:cubicBezTo>
                  <a:cubicBezTo>
                    <a:pt x="150" y="2"/>
                    <a:pt x="147" y="1"/>
                    <a:pt x="146" y="1"/>
                  </a:cubicBezTo>
                  <a:cubicBezTo>
                    <a:pt x="145" y="1"/>
                    <a:pt x="144" y="1"/>
                    <a:pt x="144" y="1"/>
                  </a:cubicBezTo>
                  <a:cubicBezTo>
                    <a:pt x="144" y="1"/>
                    <a:pt x="143" y="2"/>
                    <a:pt x="143" y="2"/>
                  </a:cubicBezTo>
                  <a:cubicBezTo>
                    <a:pt x="143" y="1"/>
                    <a:pt x="142" y="1"/>
                    <a:pt x="142" y="1"/>
                  </a:cubicBezTo>
                  <a:cubicBezTo>
                    <a:pt x="141" y="1"/>
                    <a:pt x="141" y="1"/>
                    <a:pt x="140" y="1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7" y="0"/>
                    <a:pt x="136" y="0"/>
                    <a:pt x="136" y="0"/>
                  </a:cubicBezTo>
                  <a:cubicBezTo>
                    <a:pt x="136" y="0"/>
                    <a:pt x="136" y="1"/>
                    <a:pt x="135" y="1"/>
                  </a:cubicBezTo>
                  <a:cubicBezTo>
                    <a:pt x="135" y="1"/>
                    <a:pt x="135" y="1"/>
                    <a:pt x="134" y="1"/>
                  </a:cubicBezTo>
                  <a:cubicBezTo>
                    <a:pt x="134" y="0"/>
                    <a:pt x="133" y="0"/>
                    <a:pt x="133" y="0"/>
                  </a:cubicBezTo>
                  <a:cubicBezTo>
                    <a:pt x="132" y="0"/>
                    <a:pt x="132" y="0"/>
                    <a:pt x="131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29" y="0"/>
                    <a:pt x="129" y="0"/>
                    <a:pt x="128" y="1"/>
                  </a:cubicBezTo>
                  <a:cubicBezTo>
                    <a:pt x="127" y="1"/>
                    <a:pt x="127" y="1"/>
                    <a:pt x="127" y="1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7" y="0"/>
                    <a:pt x="126" y="0"/>
                    <a:pt x="126" y="1"/>
                  </a:cubicBezTo>
                  <a:cubicBezTo>
                    <a:pt x="126" y="1"/>
                    <a:pt x="126" y="1"/>
                    <a:pt x="126" y="1"/>
                  </a:cubicBez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1"/>
                    <a:pt x="127" y="1"/>
                  </a:cubicBezTo>
                  <a:cubicBezTo>
                    <a:pt x="126" y="1"/>
                    <a:pt x="126" y="1"/>
                    <a:pt x="125" y="1"/>
                  </a:cubicBezTo>
                  <a:cubicBezTo>
                    <a:pt x="125" y="1"/>
                    <a:pt x="125" y="1"/>
                    <a:pt x="125" y="1"/>
                  </a:cubicBezTo>
                  <a:cubicBezTo>
                    <a:pt x="125" y="1"/>
                    <a:pt x="124" y="1"/>
                    <a:pt x="124" y="1"/>
                  </a:cubicBezTo>
                  <a:cubicBezTo>
                    <a:pt x="124" y="1"/>
                    <a:pt x="122" y="1"/>
                    <a:pt x="122" y="1"/>
                  </a:cubicBezTo>
                  <a:cubicBezTo>
                    <a:pt x="121" y="1"/>
                    <a:pt x="120" y="0"/>
                    <a:pt x="119" y="1"/>
                  </a:cubicBezTo>
                  <a:cubicBezTo>
                    <a:pt x="119" y="1"/>
                    <a:pt x="119" y="1"/>
                    <a:pt x="119" y="1"/>
                  </a:cubicBezTo>
                  <a:cubicBezTo>
                    <a:pt x="118" y="1"/>
                    <a:pt x="118" y="1"/>
                    <a:pt x="118" y="1"/>
                  </a:cubicBezTo>
                  <a:cubicBezTo>
                    <a:pt x="118" y="1"/>
                    <a:pt x="118" y="1"/>
                    <a:pt x="118" y="1"/>
                  </a:cubicBezTo>
                  <a:cubicBezTo>
                    <a:pt x="118" y="2"/>
                    <a:pt x="118" y="2"/>
                    <a:pt x="118" y="2"/>
                  </a:cubicBezTo>
                  <a:cubicBezTo>
                    <a:pt x="118" y="2"/>
                    <a:pt x="119" y="2"/>
                    <a:pt x="119" y="2"/>
                  </a:cubicBezTo>
                  <a:cubicBezTo>
                    <a:pt x="119" y="2"/>
                    <a:pt x="118" y="2"/>
                    <a:pt x="118" y="2"/>
                  </a:cubicBezTo>
                  <a:cubicBezTo>
                    <a:pt x="118" y="2"/>
                    <a:pt x="116" y="1"/>
                    <a:pt x="115" y="1"/>
                  </a:cubicBezTo>
                  <a:cubicBezTo>
                    <a:pt x="115" y="1"/>
                    <a:pt x="115" y="1"/>
                    <a:pt x="115" y="1"/>
                  </a:cubicBezTo>
                  <a:cubicBezTo>
                    <a:pt x="114" y="1"/>
                    <a:pt x="114" y="2"/>
                    <a:pt x="113" y="2"/>
                  </a:cubicBezTo>
                  <a:cubicBezTo>
                    <a:pt x="114" y="2"/>
                    <a:pt x="114" y="2"/>
                    <a:pt x="114" y="2"/>
                  </a:cubicBezTo>
                  <a:cubicBezTo>
                    <a:pt x="114" y="2"/>
                    <a:pt x="115" y="2"/>
                    <a:pt x="114" y="2"/>
                  </a:cubicBezTo>
                  <a:cubicBezTo>
                    <a:pt x="113" y="2"/>
                    <a:pt x="113" y="2"/>
                    <a:pt x="112" y="2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2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11" y="2"/>
                    <a:pt x="111" y="3"/>
                    <a:pt x="111" y="3"/>
                  </a:cubicBezTo>
                  <a:cubicBezTo>
                    <a:pt x="111" y="3"/>
                    <a:pt x="112" y="3"/>
                    <a:pt x="112" y="3"/>
                  </a:cubicBezTo>
                  <a:cubicBezTo>
                    <a:pt x="112" y="3"/>
                    <a:pt x="112" y="3"/>
                    <a:pt x="112" y="3"/>
                  </a:cubicBezTo>
                  <a:cubicBezTo>
                    <a:pt x="113" y="3"/>
                    <a:pt x="114" y="3"/>
                    <a:pt x="115" y="3"/>
                  </a:cubicBezTo>
                  <a:cubicBezTo>
                    <a:pt x="115" y="3"/>
                    <a:pt x="115" y="3"/>
                    <a:pt x="114" y="4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2" y="4"/>
                    <a:pt x="110" y="5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5"/>
                    <a:pt x="106" y="5"/>
                    <a:pt x="106" y="5"/>
                  </a:cubicBezTo>
                  <a:cubicBezTo>
                    <a:pt x="106" y="5"/>
                    <a:pt x="103" y="4"/>
                    <a:pt x="102" y="4"/>
                  </a:cubicBezTo>
                  <a:cubicBezTo>
                    <a:pt x="102" y="4"/>
                    <a:pt x="100" y="3"/>
                    <a:pt x="99" y="3"/>
                  </a:cubicBezTo>
                  <a:cubicBezTo>
                    <a:pt x="98" y="3"/>
                    <a:pt x="96" y="3"/>
                    <a:pt x="95" y="3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4" y="3"/>
                    <a:pt x="92" y="4"/>
                    <a:pt x="92" y="4"/>
                  </a:cubicBezTo>
                  <a:cubicBezTo>
                    <a:pt x="91" y="4"/>
                    <a:pt x="91" y="4"/>
                    <a:pt x="91" y="4"/>
                  </a:cubicBezTo>
                  <a:cubicBezTo>
                    <a:pt x="90" y="4"/>
                    <a:pt x="89" y="4"/>
                    <a:pt x="89" y="4"/>
                  </a:cubicBezTo>
                  <a:cubicBezTo>
                    <a:pt x="90" y="4"/>
                    <a:pt x="90" y="4"/>
                    <a:pt x="90" y="4"/>
                  </a:cubicBezTo>
                  <a:cubicBezTo>
                    <a:pt x="91" y="4"/>
                    <a:pt x="92" y="5"/>
                    <a:pt x="91" y="5"/>
                  </a:cubicBezTo>
                  <a:cubicBezTo>
                    <a:pt x="91" y="5"/>
                    <a:pt x="90" y="5"/>
                    <a:pt x="89" y="4"/>
                  </a:cubicBezTo>
                  <a:cubicBezTo>
                    <a:pt x="89" y="4"/>
                    <a:pt x="87" y="4"/>
                    <a:pt x="87" y="4"/>
                  </a:cubicBezTo>
                  <a:cubicBezTo>
                    <a:pt x="86" y="4"/>
                    <a:pt x="86" y="4"/>
                    <a:pt x="86" y="4"/>
                  </a:cubicBezTo>
                  <a:cubicBezTo>
                    <a:pt x="86" y="4"/>
                    <a:pt x="86" y="4"/>
                    <a:pt x="86" y="4"/>
                  </a:cubicBezTo>
                  <a:cubicBezTo>
                    <a:pt x="86" y="4"/>
                    <a:pt x="86" y="5"/>
                    <a:pt x="86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7" y="5"/>
                    <a:pt x="87" y="5"/>
                    <a:pt x="88" y="5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1" y="5"/>
                    <a:pt x="92" y="5"/>
                    <a:pt x="93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7" y="5"/>
                    <a:pt x="97" y="5"/>
                    <a:pt x="97" y="5"/>
                  </a:cubicBezTo>
                  <a:cubicBezTo>
                    <a:pt x="97" y="5"/>
                    <a:pt x="99" y="5"/>
                    <a:pt x="99" y="5"/>
                  </a:cubicBezTo>
                  <a:cubicBezTo>
                    <a:pt x="100" y="5"/>
                    <a:pt x="100" y="5"/>
                    <a:pt x="100" y="5"/>
                  </a:cubicBezTo>
                  <a:cubicBezTo>
                    <a:pt x="101" y="5"/>
                    <a:pt x="102" y="6"/>
                    <a:pt x="102" y="6"/>
                  </a:cubicBezTo>
                  <a:cubicBezTo>
                    <a:pt x="103" y="6"/>
                    <a:pt x="104" y="6"/>
                    <a:pt x="105" y="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5" y="6"/>
                    <a:pt x="106" y="7"/>
                    <a:pt x="107" y="7"/>
                  </a:cubicBezTo>
                  <a:cubicBezTo>
                    <a:pt x="107" y="7"/>
                    <a:pt x="107" y="7"/>
                    <a:pt x="107" y="7"/>
                  </a:cubicBezTo>
                  <a:cubicBezTo>
                    <a:pt x="107" y="7"/>
                    <a:pt x="107" y="7"/>
                    <a:pt x="107" y="7"/>
                  </a:cubicBezTo>
                  <a:cubicBezTo>
                    <a:pt x="108" y="7"/>
                    <a:pt x="108" y="7"/>
                    <a:pt x="107" y="7"/>
                  </a:cubicBezTo>
                  <a:cubicBezTo>
                    <a:pt x="107" y="8"/>
                    <a:pt x="107" y="8"/>
                    <a:pt x="108" y="8"/>
                  </a:cubicBezTo>
                  <a:cubicBezTo>
                    <a:pt x="108" y="8"/>
                    <a:pt x="108" y="8"/>
                    <a:pt x="108" y="9"/>
                  </a:cubicBezTo>
                  <a:cubicBezTo>
                    <a:pt x="107" y="9"/>
                    <a:pt x="107" y="9"/>
                    <a:pt x="107" y="8"/>
                  </a:cubicBezTo>
                  <a:cubicBezTo>
                    <a:pt x="107" y="8"/>
                    <a:pt x="106" y="8"/>
                    <a:pt x="106" y="8"/>
                  </a:cubicBezTo>
                  <a:cubicBezTo>
                    <a:pt x="105" y="8"/>
                    <a:pt x="104" y="7"/>
                    <a:pt x="103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6"/>
                    <a:pt x="102" y="7"/>
                    <a:pt x="102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7"/>
                    <a:pt x="102" y="8"/>
                    <a:pt x="102" y="8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1" y="8"/>
                    <a:pt x="101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01" y="7"/>
                    <a:pt x="100" y="7"/>
                    <a:pt x="100" y="6"/>
                  </a:cubicBezTo>
                  <a:cubicBezTo>
                    <a:pt x="100" y="6"/>
                    <a:pt x="99" y="6"/>
                    <a:pt x="98" y="6"/>
                  </a:cubicBezTo>
                  <a:cubicBezTo>
                    <a:pt x="97" y="6"/>
                    <a:pt x="96" y="6"/>
                    <a:pt x="94" y="6"/>
                  </a:cubicBezTo>
                  <a:cubicBezTo>
                    <a:pt x="93" y="6"/>
                    <a:pt x="92" y="6"/>
                    <a:pt x="91" y="6"/>
                  </a:cubicBezTo>
                  <a:cubicBezTo>
                    <a:pt x="90" y="6"/>
                    <a:pt x="89" y="6"/>
                    <a:pt x="89" y="6"/>
                  </a:cubicBezTo>
                  <a:cubicBezTo>
                    <a:pt x="89" y="6"/>
                    <a:pt x="89" y="7"/>
                    <a:pt x="89" y="7"/>
                  </a:cubicBezTo>
                  <a:cubicBezTo>
                    <a:pt x="89" y="7"/>
                    <a:pt x="89" y="7"/>
                    <a:pt x="89" y="7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1" y="7"/>
                    <a:pt x="92" y="7"/>
                    <a:pt x="93" y="8"/>
                  </a:cubicBezTo>
                  <a:cubicBezTo>
                    <a:pt x="93" y="8"/>
                    <a:pt x="93" y="8"/>
                    <a:pt x="93" y="8"/>
                  </a:cubicBezTo>
                  <a:cubicBezTo>
                    <a:pt x="94" y="8"/>
                    <a:pt x="94" y="8"/>
                    <a:pt x="95" y="8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6" y="9"/>
                    <a:pt x="97" y="9"/>
                    <a:pt x="98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9" y="10"/>
                    <a:pt x="99" y="10"/>
                    <a:pt x="97" y="10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5" y="10"/>
                    <a:pt x="94" y="9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1"/>
                    <a:pt x="93" y="11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3" y="12"/>
                    <a:pt x="93" y="12"/>
                    <a:pt x="93" y="12"/>
                  </a:cubicBezTo>
                  <a:cubicBezTo>
                    <a:pt x="93" y="12"/>
                    <a:pt x="93" y="12"/>
                    <a:pt x="94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3" y="13"/>
                    <a:pt x="91" y="13"/>
                    <a:pt x="90" y="13"/>
                  </a:cubicBezTo>
                  <a:cubicBezTo>
                    <a:pt x="90" y="12"/>
                    <a:pt x="89" y="12"/>
                    <a:pt x="88" y="12"/>
                  </a:cubicBezTo>
                  <a:cubicBezTo>
                    <a:pt x="87" y="11"/>
                    <a:pt x="90" y="12"/>
                    <a:pt x="87" y="11"/>
                  </a:cubicBezTo>
                  <a:cubicBezTo>
                    <a:pt x="84" y="10"/>
                    <a:pt x="84" y="10"/>
                    <a:pt x="84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83" y="10"/>
                    <a:pt x="82" y="10"/>
                    <a:pt x="81" y="9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80" y="9"/>
                    <a:pt x="78" y="8"/>
                    <a:pt x="77" y="8"/>
                  </a:cubicBezTo>
                  <a:cubicBezTo>
                    <a:pt x="75" y="8"/>
                    <a:pt x="73" y="8"/>
                    <a:pt x="73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3" y="9"/>
                    <a:pt x="73" y="10"/>
                    <a:pt x="73" y="10"/>
                  </a:cubicBezTo>
                  <a:cubicBezTo>
                    <a:pt x="74" y="10"/>
                    <a:pt x="76" y="11"/>
                    <a:pt x="76" y="11"/>
                  </a:cubicBezTo>
                  <a:cubicBezTo>
                    <a:pt x="76" y="11"/>
                    <a:pt x="77" y="11"/>
                    <a:pt x="77" y="12"/>
                  </a:cubicBezTo>
                  <a:cubicBezTo>
                    <a:pt x="77" y="12"/>
                    <a:pt x="78" y="12"/>
                    <a:pt x="76" y="12"/>
                  </a:cubicBezTo>
                  <a:cubicBezTo>
                    <a:pt x="75" y="12"/>
                    <a:pt x="75" y="12"/>
                    <a:pt x="74" y="12"/>
                  </a:cubicBezTo>
                  <a:cubicBezTo>
                    <a:pt x="73" y="12"/>
                    <a:pt x="71" y="11"/>
                    <a:pt x="72" y="12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3" y="12"/>
                    <a:pt x="74" y="13"/>
                    <a:pt x="75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3"/>
                    <a:pt x="77" y="14"/>
                    <a:pt x="76" y="14"/>
                  </a:cubicBezTo>
                  <a:cubicBezTo>
                    <a:pt x="76" y="14"/>
                    <a:pt x="75" y="14"/>
                    <a:pt x="75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3" y="13"/>
                    <a:pt x="71" y="13"/>
                    <a:pt x="70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8" y="12"/>
                    <a:pt x="67" y="11"/>
                    <a:pt x="67" y="11"/>
                  </a:cubicBezTo>
                  <a:cubicBezTo>
                    <a:pt x="66" y="11"/>
                    <a:pt x="66" y="12"/>
                    <a:pt x="66" y="12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5" y="12"/>
                    <a:pt x="65" y="13"/>
                    <a:pt x="65" y="13"/>
                  </a:cubicBezTo>
                  <a:cubicBezTo>
                    <a:pt x="64" y="13"/>
                    <a:pt x="64" y="13"/>
                    <a:pt x="64" y="14"/>
                  </a:cubicBezTo>
                  <a:cubicBezTo>
                    <a:pt x="64" y="14"/>
                    <a:pt x="64" y="14"/>
                    <a:pt x="64" y="15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64" y="15"/>
                    <a:pt x="63" y="14"/>
                    <a:pt x="63" y="14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3"/>
                    <a:pt x="64" y="12"/>
                    <a:pt x="64" y="12"/>
                  </a:cubicBezTo>
                  <a:cubicBezTo>
                    <a:pt x="63" y="12"/>
                    <a:pt x="64" y="11"/>
                    <a:pt x="64" y="11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11"/>
                    <a:pt x="62" y="9"/>
                    <a:pt x="62" y="9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1" y="9"/>
                    <a:pt x="59" y="9"/>
                    <a:pt x="59" y="9"/>
                  </a:cubicBezTo>
                  <a:cubicBezTo>
                    <a:pt x="58" y="9"/>
                    <a:pt x="57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10"/>
                    <a:pt x="53" y="10"/>
                    <a:pt x="52" y="10"/>
                  </a:cubicBezTo>
                  <a:cubicBezTo>
                    <a:pt x="52" y="10"/>
                    <a:pt x="49" y="10"/>
                    <a:pt x="48" y="11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6" y="11"/>
                    <a:pt x="45" y="11"/>
                    <a:pt x="45" y="11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7" y="12"/>
                    <a:pt x="47" y="12"/>
                  </a:cubicBezTo>
                  <a:cubicBezTo>
                    <a:pt x="47" y="12"/>
                    <a:pt x="48" y="12"/>
                    <a:pt x="48" y="13"/>
                  </a:cubicBezTo>
                  <a:cubicBezTo>
                    <a:pt x="48" y="13"/>
                    <a:pt x="48" y="13"/>
                    <a:pt x="49" y="13"/>
                  </a:cubicBezTo>
                  <a:cubicBezTo>
                    <a:pt x="49" y="13"/>
                    <a:pt x="50" y="14"/>
                    <a:pt x="50" y="14"/>
                  </a:cubicBezTo>
                  <a:cubicBezTo>
                    <a:pt x="50" y="14"/>
                    <a:pt x="51" y="14"/>
                    <a:pt x="51" y="14"/>
                  </a:cubicBezTo>
                  <a:cubicBezTo>
                    <a:pt x="51" y="14"/>
                    <a:pt x="52" y="14"/>
                    <a:pt x="52" y="14"/>
                  </a:cubicBezTo>
                  <a:cubicBezTo>
                    <a:pt x="52" y="15"/>
                    <a:pt x="53" y="16"/>
                    <a:pt x="53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5"/>
                    <a:pt x="51" y="15"/>
                    <a:pt x="50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8" y="14"/>
                    <a:pt x="47" y="13"/>
                    <a:pt x="47" y="13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46" y="12"/>
                    <a:pt x="45" y="12"/>
                  </a:cubicBezTo>
                  <a:cubicBezTo>
                    <a:pt x="44" y="12"/>
                    <a:pt x="41" y="12"/>
                    <a:pt x="41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39" y="12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4"/>
                    <a:pt x="41" y="14"/>
                    <a:pt x="41" y="14"/>
                  </a:cubicBezTo>
                  <a:cubicBezTo>
                    <a:pt x="41" y="15"/>
                    <a:pt x="40" y="15"/>
                    <a:pt x="40" y="15"/>
                  </a:cubicBezTo>
                  <a:cubicBezTo>
                    <a:pt x="40" y="15"/>
                    <a:pt x="39" y="15"/>
                    <a:pt x="39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6"/>
                    <a:pt x="41" y="16"/>
                    <a:pt x="42" y="16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17"/>
                    <a:pt x="39" y="18"/>
                    <a:pt x="39" y="18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6" y="17"/>
                    <a:pt x="35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3" y="17"/>
                    <a:pt x="32" y="17"/>
                    <a:pt x="32" y="17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4" y="19"/>
                    <a:pt x="34" y="19"/>
                  </a:cubicBezTo>
                  <a:cubicBezTo>
                    <a:pt x="34" y="19"/>
                    <a:pt x="35" y="19"/>
                    <a:pt x="34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3" y="19"/>
                    <a:pt x="33" y="19"/>
                  </a:cubicBezTo>
                  <a:cubicBezTo>
                    <a:pt x="33" y="19"/>
                    <a:pt x="32" y="18"/>
                    <a:pt x="32" y="18"/>
                  </a:cubicBezTo>
                  <a:cubicBezTo>
                    <a:pt x="32" y="17"/>
                    <a:pt x="31" y="17"/>
                    <a:pt x="31" y="17"/>
                  </a:cubicBezTo>
                  <a:cubicBezTo>
                    <a:pt x="31" y="17"/>
                    <a:pt x="31" y="18"/>
                    <a:pt x="30" y="18"/>
                  </a:cubicBezTo>
                  <a:cubicBezTo>
                    <a:pt x="30" y="18"/>
                    <a:pt x="30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9"/>
                    <a:pt x="28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0"/>
                    <a:pt x="26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1"/>
                    <a:pt x="24" y="21"/>
                  </a:cubicBezTo>
                  <a:cubicBezTo>
                    <a:pt x="24" y="21"/>
                    <a:pt x="23" y="21"/>
                    <a:pt x="23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2"/>
                    <a:pt x="21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0" y="22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20" y="23"/>
                    <a:pt x="20" y="23"/>
                  </a:cubicBezTo>
                  <a:cubicBezTo>
                    <a:pt x="20" y="24"/>
                    <a:pt x="21" y="24"/>
                    <a:pt x="21" y="24"/>
                  </a:cubicBezTo>
                  <a:cubicBezTo>
                    <a:pt x="21" y="24"/>
                    <a:pt x="20" y="24"/>
                    <a:pt x="21" y="24"/>
                  </a:cubicBezTo>
                  <a:cubicBezTo>
                    <a:pt x="22" y="24"/>
                    <a:pt x="21" y="24"/>
                    <a:pt x="22" y="24"/>
                  </a:cubicBezTo>
                  <a:cubicBezTo>
                    <a:pt x="22" y="24"/>
                    <a:pt x="23" y="24"/>
                    <a:pt x="23" y="24"/>
                  </a:cubicBezTo>
                  <a:cubicBezTo>
                    <a:pt x="23" y="24"/>
                    <a:pt x="25" y="25"/>
                    <a:pt x="25" y="25"/>
                  </a:cubicBezTo>
                  <a:cubicBezTo>
                    <a:pt x="25" y="25"/>
                    <a:pt x="25" y="24"/>
                    <a:pt x="26" y="24"/>
                  </a:cubicBezTo>
                  <a:cubicBezTo>
                    <a:pt x="27" y="24"/>
                    <a:pt x="27" y="24"/>
                    <a:pt x="28" y="24"/>
                  </a:cubicBezTo>
                  <a:cubicBezTo>
                    <a:pt x="28" y="24"/>
                    <a:pt x="28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28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7" y="25"/>
                    <a:pt x="27" y="25"/>
                  </a:cubicBezTo>
                  <a:cubicBezTo>
                    <a:pt x="27" y="25"/>
                    <a:pt x="27" y="26"/>
                    <a:pt x="27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7"/>
                    <a:pt x="27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27"/>
                    <a:pt x="28" y="28"/>
                    <a:pt x="28" y="28"/>
                  </a:cubicBezTo>
                  <a:cubicBezTo>
                    <a:pt x="28" y="28"/>
                    <a:pt x="27" y="29"/>
                    <a:pt x="26" y="29"/>
                  </a:cubicBezTo>
                  <a:cubicBezTo>
                    <a:pt x="26" y="30"/>
                    <a:pt x="25" y="30"/>
                    <a:pt x="25" y="30"/>
                  </a:cubicBezTo>
                  <a:cubicBezTo>
                    <a:pt x="24" y="30"/>
                    <a:pt x="23" y="31"/>
                    <a:pt x="23" y="31"/>
                  </a:cubicBezTo>
                  <a:cubicBezTo>
                    <a:pt x="22" y="31"/>
                    <a:pt x="22" y="30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1" y="31"/>
                    <a:pt x="21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1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7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5" y="31"/>
                    <a:pt x="15" y="31"/>
                    <a:pt x="14" y="31"/>
                  </a:cubicBezTo>
                  <a:cubicBezTo>
                    <a:pt x="14" y="32"/>
                    <a:pt x="14" y="31"/>
                    <a:pt x="14" y="32"/>
                  </a:cubicBezTo>
                  <a:cubicBezTo>
                    <a:pt x="14" y="32"/>
                    <a:pt x="14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2" y="33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3"/>
                    <a:pt x="11" y="33"/>
                    <a:pt x="10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8" y="34"/>
                  </a:cubicBezTo>
                  <a:cubicBezTo>
                    <a:pt x="8" y="34"/>
                    <a:pt x="7" y="34"/>
                    <a:pt x="6" y="34"/>
                  </a:cubicBezTo>
                  <a:cubicBezTo>
                    <a:pt x="6" y="34"/>
                    <a:pt x="4" y="34"/>
                    <a:pt x="4" y="34"/>
                  </a:cubicBezTo>
                  <a:cubicBezTo>
                    <a:pt x="4" y="34"/>
                    <a:pt x="3" y="34"/>
                    <a:pt x="3" y="35"/>
                  </a:cubicBezTo>
                  <a:cubicBezTo>
                    <a:pt x="3" y="35"/>
                    <a:pt x="3" y="34"/>
                    <a:pt x="3" y="35"/>
                  </a:cubicBezTo>
                  <a:cubicBezTo>
                    <a:pt x="2" y="36"/>
                    <a:pt x="2" y="35"/>
                    <a:pt x="2" y="36"/>
                  </a:cubicBezTo>
                  <a:cubicBezTo>
                    <a:pt x="2" y="36"/>
                    <a:pt x="0" y="36"/>
                    <a:pt x="2" y="37"/>
                  </a:cubicBezTo>
                  <a:cubicBezTo>
                    <a:pt x="3" y="38"/>
                    <a:pt x="4" y="38"/>
                    <a:pt x="5" y="38"/>
                  </a:cubicBezTo>
                  <a:cubicBezTo>
                    <a:pt x="6" y="38"/>
                    <a:pt x="6" y="38"/>
                    <a:pt x="7" y="39"/>
                  </a:cubicBezTo>
                  <a:cubicBezTo>
                    <a:pt x="7" y="39"/>
                    <a:pt x="7" y="39"/>
                    <a:pt x="8" y="39"/>
                  </a:cubicBezTo>
                  <a:cubicBezTo>
                    <a:pt x="9" y="40"/>
                    <a:pt x="9" y="39"/>
                    <a:pt x="10" y="39"/>
                  </a:cubicBezTo>
                  <a:cubicBezTo>
                    <a:pt x="11" y="39"/>
                    <a:pt x="10" y="39"/>
                    <a:pt x="10" y="40"/>
                  </a:cubicBezTo>
                  <a:cubicBezTo>
                    <a:pt x="10" y="40"/>
                    <a:pt x="9" y="40"/>
                    <a:pt x="10" y="40"/>
                  </a:cubicBezTo>
                  <a:cubicBezTo>
                    <a:pt x="11" y="41"/>
                    <a:pt x="8" y="41"/>
                    <a:pt x="12" y="41"/>
                  </a:cubicBezTo>
                  <a:cubicBezTo>
                    <a:pt x="15" y="41"/>
                    <a:pt x="15" y="41"/>
                    <a:pt x="16" y="41"/>
                  </a:cubicBezTo>
                  <a:cubicBezTo>
                    <a:pt x="18" y="41"/>
                    <a:pt x="19" y="41"/>
                    <a:pt x="20" y="41"/>
                  </a:cubicBezTo>
                  <a:cubicBezTo>
                    <a:pt x="21" y="40"/>
                    <a:pt x="22" y="39"/>
                    <a:pt x="22" y="40"/>
                  </a:cubicBezTo>
                  <a:cubicBezTo>
                    <a:pt x="23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3" y="41"/>
                    <a:pt x="22" y="42"/>
                    <a:pt x="21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8" y="42"/>
                    <a:pt x="17" y="4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5" y="43"/>
                    <a:pt x="16" y="43"/>
                    <a:pt x="14" y="43"/>
                  </a:cubicBezTo>
                  <a:cubicBezTo>
                    <a:pt x="12" y="43"/>
                    <a:pt x="13" y="42"/>
                    <a:pt x="11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7" y="43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7" y="44"/>
                    <a:pt x="7" y="44"/>
                    <a:pt x="8" y="45"/>
                  </a:cubicBezTo>
                  <a:cubicBezTo>
                    <a:pt x="9" y="45"/>
                    <a:pt x="10" y="46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1" y="45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2" y="46"/>
                    <a:pt x="11" y="46"/>
                    <a:pt x="13" y="46"/>
                  </a:cubicBezTo>
                  <a:cubicBezTo>
                    <a:pt x="15" y="46"/>
                    <a:pt x="15" y="46"/>
                    <a:pt x="16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8" y="46"/>
                    <a:pt x="18" y="46"/>
                    <a:pt x="18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7" y="47"/>
                    <a:pt x="16" y="47"/>
                    <a:pt x="16" y="47"/>
                  </a:cubicBezTo>
                  <a:cubicBezTo>
                    <a:pt x="15" y="47"/>
                    <a:pt x="14" y="47"/>
                    <a:pt x="13" y="47"/>
                  </a:cubicBezTo>
                  <a:cubicBezTo>
                    <a:pt x="12" y="48"/>
                    <a:pt x="12" y="47"/>
                    <a:pt x="13" y="48"/>
                  </a:cubicBezTo>
                  <a:cubicBezTo>
                    <a:pt x="13" y="48"/>
                    <a:pt x="13" y="48"/>
                    <a:pt x="14" y="49"/>
                  </a:cubicBezTo>
                  <a:cubicBezTo>
                    <a:pt x="16" y="50"/>
                    <a:pt x="16" y="50"/>
                    <a:pt x="17" y="50"/>
                  </a:cubicBezTo>
                  <a:cubicBezTo>
                    <a:pt x="18" y="50"/>
                    <a:pt x="17" y="50"/>
                    <a:pt x="20" y="50"/>
                  </a:cubicBezTo>
                  <a:cubicBezTo>
                    <a:pt x="22" y="51"/>
                    <a:pt x="23" y="51"/>
                    <a:pt x="22" y="50"/>
                  </a:cubicBezTo>
                  <a:cubicBezTo>
                    <a:pt x="21" y="50"/>
                    <a:pt x="20" y="50"/>
                    <a:pt x="20" y="50"/>
                  </a:cubicBezTo>
                  <a:cubicBezTo>
                    <a:pt x="20" y="49"/>
                    <a:pt x="19" y="48"/>
                    <a:pt x="20" y="49"/>
                  </a:cubicBezTo>
                  <a:cubicBezTo>
                    <a:pt x="22" y="49"/>
                    <a:pt x="22" y="49"/>
                    <a:pt x="23" y="49"/>
                  </a:cubicBezTo>
                  <a:cubicBezTo>
                    <a:pt x="23" y="49"/>
                    <a:pt x="23" y="48"/>
                    <a:pt x="24" y="48"/>
                  </a:cubicBezTo>
                  <a:cubicBezTo>
                    <a:pt x="25" y="48"/>
                    <a:pt x="26" y="47"/>
                    <a:pt x="25" y="49"/>
                  </a:cubicBezTo>
                  <a:cubicBezTo>
                    <a:pt x="24" y="50"/>
                    <a:pt x="24" y="50"/>
                    <a:pt x="25" y="50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6" y="50"/>
                    <a:pt x="26" y="49"/>
                    <a:pt x="26" y="49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7" y="51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30" y="49"/>
                    <a:pt x="29" y="49"/>
                    <a:pt x="30" y="50"/>
                  </a:cubicBezTo>
                  <a:cubicBezTo>
                    <a:pt x="31" y="50"/>
                    <a:pt x="30" y="50"/>
                    <a:pt x="31" y="49"/>
                  </a:cubicBezTo>
                  <a:cubicBezTo>
                    <a:pt x="32" y="48"/>
                    <a:pt x="32" y="47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5" y="49"/>
                    <a:pt x="35" y="49"/>
                    <a:pt x="36" y="49"/>
                  </a:cubicBezTo>
                  <a:cubicBezTo>
                    <a:pt x="37" y="49"/>
                    <a:pt x="41" y="50"/>
                    <a:pt x="41" y="50"/>
                  </a:cubicBezTo>
                  <a:cubicBezTo>
                    <a:pt x="41" y="50"/>
                    <a:pt x="42" y="50"/>
                    <a:pt x="43" y="50"/>
                  </a:cubicBezTo>
                  <a:cubicBezTo>
                    <a:pt x="44" y="50"/>
                    <a:pt x="44" y="50"/>
                    <a:pt x="45" y="50"/>
                  </a:cubicBezTo>
                  <a:cubicBezTo>
                    <a:pt x="45" y="51"/>
                    <a:pt x="46" y="51"/>
                    <a:pt x="47" y="52"/>
                  </a:cubicBezTo>
                  <a:cubicBezTo>
                    <a:pt x="48" y="52"/>
                    <a:pt x="48" y="52"/>
                    <a:pt x="48" y="53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9" y="55"/>
                    <a:pt x="51" y="55"/>
                  </a:cubicBezTo>
                  <a:cubicBezTo>
                    <a:pt x="51" y="56"/>
                    <a:pt x="51" y="56"/>
                    <a:pt x="51" y="56"/>
                  </a:cubicBezTo>
                  <a:cubicBezTo>
                    <a:pt x="51" y="56"/>
                    <a:pt x="50" y="55"/>
                    <a:pt x="51" y="56"/>
                  </a:cubicBezTo>
                  <a:cubicBezTo>
                    <a:pt x="51" y="57"/>
                    <a:pt x="50" y="57"/>
                    <a:pt x="52" y="57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58"/>
                    <a:pt x="53" y="58"/>
                    <a:pt x="52" y="58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5" y="60"/>
                    <a:pt x="55" y="61"/>
                    <a:pt x="55" y="6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6" y="62"/>
                    <a:pt x="56" y="63"/>
                    <a:pt x="56" y="63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6" y="64"/>
                    <a:pt x="57" y="65"/>
                    <a:pt x="57" y="65"/>
                  </a:cubicBezTo>
                  <a:cubicBezTo>
                    <a:pt x="57" y="65"/>
                    <a:pt x="57" y="66"/>
                    <a:pt x="57" y="66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8" y="67"/>
                    <a:pt x="58" y="67"/>
                    <a:pt x="58" y="68"/>
                  </a:cubicBezTo>
                  <a:cubicBezTo>
                    <a:pt x="58" y="68"/>
                    <a:pt x="59" y="68"/>
                    <a:pt x="59" y="68"/>
                  </a:cubicBezTo>
                  <a:cubicBezTo>
                    <a:pt x="60" y="69"/>
                    <a:pt x="60" y="69"/>
                    <a:pt x="60" y="69"/>
                  </a:cubicBezTo>
                  <a:cubicBezTo>
                    <a:pt x="60" y="69"/>
                    <a:pt x="60" y="70"/>
                    <a:pt x="60" y="70"/>
                  </a:cubicBezTo>
                  <a:cubicBezTo>
                    <a:pt x="60" y="70"/>
                    <a:pt x="60" y="70"/>
                    <a:pt x="60" y="71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9" y="73"/>
                    <a:pt x="59" y="73"/>
                  </a:cubicBezTo>
                  <a:cubicBezTo>
                    <a:pt x="58" y="73"/>
                    <a:pt x="58" y="74"/>
                    <a:pt x="58" y="74"/>
                  </a:cubicBezTo>
                  <a:cubicBezTo>
                    <a:pt x="58" y="74"/>
                    <a:pt x="58" y="75"/>
                    <a:pt x="58" y="75"/>
                  </a:cubicBezTo>
                  <a:cubicBezTo>
                    <a:pt x="58" y="75"/>
                    <a:pt x="58" y="76"/>
                    <a:pt x="57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7" y="76"/>
                    <a:pt x="57" y="76"/>
                    <a:pt x="57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8" y="78"/>
                    <a:pt x="59" y="78"/>
                    <a:pt x="59" y="78"/>
                  </a:cubicBezTo>
                  <a:cubicBezTo>
                    <a:pt x="60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78"/>
                    <a:pt x="63" y="76"/>
                    <a:pt x="64" y="75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64" y="75"/>
                    <a:pt x="64" y="76"/>
                    <a:pt x="65" y="77"/>
                  </a:cubicBezTo>
                  <a:cubicBezTo>
                    <a:pt x="65" y="77"/>
                    <a:pt x="65" y="77"/>
                    <a:pt x="65" y="77"/>
                  </a:cubicBezTo>
                  <a:cubicBezTo>
                    <a:pt x="65" y="77"/>
                    <a:pt x="65" y="77"/>
                    <a:pt x="66" y="77"/>
                  </a:cubicBezTo>
                  <a:cubicBezTo>
                    <a:pt x="67" y="77"/>
                    <a:pt x="67" y="77"/>
                    <a:pt x="67" y="77"/>
                  </a:cubicBezTo>
                  <a:cubicBezTo>
                    <a:pt x="67" y="77"/>
                    <a:pt x="67" y="78"/>
                    <a:pt x="67" y="78"/>
                  </a:cubicBezTo>
                  <a:cubicBezTo>
                    <a:pt x="66" y="78"/>
                    <a:pt x="66" y="79"/>
                    <a:pt x="66" y="79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68" y="79"/>
                    <a:pt x="68" y="80"/>
                    <a:pt x="68" y="80"/>
                  </a:cubicBezTo>
                  <a:cubicBezTo>
                    <a:pt x="69" y="80"/>
                    <a:pt x="69" y="80"/>
                    <a:pt x="69" y="80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70" y="80"/>
                    <a:pt x="70" y="80"/>
                    <a:pt x="70" y="81"/>
                  </a:cubicBezTo>
                  <a:cubicBezTo>
                    <a:pt x="70" y="81"/>
                    <a:pt x="70" y="81"/>
                    <a:pt x="70" y="81"/>
                  </a:cubicBezTo>
                  <a:cubicBezTo>
                    <a:pt x="70" y="81"/>
                    <a:pt x="70" y="81"/>
                    <a:pt x="70" y="81"/>
                  </a:cubicBezTo>
                  <a:cubicBezTo>
                    <a:pt x="71" y="81"/>
                    <a:pt x="71" y="82"/>
                    <a:pt x="71" y="82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2" y="84"/>
                    <a:pt x="72" y="84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84"/>
                    <a:pt x="71" y="84"/>
                    <a:pt x="71" y="84"/>
                  </a:cubicBezTo>
                  <a:cubicBezTo>
                    <a:pt x="71" y="84"/>
                    <a:pt x="69" y="83"/>
                    <a:pt x="68" y="83"/>
                  </a:cubicBezTo>
                  <a:cubicBezTo>
                    <a:pt x="68" y="83"/>
                    <a:pt x="67" y="82"/>
                    <a:pt x="66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4" y="82"/>
                    <a:pt x="63" y="82"/>
                    <a:pt x="62" y="82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3"/>
                    <a:pt x="62" y="84"/>
                    <a:pt x="63" y="84"/>
                  </a:cubicBezTo>
                  <a:cubicBezTo>
                    <a:pt x="63" y="84"/>
                    <a:pt x="64" y="85"/>
                    <a:pt x="65" y="85"/>
                  </a:cubicBezTo>
                  <a:cubicBezTo>
                    <a:pt x="65" y="85"/>
                    <a:pt x="66" y="85"/>
                    <a:pt x="67" y="85"/>
                  </a:cubicBezTo>
                  <a:cubicBezTo>
                    <a:pt x="68" y="86"/>
                    <a:pt x="67" y="86"/>
                    <a:pt x="68" y="86"/>
                  </a:cubicBezTo>
                  <a:cubicBezTo>
                    <a:pt x="68" y="86"/>
                    <a:pt x="69" y="86"/>
                    <a:pt x="69" y="86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71" y="86"/>
                    <a:pt x="71" y="86"/>
                    <a:pt x="71" y="86"/>
                  </a:cubicBezTo>
                  <a:cubicBezTo>
                    <a:pt x="72" y="86"/>
                    <a:pt x="72" y="86"/>
                    <a:pt x="72" y="86"/>
                  </a:cubicBezTo>
                  <a:cubicBezTo>
                    <a:pt x="73" y="86"/>
                    <a:pt x="74" y="86"/>
                    <a:pt x="74" y="86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4" y="86"/>
                    <a:pt x="74" y="87"/>
                    <a:pt x="74" y="87"/>
                  </a:cubicBezTo>
                  <a:cubicBezTo>
                    <a:pt x="74" y="87"/>
                    <a:pt x="74" y="87"/>
                    <a:pt x="74" y="87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4" y="88"/>
                    <a:pt x="73" y="88"/>
                    <a:pt x="73" y="88"/>
                  </a:cubicBezTo>
                  <a:cubicBezTo>
                    <a:pt x="73" y="88"/>
                    <a:pt x="73" y="89"/>
                    <a:pt x="73" y="89"/>
                  </a:cubicBezTo>
                  <a:cubicBezTo>
                    <a:pt x="72" y="90"/>
                    <a:pt x="72" y="90"/>
                    <a:pt x="72" y="90"/>
                  </a:cubicBezTo>
                  <a:cubicBezTo>
                    <a:pt x="72" y="90"/>
                    <a:pt x="72" y="90"/>
                    <a:pt x="72" y="90"/>
                  </a:cubicBezTo>
                  <a:cubicBezTo>
                    <a:pt x="72" y="91"/>
                    <a:pt x="73" y="91"/>
                    <a:pt x="73" y="90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74" y="91"/>
                    <a:pt x="74" y="91"/>
                    <a:pt x="74" y="91"/>
                  </a:cubicBezTo>
                  <a:cubicBezTo>
                    <a:pt x="74" y="91"/>
                    <a:pt x="74" y="91"/>
                    <a:pt x="73" y="91"/>
                  </a:cubicBezTo>
                  <a:cubicBezTo>
                    <a:pt x="73" y="91"/>
                    <a:pt x="72" y="91"/>
                    <a:pt x="72" y="91"/>
                  </a:cubicBezTo>
                  <a:cubicBezTo>
                    <a:pt x="72" y="91"/>
                    <a:pt x="72" y="92"/>
                    <a:pt x="72" y="92"/>
                  </a:cubicBezTo>
                  <a:cubicBezTo>
                    <a:pt x="71" y="93"/>
                    <a:pt x="72" y="93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94"/>
                    <a:pt x="72" y="94"/>
                    <a:pt x="71" y="94"/>
                  </a:cubicBezTo>
                  <a:cubicBezTo>
                    <a:pt x="71" y="95"/>
                    <a:pt x="70" y="94"/>
                    <a:pt x="70" y="94"/>
                  </a:cubicBezTo>
                  <a:cubicBezTo>
                    <a:pt x="69" y="94"/>
                    <a:pt x="69" y="94"/>
                    <a:pt x="69" y="94"/>
                  </a:cubicBezTo>
                  <a:cubicBezTo>
                    <a:pt x="68" y="95"/>
                    <a:pt x="66" y="95"/>
                    <a:pt x="66" y="96"/>
                  </a:cubicBezTo>
                  <a:cubicBezTo>
                    <a:pt x="65" y="96"/>
                    <a:pt x="65" y="95"/>
                    <a:pt x="65" y="96"/>
                  </a:cubicBezTo>
                  <a:cubicBezTo>
                    <a:pt x="64" y="96"/>
                    <a:pt x="64" y="98"/>
                    <a:pt x="64" y="98"/>
                  </a:cubicBezTo>
                  <a:cubicBezTo>
                    <a:pt x="63" y="99"/>
                    <a:pt x="63" y="101"/>
                    <a:pt x="63" y="101"/>
                  </a:cubicBezTo>
                  <a:cubicBezTo>
                    <a:pt x="63" y="101"/>
                    <a:pt x="63" y="101"/>
                    <a:pt x="63" y="101"/>
                  </a:cubicBezTo>
                  <a:cubicBezTo>
                    <a:pt x="63" y="102"/>
                    <a:pt x="64" y="103"/>
                    <a:pt x="64" y="103"/>
                  </a:cubicBezTo>
                  <a:cubicBezTo>
                    <a:pt x="64" y="103"/>
                    <a:pt x="63" y="103"/>
                    <a:pt x="63" y="103"/>
                  </a:cubicBezTo>
                  <a:cubicBezTo>
                    <a:pt x="64" y="103"/>
                    <a:pt x="64" y="103"/>
                    <a:pt x="64" y="103"/>
                  </a:cubicBezTo>
                  <a:cubicBezTo>
                    <a:pt x="65" y="104"/>
                    <a:pt x="66" y="104"/>
                    <a:pt x="66" y="104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6" y="104"/>
                    <a:pt x="66" y="104"/>
                    <a:pt x="65" y="105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65" y="105"/>
                    <a:pt x="64" y="105"/>
                    <a:pt x="64" y="106"/>
                  </a:cubicBezTo>
                  <a:cubicBezTo>
                    <a:pt x="64" y="106"/>
                    <a:pt x="63" y="106"/>
                    <a:pt x="63" y="107"/>
                  </a:cubicBezTo>
                  <a:cubicBezTo>
                    <a:pt x="63" y="108"/>
                    <a:pt x="62" y="107"/>
                    <a:pt x="64" y="108"/>
                  </a:cubicBezTo>
                  <a:cubicBezTo>
                    <a:pt x="66" y="110"/>
                    <a:pt x="65" y="110"/>
                    <a:pt x="65" y="110"/>
                  </a:cubicBezTo>
                  <a:cubicBezTo>
                    <a:pt x="66" y="110"/>
                    <a:pt x="66" y="110"/>
                    <a:pt x="66" y="110"/>
                  </a:cubicBezTo>
                  <a:cubicBezTo>
                    <a:pt x="66" y="111"/>
                    <a:pt x="67" y="112"/>
                    <a:pt x="67" y="113"/>
                  </a:cubicBezTo>
                  <a:cubicBezTo>
                    <a:pt x="67" y="113"/>
                    <a:pt x="67" y="113"/>
                    <a:pt x="67" y="113"/>
                  </a:cubicBezTo>
                  <a:cubicBezTo>
                    <a:pt x="68" y="113"/>
                    <a:pt x="68" y="114"/>
                    <a:pt x="68" y="114"/>
                  </a:cubicBezTo>
                  <a:cubicBezTo>
                    <a:pt x="68" y="115"/>
                    <a:pt x="68" y="116"/>
                    <a:pt x="68" y="116"/>
                  </a:cubicBezTo>
                  <a:cubicBezTo>
                    <a:pt x="68" y="116"/>
                    <a:pt x="68" y="116"/>
                    <a:pt x="68" y="116"/>
                  </a:cubicBezTo>
                  <a:cubicBezTo>
                    <a:pt x="69" y="117"/>
                    <a:pt x="69" y="118"/>
                    <a:pt x="69" y="118"/>
                  </a:cubicBezTo>
                  <a:cubicBezTo>
                    <a:pt x="69" y="118"/>
                    <a:pt x="69" y="118"/>
                    <a:pt x="69" y="118"/>
                  </a:cubicBezTo>
                  <a:cubicBezTo>
                    <a:pt x="70" y="118"/>
                    <a:pt x="70" y="117"/>
                    <a:pt x="70" y="117"/>
                  </a:cubicBezTo>
                  <a:cubicBezTo>
                    <a:pt x="70" y="117"/>
                    <a:pt x="70" y="117"/>
                    <a:pt x="70" y="117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71" y="116"/>
                    <a:pt x="71" y="116"/>
                    <a:pt x="71" y="116"/>
                  </a:cubicBezTo>
                  <a:cubicBezTo>
                    <a:pt x="72" y="116"/>
                    <a:pt x="72" y="116"/>
                    <a:pt x="72" y="116"/>
                  </a:cubicBezTo>
                  <a:cubicBezTo>
                    <a:pt x="72" y="116"/>
                    <a:pt x="73" y="116"/>
                    <a:pt x="73" y="116"/>
                  </a:cubicBezTo>
                  <a:cubicBezTo>
                    <a:pt x="73" y="116"/>
                    <a:pt x="74" y="116"/>
                    <a:pt x="74" y="117"/>
                  </a:cubicBezTo>
                  <a:cubicBezTo>
                    <a:pt x="74" y="117"/>
                    <a:pt x="73" y="117"/>
                    <a:pt x="73" y="117"/>
                  </a:cubicBezTo>
                  <a:cubicBezTo>
                    <a:pt x="72" y="118"/>
                    <a:pt x="71" y="119"/>
                    <a:pt x="71" y="119"/>
                  </a:cubicBezTo>
                  <a:cubicBezTo>
                    <a:pt x="71" y="119"/>
                    <a:pt x="71" y="118"/>
                    <a:pt x="70" y="118"/>
                  </a:cubicBezTo>
                  <a:cubicBezTo>
                    <a:pt x="70" y="119"/>
                    <a:pt x="70" y="119"/>
                    <a:pt x="70" y="120"/>
                  </a:cubicBezTo>
                  <a:cubicBezTo>
                    <a:pt x="70" y="120"/>
                    <a:pt x="70" y="120"/>
                    <a:pt x="70" y="120"/>
                  </a:cubicBezTo>
                  <a:cubicBezTo>
                    <a:pt x="70" y="120"/>
                    <a:pt x="71" y="121"/>
                    <a:pt x="71" y="122"/>
                  </a:cubicBezTo>
                  <a:cubicBezTo>
                    <a:pt x="71" y="122"/>
                    <a:pt x="71" y="122"/>
                    <a:pt x="71" y="122"/>
                  </a:cubicBezTo>
                  <a:cubicBezTo>
                    <a:pt x="71" y="122"/>
                    <a:pt x="71" y="122"/>
                    <a:pt x="71" y="122"/>
                  </a:cubicBezTo>
                  <a:cubicBezTo>
                    <a:pt x="71" y="123"/>
                    <a:pt x="72" y="123"/>
                    <a:pt x="72" y="124"/>
                  </a:cubicBezTo>
                  <a:cubicBezTo>
                    <a:pt x="72" y="124"/>
                    <a:pt x="72" y="124"/>
                    <a:pt x="72" y="124"/>
                  </a:cubicBezTo>
                  <a:cubicBezTo>
                    <a:pt x="72" y="124"/>
                    <a:pt x="73" y="124"/>
                    <a:pt x="73" y="124"/>
                  </a:cubicBezTo>
                  <a:cubicBezTo>
                    <a:pt x="73" y="124"/>
                    <a:pt x="73" y="124"/>
                    <a:pt x="73" y="124"/>
                  </a:cubicBezTo>
                  <a:cubicBezTo>
                    <a:pt x="73" y="124"/>
                    <a:pt x="74" y="124"/>
                    <a:pt x="74" y="124"/>
                  </a:cubicBezTo>
                  <a:cubicBezTo>
                    <a:pt x="73" y="125"/>
                    <a:pt x="73" y="125"/>
                    <a:pt x="74" y="125"/>
                  </a:cubicBezTo>
                  <a:cubicBezTo>
                    <a:pt x="74" y="125"/>
                    <a:pt x="74" y="125"/>
                    <a:pt x="74" y="125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26"/>
                    <a:pt x="74" y="127"/>
                    <a:pt x="74" y="127"/>
                  </a:cubicBezTo>
                  <a:cubicBezTo>
                    <a:pt x="74" y="127"/>
                    <a:pt x="74" y="127"/>
                    <a:pt x="74" y="127"/>
                  </a:cubicBezTo>
                  <a:cubicBezTo>
                    <a:pt x="74" y="127"/>
                    <a:pt x="75" y="128"/>
                    <a:pt x="75" y="128"/>
                  </a:cubicBezTo>
                  <a:cubicBezTo>
                    <a:pt x="75" y="128"/>
                    <a:pt x="75" y="129"/>
                    <a:pt x="76" y="129"/>
                  </a:cubicBezTo>
                  <a:cubicBezTo>
                    <a:pt x="76" y="129"/>
                    <a:pt x="76" y="129"/>
                    <a:pt x="76" y="129"/>
                  </a:cubicBezTo>
                  <a:cubicBezTo>
                    <a:pt x="77" y="130"/>
                    <a:pt x="77" y="130"/>
                    <a:pt x="77" y="131"/>
                  </a:cubicBezTo>
                  <a:cubicBezTo>
                    <a:pt x="77" y="131"/>
                    <a:pt x="78" y="132"/>
                    <a:pt x="79" y="132"/>
                  </a:cubicBezTo>
                  <a:cubicBezTo>
                    <a:pt x="79" y="132"/>
                    <a:pt x="79" y="132"/>
                    <a:pt x="79" y="132"/>
                  </a:cubicBezTo>
                  <a:cubicBezTo>
                    <a:pt x="79" y="133"/>
                    <a:pt x="79" y="133"/>
                    <a:pt x="79" y="133"/>
                  </a:cubicBezTo>
                  <a:cubicBezTo>
                    <a:pt x="79" y="134"/>
                    <a:pt x="79" y="134"/>
                    <a:pt x="79" y="134"/>
                  </a:cubicBezTo>
                  <a:cubicBezTo>
                    <a:pt x="79" y="134"/>
                    <a:pt x="79" y="134"/>
                    <a:pt x="80" y="134"/>
                  </a:cubicBezTo>
                  <a:cubicBezTo>
                    <a:pt x="80" y="134"/>
                    <a:pt x="80" y="134"/>
                    <a:pt x="80" y="134"/>
                  </a:cubicBezTo>
                  <a:cubicBezTo>
                    <a:pt x="81" y="135"/>
                    <a:pt x="81" y="135"/>
                    <a:pt x="81" y="135"/>
                  </a:cubicBezTo>
                  <a:cubicBezTo>
                    <a:pt x="81" y="136"/>
                    <a:pt x="81" y="136"/>
                    <a:pt x="81" y="136"/>
                  </a:cubicBezTo>
                  <a:cubicBezTo>
                    <a:pt x="82" y="136"/>
                    <a:pt x="82" y="136"/>
                    <a:pt x="82" y="136"/>
                  </a:cubicBezTo>
                  <a:cubicBezTo>
                    <a:pt x="83" y="136"/>
                    <a:pt x="84" y="136"/>
                    <a:pt x="84" y="136"/>
                  </a:cubicBezTo>
                  <a:cubicBezTo>
                    <a:pt x="84" y="136"/>
                    <a:pt x="85" y="136"/>
                    <a:pt x="85" y="136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6" y="136"/>
                    <a:pt x="86" y="136"/>
                    <a:pt x="86" y="136"/>
                  </a:cubicBezTo>
                  <a:cubicBezTo>
                    <a:pt x="86" y="135"/>
                    <a:pt x="87" y="135"/>
                    <a:pt x="87" y="135"/>
                  </a:cubicBezTo>
                  <a:cubicBezTo>
                    <a:pt x="87" y="135"/>
                    <a:pt x="88" y="135"/>
                    <a:pt x="88" y="135"/>
                  </a:cubicBezTo>
                  <a:cubicBezTo>
                    <a:pt x="88" y="135"/>
                    <a:pt x="88" y="135"/>
                    <a:pt x="89" y="135"/>
                  </a:cubicBezTo>
                  <a:cubicBezTo>
                    <a:pt x="88" y="135"/>
                    <a:pt x="88" y="135"/>
                    <a:pt x="88" y="135"/>
                  </a:cubicBezTo>
                  <a:cubicBezTo>
                    <a:pt x="88" y="136"/>
                    <a:pt x="88" y="136"/>
                    <a:pt x="88" y="136"/>
                  </a:cubicBezTo>
                  <a:cubicBezTo>
                    <a:pt x="88" y="136"/>
                    <a:pt x="88" y="136"/>
                    <a:pt x="89" y="137"/>
                  </a:cubicBezTo>
                  <a:cubicBezTo>
                    <a:pt x="89" y="137"/>
                    <a:pt x="89" y="137"/>
                    <a:pt x="89" y="138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90" y="138"/>
                    <a:pt x="91" y="138"/>
                    <a:pt x="91" y="138"/>
                  </a:cubicBezTo>
                  <a:cubicBezTo>
                    <a:pt x="91" y="138"/>
                    <a:pt x="92" y="138"/>
                    <a:pt x="92" y="139"/>
                  </a:cubicBezTo>
                  <a:cubicBezTo>
                    <a:pt x="91" y="139"/>
                    <a:pt x="91" y="140"/>
                    <a:pt x="91" y="140"/>
                  </a:cubicBezTo>
                  <a:cubicBezTo>
                    <a:pt x="91" y="140"/>
                    <a:pt x="90" y="140"/>
                    <a:pt x="91" y="140"/>
                  </a:cubicBezTo>
                  <a:cubicBezTo>
                    <a:pt x="92" y="141"/>
                    <a:pt x="92" y="141"/>
                    <a:pt x="92" y="141"/>
                  </a:cubicBezTo>
                  <a:cubicBezTo>
                    <a:pt x="92" y="141"/>
                    <a:pt x="92" y="141"/>
                    <a:pt x="93" y="141"/>
                  </a:cubicBezTo>
                  <a:cubicBezTo>
                    <a:pt x="93" y="140"/>
                    <a:pt x="93" y="140"/>
                    <a:pt x="93" y="140"/>
                  </a:cubicBezTo>
                  <a:cubicBezTo>
                    <a:pt x="93" y="140"/>
                    <a:pt x="94" y="140"/>
                    <a:pt x="94" y="140"/>
                  </a:cubicBezTo>
                  <a:cubicBezTo>
                    <a:pt x="94" y="140"/>
                    <a:pt x="94" y="140"/>
                    <a:pt x="94" y="140"/>
                  </a:cubicBezTo>
                  <a:cubicBezTo>
                    <a:pt x="95" y="140"/>
                    <a:pt x="96" y="140"/>
                    <a:pt x="96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0"/>
                    <a:pt x="98" y="139"/>
                    <a:pt x="97" y="139"/>
                  </a:cubicBezTo>
                  <a:cubicBezTo>
                    <a:pt x="97" y="138"/>
                    <a:pt x="97" y="138"/>
                    <a:pt x="97" y="138"/>
                  </a:cubicBezTo>
                  <a:cubicBezTo>
                    <a:pt x="97" y="138"/>
                    <a:pt x="97" y="138"/>
                    <a:pt x="97" y="138"/>
                  </a:cubicBezTo>
                  <a:cubicBezTo>
                    <a:pt x="97" y="138"/>
                    <a:pt x="97" y="137"/>
                    <a:pt x="97" y="137"/>
                  </a:cubicBezTo>
                  <a:cubicBezTo>
                    <a:pt x="98" y="137"/>
                    <a:pt x="98" y="137"/>
                    <a:pt x="98" y="137"/>
                  </a:cubicBezTo>
                  <a:cubicBezTo>
                    <a:pt x="98" y="137"/>
                    <a:pt x="99" y="136"/>
                    <a:pt x="99" y="136"/>
                  </a:cubicBezTo>
                  <a:cubicBezTo>
                    <a:pt x="99" y="136"/>
                    <a:pt x="98" y="135"/>
                    <a:pt x="98" y="135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99" y="134"/>
                    <a:pt x="99" y="133"/>
                    <a:pt x="99" y="133"/>
                  </a:cubicBezTo>
                  <a:cubicBezTo>
                    <a:pt x="99" y="133"/>
                    <a:pt x="99" y="133"/>
                    <a:pt x="99" y="133"/>
                  </a:cubicBezTo>
                  <a:cubicBezTo>
                    <a:pt x="99" y="133"/>
                    <a:pt x="99" y="133"/>
                    <a:pt x="99" y="133"/>
                  </a:cubicBezTo>
                  <a:cubicBezTo>
                    <a:pt x="99" y="132"/>
                    <a:pt x="99" y="132"/>
                    <a:pt x="99" y="131"/>
                  </a:cubicBezTo>
                  <a:cubicBezTo>
                    <a:pt x="99" y="131"/>
                    <a:pt x="99" y="131"/>
                    <a:pt x="99" y="131"/>
                  </a:cubicBezTo>
                  <a:cubicBezTo>
                    <a:pt x="100" y="131"/>
                    <a:pt x="100" y="130"/>
                    <a:pt x="100" y="129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8"/>
                    <a:pt x="99" y="128"/>
                    <a:pt x="99" y="128"/>
                  </a:cubicBezTo>
                  <a:cubicBezTo>
                    <a:pt x="99" y="127"/>
                    <a:pt x="98" y="127"/>
                    <a:pt x="98" y="127"/>
                  </a:cubicBezTo>
                  <a:cubicBezTo>
                    <a:pt x="99" y="126"/>
                    <a:pt x="99" y="126"/>
                    <a:pt x="99" y="126"/>
                  </a:cubicBezTo>
                  <a:cubicBezTo>
                    <a:pt x="99" y="126"/>
                    <a:pt x="99" y="126"/>
                    <a:pt x="100" y="126"/>
                  </a:cubicBezTo>
                  <a:cubicBezTo>
                    <a:pt x="100" y="126"/>
                    <a:pt x="100" y="126"/>
                    <a:pt x="100" y="126"/>
                  </a:cubicBezTo>
                  <a:cubicBezTo>
                    <a:pt x="100" y="126"/>
                    <a:pt x="101" y="126"/>
                    <a:pt x="101" y="126"/>
                  </a:cubicBezTo>
                  <a:cubicBezTo>
                    <a:pt x="101" y="126"/>
                    <a:pt x="102" y="125"/>
                    <a:pt x="102" y="125"/>
                  </a:cubicBezTo>
                  <a:cubicBezTo>
                    <a:pt x="102" y="125"/>
                    <a:pt x="102" y="124"/>
                    <a:pt x="102" y="124"/>
                  </a:cubicBezTo>
                  <a:cubicBezTo>
                    <a:pt x="102" y="124"/>
                    <a:pt x="102" y="123"/>
                    <a:pt x="102" y="123"/>
                  </a:cubicBezTo>
                  <a:cubicBezTo>
                    <a:pt x="102" y="123"/>
                    <a:pt x="102" y="122"/>
                    <a:pt x="102" y="122"/>
                  </a:cubicBezTo>
                  <a:cubicBezTo>
                    <a:pt x="103" y="122"/>
                    <a:pt x="103" y="122"/>
                    <a:pt x="103" y="122"/>
                  </a:cubicBezTo>
                  <a:cubicBezTo>
                    <a:pt x="103" y="122"/>
                    <a:pt x="104" y="122"/>
                    <a:pt x="104" y="122"/>
                  </a:cubicBezTo>
                  <a:cubicBezTo>
                    <a:pt x="105" y="122"/>
                    <a:pt x="105" y="121"/>
                    <a:pt x="105" y="121"/>
                  </a:cubicBezTo>
                  <a:cubicBezTo>
                    <a:pt x="105" y="121"/>
                    <a:pt x="105" y="121"/>
                    <a:pt x="105" y="121"/>
                  </a:cubicBezTo>
                  <a:cubicBezTo>
                    <a:pt x="105" y="120"/>
                    <a:pt x="105" y="119"/>
                    <a:pt x="105" y="119"/>
                  </a:cubicBezTo>
                  <a:cubicBezTo>
                    <a:pt x="105" y="119"/>
                    <a:pt x="105" y="119"/>
                    <a:pt x="105" y="119"/>
                  </a:cubicBezTo>
                  <a:cubicBezTo>
                    <a:pt x="104" y="119"/>
                    <a:pt x="104" y="119"/>
                    <a:pt x="104" y="119"/>
                  </a:cubicBezTo>
                  <a:cubicBezTo>
                    <a:pt x="104" y="119"/>
                    <a:pt x="103" y="119"/>
                    <a:pt x="103" y="118"/>
                  </a:cubicBezTo>
                  <a:cubicBezTo>
                    <a:pt x="103" y="118"/>
                    <a:pt x="103" y="118"/>
                    <a:pt x="103" y="118"/>
                  </a:cubicBezTo>
                  <a:cubicBezTo>
                    <a:pt x="104" y="118"/>
                    <a:pt x="104" y="118"/>
                    <a:pt x="104" y="118"/>
                  </a:cubicBezTo>
                  <a:cubicBezTo>
                    <a:pt x="105" y="118"/>
                    <a:pt x="104" y="117"/>
                    <a:pt x="105" y="117"/>
                  </a:cubicBezTo>
                  <a:cubicBezTo>
                    <a:pt x="106" y="118"/>
                    <a:pt x="106" y="116"/>
                    <a:pt x="106" y="116"/>
                  </a:cubicBezTo>
                  <a:cubicBezTo>
                    <a:pt x="106" y="116"/>
                    <a:pt x="106" y="116"/>
                    <a:pt x="106" y="116"/>
                  </a:cubicBezTo>
                  <a:cubicBezTo>
                    <a:pt x="105" y="116"/>
                    <a:pt x="104" y="115"/>
                    <a:pt x="104" y="115"/>
                  </a:cubicBezTo>
                  <a:cubicBezTo>
                    <a:pt x="104" y="115"/>
                    <a:pt x="104" y="114"/>
                    <a:pt x="104" y="114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113"/>
                    <a:pt x="106" y="113"/>
                    <a:pt x="106" y="114"/>
                  </a:cubicBezTo>
                  <a:cubicBezTo>
                    <a:pt x="106" y="114"/>
                    <a:pt x="106" y="114"/>
                    <a:pt x="106" y="114"/>
                  </a:cubicBezTo>
                  <a:cubicBezTo>
                    <a:pt x="107" y="114"/>
                    <a:pt x="107" y="114"/>
                    <a:pt x="108" y="114"/>
                  </a:cubicBezTo>
                  <a:cubicBezTo>
                    <a:pt x="107" y="113"/>
                    <a:pt x="107" y="113"/>
                    <a:pt x="107" y="113"/>
                  </a:cubicBezTo>
                  <a:cubicBezTo>
                    <a:pt x="107" y="112"/>
                    <a:pt x="107" y="112"/>
                    <a:pt x="107" y="112"/>
                  </a:cubicBezTo>
                  <a:cubicBezTo>
                    <a:pt x="107" y="112"/>
                    <a:pt x="107" y="111"/>
                    <a:pt x="108" y="111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109" y="111"/>
                    <a:pt x="109" y="110"/>
                    <a:pt x="109" y="110"/>
                  </a:cubicBezTo>
                  <a:cubicBezTo>
                    <a:pt x="110" y="111"/>
                    <a:pt x="110" y="111"/>
                    <a:pt x="110" y="111"/>
                  </a:cubicBezTo>
                  <a:cubicBezTo>
                    <a:pt x="110" y="111"/>
                    <a:pt x="110" y="111"/>
                    <a:pt x="110" y="111"/>
                  </a:cubicBezTo>
                  <a:cubicBezTo>
                    <a:pt x="111" y="111"/>
                    <a:pt x="111" y="111"/>
                    <a:pt x="111" y="111"/>
                  </a:cubicBezTo>
                  <a:cubicBezTo>
                    <a:pt x="111" y="111"/>
                    <a:pt x="111" y="111"/>
                    <a:pt x="111" y="111"/>
                  </a:cubicBezTo>
                  <a:cubicBezTo>
                    <a:pt x="112" y="111"/>
                    <a:pt x="112" y="111"/>
                    <a:pt x="112" y="111"/>
                  </a:cubicBezTo>
                  <a:cubicBezTo>
                    <a:pt x="112" y="110"/>
                    <a:pt x="112" y="110"/>
                    <a:pt x="112" y="109"/>
                  </a:cubicBezTo>
                  <a:cubicBezTo>
                    <a:pt x="112" y="109"/>
                    <a:pt x="112" y="109"/>
                    <a:pt x="112" y="109"/>
                  </a:cubicBezTo>
                  <a:cubicBezTo>
                    <a:pt x="113" y="109"/>
                    <a:pt x="114" y="108"/>
                    <a:pt x="114" y="108"/>
                  </a:cubicBezTo>
                  <a:cubicBezTo>
                    <a:pt x="114" y="108"/>
                    <a:pt x="114" y="108"/>
                    <a:pt x="114" y="108"/>
                  </a:cubicBezTo>
                  <a:cubicBezTo>
                    <a:pt x="114" y="108"/>
                    <a:pt x="114" y="107"/>
                    <a:pt x="114" y="107"/>
                  </a:cubicBezTo>
                  <a:cubicBezTo>
                    <a:pt x="115" y="107"/>
                    <a:pt x="115" y="107"/>
                    <a:pt x="115" y="107"/>
                  </a:cubicBezTo>
                  <a:cubicBezTo>
                    <a:pt x="115" y="107"/>
                    <a:pt x="115" y="107"/>
                    <a:pt x="115" y="107"/>
                  </a:cubicBezTo>
                  <a:cubicBezTo>
                    <a:pt x="116" y="107"/>
                    <a:pt x="116" y="107"/>
                    <a:pt x="116" y="107"/>
                  </a:cubicBezTo>
                  <a:cubicBezTo>
                    <a:pt x="115" y="107"/>
                    <a:pt x="115" y="107"/>
                    <a:pt x="115" y="107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8"/>
                    <a:pt x="114" y="109"/>
                    <a:pt x="115" y="109"/>
                  </a:cubicBezTo>
                  <a:cubicBezTo>
                    <a:pt x="115" y="109"/>
                    <a:pt x="115" y="109"/>
                    <a:pt x="115" y="109"/>
                  </a:cubicBezTo>
                  <a:cubicBezTo>
                    <a:pt x="115" y="109"/>
                    <a:pt x="116" y="110"/>
                    <a:pt x="116" y="110"/>
                  </a:cubicBezTo>
                  <a:cubicBezTo>
                    <a:pt x="116" y="110"/>
                    <a:pt x="116" y="110"/>
                    <a:pt x="116" y="110"/>
                  </a:cubicBezTo>
                  <a:cubicBezTo>
                    <a:pt x="117" y="109"/>
                    <a:pt x="117" y="109"/>
                    <a:pt x="118" y="109"/>
                  </a:cubicBezTo>
                  <a:cubicBezTo>
                    <a:pt x="119" y="109"/>
                    <a:pt x="120" y="108"/>
                    <a:pt x="120" y="108"/>
                  </a:cubicBezTo>
                  <a:cubicBezTo>
                    <a:pt x="120" y="109"/>
                    <a:pt x="120" y="109"/>
                    <a:pt x="120" y="109"/>
                  </a:cubicBezTo>
                  <a:cubicBezTo>
                    <a:pt x="121" y="108"/>
                    <a:pt x="121" y="108"/>
                    <a:pt x="121" y="107"/>
                  </a:cubicBezTo>
                  <a:cubicBezTo>
                    <a:pt x="121" y="107"/>
                    <a:pt x="121" y="107"/>
                    <a:pt x="121" y="107"/>
                  </a:cubicBezTo>
                  <a:cubicBezTo>
                    <a:pt x="122" y="107"/>
                    <a:pt x="122" y="107"/>
                    <a:pt x="122" y="107"/>
                  </a:cubicBezTo>
                  <a:cubicBezTo>
                    <a:pt x="122" y="107"/>
                    <a:pt x="124" y="107"/>
                    <a:pt x="125" y="106"/>
                  </a:cubicBezTo>
                  <a:cubicBezTo>
                    <a:pt x="126" y="105"/>
                    <a:pt x="126" y="105"/>
                    <a:pt x="126" y="105"/>
                  </a:cubicBezTo>
                  <a:cubicBezTo>
                    <a:pt x="127" y="103"/>
                    <a:pt x="127" y="104"/>
                    <a:pt x="127" y="102"/>
                  </a:cubicBezTo>
                  <a:cubicBezTo>
                    <a:pt x="128" y="101"/>
                    <a:pt x="128" y="101"/>
                    <a:pt x="129" y="100"/>
                  </a:cubicBezTo>
                  <a:cubicBezTo>
                    <a:pt x="129" y="100"/>
                    <a:pt x="130" y="99"/>
                    <a:pt x="130" y="99"/>
                  </a:cubicBezTo>
                  <a:cubicBezTo>
                    <a:pt x="130" y="99"/>
                    <a:pt x="132" y="98"/>
                    <a:pt x="132" y="98"/>
                  </a:cubicBezTo>
                  <a:cubicBezTo>
                    <a:pt x="132" y="98"/>
                    <a:pt x="133" y="98"/>
                    <a:pt x="133" y="97"/>
                  </a:cubicBezTo>
                  <a:cubicBezTo>
                    <a:pt x="132" y="97"/>
                    <a:pt x="132" y="97"/>
                    <a:pt x="132" y="97"/>
                  </a:cubicBezTo>
                  <a:cubicBezTo>
                    <a:pt x="132" y="96"/>
                    <a:pt x="132" y="95"/>
                    <a:pt x="132" y="95"/>
                  </a:cubicBezTo>
                  <a:cubicBezTo>
                    <a:pt x="132" y="94"/>
                    <a:pt x="132" y="94"/>
                    <a:pt x="132" y="95"/>
                  </a:cubicBezTo>
                  <a:cubicBezTo>
                    <a:pt x="132" y="95"/>
                    <a:pt x="133" y="95"/>
                    <a:pt x="133" y="96"/>
                  </a:cubicBezTo>
                  <a:cubicBezTo>
                    <a:pt x="133" y="96"/>
                    <a:pt x="133" y="96"/>
                    <a:pt x="134" y="96"/>
                  </a:cubicBezTo>
                  <a:cubicBezTo>
                    <a:pt x="134" y="96"/>
                    <a:pt x="134" y="97"/>
                    <a:pt x="134" y="97"/>
                  </a:cubicBezTo>
                  <a:cubicBezTo>
                    <a:pt x="134" y="97"/>
                    <a:pt x="134" y="97"/>
                    <a:pt x="134" y="97"/>
                  </a:cubicBezTo>
                  <a:cubicBezTo>
                    <a:pt x="134" y="97"/>
                    <a:pt x="135" y="97"/>
                    <a:pt x="137" y="97"/>
                  </a:cubicBezTo>
                  <a:cubicBezTo>
                    <a:pt x="138" y="97"/>
                    <a:pt x="140" y="97"/>
                    <a:pt x="141" y="97"/>
                  </a:cubicBezTo>
                  <a:cubicBezTo>
                    <a:pt x="142" y="96"/>
                    <a:pt x="142" y="96"/>
                    <a:pt x="143" y="95"/>
                  </a:cubicBezTo>
                  <a:cubicBezTo>
                    <a:pt x="144" y="95"/>
                    <a:pt x="144" y="95"/>
                    <a:pt x="144" y="95"/>
                  </a:cubicBezTo>
                  <a:cubicBezTo>
                    <a:pt x="144" y="95"/>
                    <a:pt x="148" y="94"/>
                    <a:pt x="149" y="94"/>
                  </a:cubicBezTo>
                  <a:cubicBezTo>
                    <a:pt x="149" y="94"/>
                    <a:pt x="150" y="94"/>
                    <a:pt x="151" y="94"/>
                  </a:cubicBezTo>
                  <a:cubicBezTo>
                    <a:pt x="151" y="93"/>
                    <a:pt x="151" y="93"/>
                    <a:pt x="151" y="93"/>
                  </a:cubicBezTo>
                  <a:cubicBezTo>
                    <a:pt x="151" y="93"/>
                    <a:pt x="151" y="93"/>
                    <a:pt x="151" y="93"/>
                  </a:cubicBezTo>
                  <a:cubicBezTo>
                    <a:pt x="152" y="93"/>
                    <a:pt x="152" y="92"/>
                    <a:pt x="152" y="92"/>
                  </a:cubicBezTo>
                  <a:cubicBezTo>
                    <a:pt x="153" y="92"/>
                    <a:pt x="153" y="92"/>
                    <a:pt x="153" y="92"/>
                  </a:cubicBezTo>
                  <a:cubicBezTo>
                    <a:pt x="154" y="92"/>
                    <a:pt x="154" y="92"/>
                    <a:pt x="154" y="92"/>
                  </a:cubicBezTo>
                  <a:cubicBezTo>
                    <a:pt x="154" y="92"/>
                    <a:pt x="155" y="91"/>
                    <a:pt x="155" y="91"/>
                  </a:cubicBezTo>
                  <a:cubicBezTo>
                    <a:pt x="155" y="91"/>
                    <a:pt x="155" y="91"/>
                    <a:pt x="156" y="91"/>
                  </a:cubicBezTo>
                  <a:cubicBezTo>
                    <a:pt x="156" y="91"/>
                    <a:pt x="156" y="90"/>
                    <a:pt x="156" y="90"/>
                  </a:cubicBezTo>
                  <a:cubicBezTo>
                    <a:pt x="157" y="90"/>
                    <a:pt x="157" y="89"/>
                    <a:pt x="158" y="89"/>
                  </a:cubicBezTo>
                  <a:close/>
                  <a:moveTo>
                    <a:pt x="11" y="45"/>
                  </a:moveTo>
                  <a:cubicBezTo>
                    <a:pt x="11" y="45"/>
                    <a:pt x="11" y="45"/>
                    <a:pt x="11" y="45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1" y="45"/>
                    <a:pt x="11" y="45"/>
                    <a:pt x="12" y="45"/>
                  </a:cubicBezTo>
                  <a:cubicBezTo>
                    <a:pt x="12" y="45"/>
                    <a:pt x="11" y="45"/>
                    <a:pt x="11" y="45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6" name="Freeform 258">
              <a:extLst>
                <a:ext uri="{FF2B5EF4-FFF2-40B4-BE49-F238E27FC236}">
                  <a16:creationId xmlns:a16="http://schemas.microsoft.com/office/drawing/2014/main" id="{0F51726E-DBF3-4E31-9797-C3DE28C8FA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1" y="1834"/>
              <a:ext cx="24" cy="14"/>
            </a:xfrm>
            <a:custGeom>
              <a:avLst/>
              <a:gdLst>
                <a:gd name="T0" fmla="*/ 1 w 10"/>
                <a:gd name="T1" fmla="*/ 2 h 6"/>
                <a:gd name="T2" fmla="*/ 0 w 10"/>
                <a:gd name="T3" fmla="*/ 3 h 6"/>
                <a:gd name="T4" fmla="*/ 1 w 10"/>
                <a:gd name="T5" fmla="*/ 4 h 6"/>
                <a:gd name="T6" fmla="*/ 2 w 10"/>
                <a:gd name="T7" fmla="*/ 4 h 6"/>
                <a:gd name="T8" fmla="*/ 4 w 10"/>
                <a:gd name="T9" fmla="*/ 4 h 6"/>
                <a:gd name="T10" fmla="*/ 3 w 10"/>
                <a:gd name="T11" fmla="*/ 4 h 6"/>
                <a:gd name="T12" fmla="*/ 3 w 10"/>
                <a:gd name="T13" fmla="*/ 5 h 6"/>
                <a:gd name="T14" fmla="*/ 3 w 10"/>
                <a:gd name="T15" fmla="*/ 5 h 6"/>
                <a:gd name="T16" fmla="*/ 4 w 10"/>
                <a:gd name="T17" fmla="*/ 6 h 6"/>
                <a:gd name="T18" fmla="*/ 5 w 10"/>
                <a:gd name="T19" fmla="*/ 6 h 6"/>
                <a:gd name="T20" fmla="*/ 7 w 10"/>
                <a:gd name="T21" fmla="*/ 5 h 6"/>
                <a:gd name="T22" fmla="*/ 8 w 10"/>
                <a:gd name="T23" fmla="*/ 5 h 6"/>
                <a:gd name="T24" fmla="*/ 10 w 10"/>
                <a:gd name="T25" fmla="*/ 4 h 6"/>
                <a:gd name="T26" fmla="*/ 10 w 10"/>
                <a:gd name="T27" fmla="*/ 4 h 6"/>
                <a:gd name="T28" fmla="*/ 10 w 10"/>
                <a:gd name="T29" fmla="*/ 3 h 6"/>
                <a:gd name="T30" fmla="*/ 10 w 10"/>
                <a:gd name="T31" fmla="*/ 3 h 6"/>
                <a:gd name="T32" fmla="*/ 9 w 10"/>
                <a:gd name="T33" fmla="*/ 2 h 6"/>
                <a:gd name="T34" fmla="*/ 9 w 10"/>
                <a:gd name="T35" fmla="*/ 2 h 6"/>
                <a:gd name="T36" fmla="*/ 8 w 10"/>
                <a:gd name="T37" fmla="*/ 2 h 6"/>
                <a:gd name="T38" fmla="*/ 7 w 10"/>
                <a:gd name="T39" fmla="*/ 2 h 6"/>
                <a:gd name="T40" fmla="*/ 7 w 10"/>
                <a:gd name="T41" fmla="*/ 1 h 6"/>
                <a:gd name="T42" fmla="*/ 6 w 10"/>
                <a:gd name="T43" fmla="*/ 1 h 6"/>
                <a:gd name="T44" fmla="*/ 5 w 10"/>
                <a:gd name="T45" fmla="*/ 0 h 6"/>
                <a:gd name="T46" fmla="*/ 4 w 10"/>
                <a:gd name="T47" fmla="*/ 0 h 6"/>
                <a:gd name="T48" fmla="*/ 2 w 10"/>
                <a:gd name="T49" fmla="*/ 0 h 6"/>
                <a:gd name="T50" fmla="*/ 1 w 10"/>
                <a:gd name="T51" fmla="*/ 0 h 6"/>
                <a:gd name="T52" fmla="*/ 0 w 10"/>
                <a:gd name="T53" fmla="*/ 0 h 6"/>
                <a:gd name="T54" fmla="*/ 1 w 10"/>
                <a:gd name="T55" fmla="*/ 1 h 6"/>
                <a:gd name="T56" fmla="*/ 1 w 10"/>
                <a:gd name="T5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" h="6">
                  <a:moveTo>
                    <a:pt x="1" y="2"/>
                  </a:moveTo>
                  <a:cubicBezTo>
                    <a:pt x="1" y="2"/>
                    <a:pt x="0" y="2"/>
                    <a:pt x="0" y="3"/>
                  </a:cubicBezTo>
                  <a:cubicBezTo>
                    <a:pt x="0" y="3"/>
                    <a:pt x="1" y="3"/>
                    <a:pt x="1" y="4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5" y="4"/>
                    <a:pt x="4" y="5"/>
                    <a:pt x="3" y="4"/>
                  </a:cubicBezTo>
                  <a:cubicBezTo>
                    <a:pt x="3" y="4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9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2"/>
                    <a:pt x="1" y="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7" name="Freeform 259">
              <a:extLst>
                <a:ext uri="{FF2B5EF4-FFF2-40B4-BE49-F238E27FC236}">
                  <a16:creationId xmlns:a16="http://schemas.microsoft.com/office/drawing/2014/main" id="{EE1F0C63-9258-48FC-BE01-D90205C99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4" y="1799"/>
              <a:ext cx="18" cy="9"/>
            </a:xfrm>
            <a:custGeom>
              <a:avLst/>
              <a:gdLst>
                <a:gd name="T0" fmla="*/ 6 w 8"/>
                <a:gd name="T1" fmla="*/ 2 h 4"/>
                <a:gd name="T2" fmla="*/ 7 w 8"/>
                <a:gd name="T3" fmla="*/ 2 h 4"/>
                <a:gd name="T4" fmla="*/ 8 w 8"/>
                <a:gd name="T5" fmla="*/ 2 h 4"/>
                <a:gd name="T6" fmla="*/ 6 w 8"/>
                <a:gd name="T7" fmla="*/ 1 h 4"/>
                <a:gd name="T8" fmla="*/ 5 w 8"/>
                <a:gd name="T9" fmla="*/ 1 h 4"/>
                <a:gd name="T10" fmla="*/ 6 w 8"/>
                <a:gd name="T11" fmla="*/ 0 h 4"/>
                <a:gd name="T12" fmla="*/ 5 w 8"/>
                <a:gd name="T13" fmla="*/ 0 h 4"/>
                <a:gd name="T14" fmla="*/ 2 w 8"/>
                <a:gd name="T15" fmla="*/ 0 h 4"/>
                <a:gd name="T16" fmla="*/ 0 w 8"/>
                <a:gd name="T17" fmla="*/ 0 h 4"/>
                <a:gd name="T18" fmla="*/ 1 w 8"/>
                <a:gd name="T19" fmla="*/ 1 h 4"/>
                <a:gd name="T20" fmla="*/ 2 w 8"/>
                <a:gd name="T21" fmla="*/ 2 h 4"/>
                <a:gd name="T22" fmla="*/ 3 w 8"/>
                <a:gd name="T23" fmla="*/ 2 h 4"/>
                <a:gd name="T24" fmla="*/ 4 w 8"/>
                <a:gd name="T25" fmla="*/ 3 h 4"/>
                <a:gd name="T26" fmla="*/ 6 w 8"/>
                <a:gd name="T27" fmla="*/ 4 h 4"/>
                <a:gd name="T28" fmla="*/ 7 w 8"/>
                <a:gd name="T29" fmla="*/ 4 h 4"/>
                <a:gd name="T30" fmla="*/ 7 w 8"/>
                <a:gd name="T31" fmla="*/ 4 h 4"/>
                <a:gd name="T32" fmla="*/ 6 w 8"/>
                <a:gd name="T33" fmla="*/ 3 h 4"/>
                <a:gd name="T34" fmla="*/ 5 w 8"/>
                <a:gd name="T35" fmla="*/ 2 h 4"/>
                <a:gd name="T36" fmla="*/ 5 w 8"/>
                <a:gd name="T37" fmla="*/ 2 h 4"/>
                <a:gd name="T38" fmla="*/ 6 w 8"/>
                <a:gd name="T3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" h="4">
                  <a:moveTo>
                    <a:pt x="6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1" y="2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4" y="3"/>
                    <a:pt x="4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6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3"/>
                    <a:pt x="7" y="3"/>
                    <a:pt x="6" y="3"/>
                  </a:cubicBezTo>
                  <a:cubicBezTo>
                    <a:pt x="6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2"/>
                    <a:pt x="6" y="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8" name="Freeform 260">
              <a:extLst>
                <a:ext uri="{FF2B5EF4-FFF2-40B4-BE49-F238E27FC236}">
                  <a16:creationId xmlns:a16="http://schemas.microsoft.com/office/drawing/2014/main" id="{42F703AB-626F-4B60-ADE3-070EBA864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4" y="1794"/>
              <a:ext cx="21" cy="7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2 w 9"/>
                <a:gd name="T5" fmla="*/ 1 h 3"/>
                <a:gd name="T6" fmla="*/ 0 w 9"/>
                <a:gd name="T7" fmla="*/ 1 h 3"/>
                <a:gd name="T8" fmla="*/ 0 w 9"/>
                <a:gd name="T9" fmla="*/ 1 h 3"/>
                <a:gd name="T10" fmla="*/ 3 w 9"/>
                <a:gd name="T11" fmla="*/ 1 h 3"/>
                <a:gd name="T12" fmla="*/ 5 w 9"/>
                <a:gd name="T13" fmla="*/ 1 h 3"/>
                <a:gd name="T14" fmla="*/ 6 w 9"/>
                <a:gd name="T15" fmla="*/ 2 h 3"/>
                <a:gd name="T16" fmla="*/ 7 w 9"/>
                <a:gd name="T17" fmla="*/ 2 h 3"/>
                <a:gd name="T18" fmla="*/ 8 w 9"/>
                <a:gd name="T19" fmla="*/ 2 h 3"/>
                <a:gd name="T20" fmla="*/ 8 w 9"/>
                <a:gd name="T2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7" y="1"/>
                    <a:pt x="6" y="0"/>
                    <a:pt x="5" y="0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3" y="1"/>
                    <a:pt x="3" y="1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5" y="1"/>
                    <a:pt x="6" y="2"/>
                    <a:pt x="6" y="2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7" y="2"/>
                    <a:pt x="8" y="3"/>
                    <a:pt x="8" y="2"/>
                  </a:cubicBezTo>
                  <a:cubicBezTo>
                    <a:pt x="8" y="2"/>
                    <a:pt x="9" y="2"/>
                    <a:pt x="8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9" name="Freeform 261">
              <a:extLst>
                <a:ext uri="{FF2B5EF4-FFF2-40B4-BE49-F238E27FC236}">
                  <a16:creationId xmlns:a16="http://schemas.microsoft.com/office/drawing/2014/main" id="{5EE7AD77-D953-4C0D-B5FD-1F59600AD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" y="1789"/>
              <a:ext cx="19" cy="5"/>
            </a:xfrm>
            <a:custGeom>
              <a:avLst/>
              <a:gdLst>
                <a:gd name="T0" fmla="*/ 7 w 8"/>
                <a:gd name="T1" fmla="*/ 2 h 2"/>
                <a:gd name="T2" fmla="*/ 8 w 8"/>
                <a:gd name="T3" fmla="*/ 1 h 2"/>
                <a:gd name="T4" fmla="*/ 7 w 8"/>
                <a:gd name="T5" fmla="*/ 1 h 2"/>
                <a:gd name="T6" fmla="*/ 5 w 8"/>
                <a:gd name="T7" fmla="*/ 0 h 2"/>
                <a:gd name="T8" fmla="*/ 3 w 8"/>
                <a:gd name="T9" fmla="*/ 0 h 2"/>
                <a:gd name="T10" fmla="*/ 2 w 8"/>
                <a:gd name="T11" fmla="*/ 0 h 2"/>
                <a:gd name="T12" fmla="*/ 1 w 8"/>
                <a:gd name="T13" fmla="*/ 1 h 2"/>
                <a:gd name="T14" fmla="*/ 1 w 8"/>
                <a:gd name="T15" fmla="*/ 1 h 2"/>
                <a:gd name="T16" fmla="*/ 1 w 8"/>
                <a:gd name="T17" fmla="*/ 2 h 2"/>
                <a:gd name="T18" fmla="*/ 3 w 8"/>
                <a:gd name="T19" fmla="*/ 2 h 2"/>
                <a:gd name="T20" fmla="*/ 4 w 8"/>
                <a:gd name="T21" fmla="*/ 2 h 2"/>
                <a:gd name="T22" fmla="*/ 5 w 8"/>
                <a:gd name="T23" fmla="*/ 2 h 2"/>
                <a:gd name="T24" fmla="*/ 7 w 8"/>
                <a:gd name="T2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">
                  <a:moveTo>
                    <a:pt x="7" y="2"/>
                  </a:moveTo>
                  <a:cubicBezTo>
                    <a:pt x="7" y="2"/>
                    <a:pt x="8" y="2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5" y="0"/>
                    <a:pt x="5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5" y="2"/>
                    <a:pt x="6" y="2"/>
                    <a:pt x="7" y="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0" name="Freeform 262">
              <a:extLst>
                <a:ext uri="{FF2B5EF4-FFF2-40B4-BE49-F238E27FC236}">
                  <a16:creationId xmlns:a16="http://schemas.microsoft.com/office/drawing/2014/main" id="{C65160A0-9D19-44FD-A503-28C7B43D5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2" y="1775"/>
              <a:ext cx="15" cy="5"/>
            </a:xfrm>
            <a:custGeom>
              <a:avLst/>
              <a:gdLst>
                <a:gd name="T0" fmla="*/ 5 w 6"/>
                <a:gd name="T1" fmla="*/ 1 h 2"/>
                <a:gd name="T2" fmla="*/ 5 w 6"/>
                <a:gd name="T3" fmla="*/ 1 h 2"/>
                <a:gd name="T4" fmla="*/ 4 w 6"/>
                <a:gd name="T5" fmla="*/ 0 h 2"/>
                <a:gd name="T6" fmla="*/ 3 w 6"/>
                <a:gd name="T7" fmla="*/ 0 h 2"/>
                <a:gd name="T8" fmla="*/ 1 w 6"/>
                <a:gd name="T9" fmla="*/ 1 h 2"/>
                <a:gd name="T10" fmla="*/ 1 w 6"/>
                <a:gd name="T11" fmla="*/ 1 h 2"/>
                <a:gd name="T12" fmla="*/ 0 w 6"/>
                <a:gd name="T13" fmla="*/ 1 h 2"/>
                <a:gd name="T14" fmla="*/ 0 w 6"/>
                <a:gd name="T15" fmla="*/ 1 h 2"/>
                <a:gd name="T16" fmla="*/ 1 w 6"/>
                <a:gd name="T17" fmla="*/ 2 h 2"/>
                <a:gd name="T18" fmla="*/ 2 w 6"/>
                <a:gd name="T19" fmla="*/ 2 h 2"/>
                <a:gd name="T20" fmla="*/ 2 w 6"/>
                <a:gd name="T21" fmla="*/ 2 h 2"/>
                <a:gd name="T22" fmla="*/ 2 w 6"/>
                <a:gd name="T23" fmla="*/ 2 h 2"/>
                <a:gd name="T24" fmla="*/ 5 w 6"/>
                <a:gd name="T25" fmla="*/ 2 h 2"/>
                <a:gd name="T26" fmla="*/ 5 w 6"/>
                <a:gd name="T27" fmla="*/ 2 h 2"/>
                <a:gd name="T28" fmla="*/ 6 w 6"/>
                <a:gd name="T29" fmla="*/ 2 h 2"/>
                <a:gd name="T30" fmla="*/ 5 w 6"/>
                <a:gd name="T31" fmla="*/ 1 h 2"/>
                <a:gd name="T32" fmla="*/ 5 w 6"/>
                <a:gd name="T3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4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6" y="2"/>
                    <a:pt x="6" y="2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1" name="Freeform 263">
              <a:extLst>
                <a:ext uri="{FF2B5EF4-FFF2-40B4-BE49-F238E27FC236}">
                  <a16:creationId xmlns:a16="http://schemas.microsoft.com/office/drawing/2014/main" id="{6AE90C38-8060-4FD2-A08F-83AD2B175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4" y="1765"/>
              <a:ext cx="5" cy="5"/>
            </a:xfrm>
            <a:custGeom>
              <a:avLst/>
              <a:gdLst>
                <a:gd name="T0" fmla="*/ 1 w 2"/>
                <a:gd name="T1" fmla="*/ 0 h 2"/>
                <a:gd name="T2" fmla="*/ 1 w 2"/>
                <a:gd name="T3" fmla="*/ 0 h 2"/>
                <a:gd name="T4" fmla="*/ 0 w 2"/>
                <a:gd name="T5" fmla="*/ 0 h 2"/>
                <a:gd name="T6" fmla="*/ 0 w 2"/>
                <a:gd name="T7" fmla="*/ 0 h 2"/>
                <a:gd name="T8" fmla="*/ 0 w 2"/>
                <a:gd name="T9" fmla="*/ 1 h 2"/>
                <a:gd name="T10" fmla="*/ 0 w 2"/>
                <a:gd name="T11" fmla="*/ 1 h 2"/>
                <a:gd name="T12" fmla="*/ 0 w 2"/>
                <a:gd name="T13" fmla="*/ 2 h 2"/>
                <a:gd name="T14" fmla="*/ 1 w 2"/>
                <a:gd name="T15" fmla="*/ 2 h 2"/>
                <a:gd name="T16" fmla="*/ 2 w 2"/>
                <a:gd name="T17" fmla="*/ 2 h 2"/>
                <a:gd name="T18" fmla="*/ 1 w 2"/>
                <a:gd name="T19" fmla="*/ 1 h 2"/>
                <a:gd name="T20" fmla="*/ 1 w 2"/>
                <a:gd name="T21" fmla="*/ 1 h 2"/>
                <a:gd name="T22" fmla="*/ 1 w 2"/>
                <a:gd name="T23" fmla="*/ 1 h 2"/>
                <a:gd name="T24" fmla="*/ 1 w 2"/>
                <a:gd name="T25" fmla="*/ 1 h 2"/>
                <a:gd name="T26" fmla="*/ 1 w 2"/>
                <a:gd name="T27" fmla="*/ 1 h 2"/>
                <a:gd name="T28" fmla="*/ 1 w 2"/>
                <a:gd name="T2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2" name="Freeform 264">
              <a:extLst>
                <a:ext uri="{FF2B5EF4-FFF2-40B4-BE49-F238E27FC236}">
                  <a16:creationId xmlns:a16="http://schemas.microsoft.com/office/drawing/2014/main" id="{0061D71D-A387-4E0B-8A87-0D6690203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4" y="1761"/>
              <a:ext cx="14" cy="7"/>
            </a:xfrm>
            <a:custGeom>
              <a:avLst/>
              <a:gdLst>
                <a:gd name="T0" fmla="*/ 4 w 6"/>
                <a:gd name="T1" fmla="*/ 2 h 3"/>
                <a:gd name="T2" fmla="*/ 4 w 6"/>
                <a:gd name="T3" fmla="*/ 2 h 3"/>
                <a:gd name="T4" fmla="*/ 5 w 6"/>
                <a:gd name="T5" fmla="*/ 3 h 3"/>
                <a:gd name="T6" fmla="*/ 6 w 6"/>
                <a:gd name="T7" fmla="*/ 2 h 3"/>
                <a:gd name="T8" fmla="*/ 6 w 6"/>
                <a:gd name="T9" fmla="*/ 2 h 3"/>
                <a:gd name="T10" fmla="*/ 6 w 6"/>
                <a:gd name="T11" fmla="*/ 2 h 3"/>
                <a:gd name="T12" fmla="*/ 6 w 6"/>
                <a:gd name="T13" fmla="*/ 2 h 3"/>
                <a:gd name="T14" fmla="*/ 5 w 6"/>
                <a:gd name="T15" fmla="*/ 2 h 3"/>
                <a:gd name="T16" fmla="*/ 5 w 6"/>
                <a:gd name="T17" fmla="*/ 2 h 3"/>
                <a:gd name="T18" fmla="*/ 5 w 6"/>
                <a:gd name="T19" fmla="*/ 2 h 3"/>
                <a:gd name="T20" fmla="*/ 4 w 6"/>
                <a:gd name="T21" fmla="*/ 2 h 3"/>
                <a:gd name="T22" fmla="*/ 3 w 6"/>
                <a:gd name="T23" fmla="*/ 1 h 3"/>
                <a:gd name="T24" fmla="*/ 4 w 6"/>
                <a:gd name="T25" fmla="*/ 1 h 3"/>
                <a:gd name="T26" fmla="*/ 4 w 6"/>
                <a:gd name="T27" fmla="*/ 0 h 3"/>
                <a:gd name="T28" fmla="*/ 4 w 6"/>
                <a:gd name="T29" fmla="*/ 0 h 3"/>
                <a:gd name="T30" fmla="*/ 3 w 6"/>
                <a:gd name="T31" fmla="*/ 0 h 3"/>
                <a:gd name="T32" fmla="*/ 3 w 6"/>
                <a:gd name="T33" fmla="*/ 0 h 3"/>
                <a:gd name="T34" fmla="*/ 3 w 6"/>
                <a:gd name="T35" fmla="*/ 0 h 3"/>
                <a:gd name="T36" fmla="*/ 3 w 6"/>
                <a:gd name="T37" fmla="*/ 1 h 3"/>
                <a:gd name="T38" fmla="*/ 3 w 6"/>
                <a:gd name="T39" fmla="*/ 1 h 3"/>
                <a:gd name="T40" fmla="*/ 1 w 6"/>
                <a:gd name="T41" fmla="*/ 0 h 3"/>
                <a:gd name="T42" fmla="*/ 1 w 6"/>
                <a:gd name="T43" fmla="*/ 0 h 3"/>
                <a:gd name="T44" fmla="*/ 1 w 6"/>
                <a:gd name="T45" fmla="*/ 0 h 3"/>
                <a:gd name="T46" fmla="*/ 1 w 6"/>
                <a:gd name="T47" fmla="*/ 1 h 3"/>
                <a:gd name="T48" fmla="*/ 1 w 6"/>
                <a:gd name="T49" fmla="*/ 1 h 3"/>
                <a:gd name="T50" fmla="*/ 1 w 6"/>
                <a:gd name="T51" fmla="*/ 1 h 3"/>
                <a:gd name="T52" fmla="*/ 0 w 6"/>
                <a:gd name="T53" fmla="*/ 2 h 3"/>
                <a:gd name="T54" fmla="*/ 1 w 6"/>
                <a:gd name="T55" fmla="*/ 3 h 3"/>
                <a:gd name="T56" fmla="*/ 4 w 6"/>
                <a:gd name="T5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" h="3">
                  <a:moveTo>
                    <a:pt x="4" y="2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5" y="3"/>
                    <a:pt x="5" y="3"/>
                  </a:cubicBezTo>
                  <a:cubicBezTo>
                    <a:pt x="5" y="3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5" y="1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3" y="2"/>
                    <a:pt x="4" y="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3" name="Freeform 265">
              <a:extLst>
                <a:ext uri="{FF2B5EF4-FFF2-40B4-BE49-F238E27FC236}">
                  <a16:creationId xmlns:a16="http://schemas.microsoft.com/office/drawing/2014/main" id="{FBA58788-7BC4-4FCF-984E-D2F3D8442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4" y="1742"/>
              <a:ext cx="5" cy="11"/>
            </a:xfrm>
            <a:custGeom>
              <a:avLst/>
              <a:gdLst>
                <a:gd name="T0" fmla="*/ 1 w 2"/>
                <a:gd name="T1" fmla="*/ 2 h 5"/>
                <a:gd name="T2" fmla="*/ 1 w 2"/>
                <a:gd name="T3" fmla="*/ 2 h 5"/>
                <a:gd name="T4" fmla="*/ 1 w 2"/>
                <a:gd name="T5" fmla="*/ 4 h 5"/>
                <a:gd name="T6" fmla="*/ 1 w 2"/>
                <a:gd name="T7" fmla="*/ 4 h 5"/>
                <a:gd name="T8" fmla="*/ 2 w 2"/>
                <a:gd name="T9" fmla="*/ 4 h 5"/>
                <a:gd name="T10" fmla="*/ 2 w 2"/>
                <a:gd name="T11" fmla="*/ 4 h 5"/>
                <a:gd name="T12" fmla="*/ 2 w 2"/>
                <a:gd name="T13" fmla="*/ 3 h 5"/>
                <a:gd name="T14" fmla="*/ 1 w 2"/>
                <a:gd name="T15" fmla="*/ 2 h 5"/>
                <a:gd name="T16" fmla="*/ 1 w 2"/>
                <a:gd name="T17" fmla="*/ 1 h 5"/>
                <a:gd name="T18" fmla="*/ 1 w 2"/>
                <a:gd name="T19" fmla="*/ 1 h 5"/>
                <a:gd name="T20" fmla="*/ 1 w 2"/>
                <a:gd name="T21" fmla="*/ 0 h 5"/>
                <a:gd name="T22" fmla="*/ 1 w 2"/>
                <a:gd name="T23" fmla="*/ 0 h 5"/>
                <a:gd name="T24" fmla="*/ 0 w 2"/>
                <a:gd name="T25" fmla="*/ 0 h 5"/>
                <a:gd name="T26" fmla="*/ 0 w 2"/>
                <a:gd name="T27" fmla="*/ 0 h 5"/>
                <a:gd name="T28" fmla="*/ 0 w 2"/>
                <a:gd name="T29" fmla="*/ 1 h 5"/>
                <a:gd name="T30" fmla="*/ 0 w 2"/>
                <a:gd name="T31" fmla="*/ 1 h 5"/>
                <a:gd name="T32" fmla="*/ 1 w 2"/>
                <a:gd name="T3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" h="5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2" y="5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4" name="Freeform 266">
              <a:extLst>
                <a:ext uri="{FF2B5EF4-FFF2-40B4-BE49-F238E27FC236}">
                  <a16:creationId xmlns:a16="http://schemas.microsoft.com/office/drawing/2014/main" id="{1EEABB22-39DE-423A-B180-8CD26E520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8" y="1649"/>
              <a:ext cx="24" cy="10"/>
            </a:xfrm>
            <a:custGeom>
              <a:avLst/>
              <a:gdLst>
                <a:gd name="T0" fmla="*/ 1 w 10"/>
                <a:gd name="T1" fmla="*/ 1 h 4"/>
                <a:gd name="T2" fmla="*/ 2 w 10"/>
                <a:gd name="T3" fmla="*/ 2 h 4"/>
                <a:gd name="T4" fmla="*/ 4 w 10"/>
                <a:gd name="T5" fmla="*/ 3 h 4"/>
                <a:gd name="T6" fmla="*/ 4 w 10"/>
                <a:gd name="T7" fmla="*/ 3 h 4"/>
                <a:gd name="T8" fmla="*/ 7 w 10"/>
                <a:gd name="T9" fmla="*/ 3 h 4"/>
                <a:gd name="T10" fmla="*/ 8 w 10"/>
                <a:gd name="T11" fmla="*/ 4 h 4"/>
                <a:gd name="T12" fmla="*/ 8 w 10"/>
                <a:gd name="T13" fmla="*/ 4 h 4"/>
                <a:gd name="T14" fmla="*/ 9 w 10"/>
                <a:gd name="T15" fmla="*/ 4 h 4"/>
                <a:gd name="T16" fmla="*/ 9 w 10"/>
                <a:gd name="T17" fmla="*/ 3 h 4"/>
                <a:gd name="T18" fmla="*/ 9 w 10"/>
                <a:gd name="T19" fmla="*/ 2 h 4"/>
                <a:gd name="T20" fmla="*/ 9 w 10"/>
                <a:gd name="T21" fmla="*/ 2 h 4"/>
                <a:gd name="T22" fmla="*/ 10 w 10"/>
                <a:gd name="T23" fmla="*/ 2 h 4"/>
                <a:gd name="T24" fmla="*/ 9 w 10"/>
                <a:gd name="T25" fmla="*/ 1 h 4"/>
                <a:gd name="T26" fmla="*/ 9 w 10"/>
                <a:gd name="T27" fmla="*/ 1 h 4"/>
                <a:gd name="T28" fmla="*/ 6 w 10"/>
                <a:gd name="T29" fmla="*/ 0 h 4"/>
                <a:gd name="T30" fmla="*/ 5 w 10"/>
                <a:gd name="T31" fmla="*/ 0 h 4"/>
                <a:gd name="T32" fmla="*/ 5 w 10"/>
                <a:gd name="T33" fmla="*/ 0 h 4"/>
                <a:gd name="T34" fmla="*/ 3 w 10"/>
                <a:gd name="T35" fmla="*/ 0 h 4"/>
                <a:gd name="T36" fmla="*/ 3 w 10"/>
                <a:gd name="T37" fmla="*/ 0 h 4"/>
                <a:gd name="T38" fmla="*/ 2 w 10"/>
                <a:gd name="T39" fmla="*/ 0 h 4"/>
                <a:gd name="T40" fmla="*/ 1 w 10"/>
                <a:gd name="T41" fmla="*/ 0 h 4"/>
                <a:gd name="T42" fmla="*/ 1 w 10"/>
                <a:gd name="T43" fmla="*/ 0 h 4"/>
                <a:gd name="T44" fmla="*/ 0 w 10"/>
                <a:gd name="T45" fmla="*/ 0 h 4"/>
                <a:gd name="T46" fmla="*/ 0 w 10"/>
                <a:gd name="T47" fmla="*/ 0 h 4"/>
                <a:gd name="T48" fmla="*/ 1 w 10"/>
                <a:gd name="T4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" h="4">
                  <a:moveTo>
                    <a:pt x="1" y="1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6" y="3"/>
                    <a:pt x="7" y="3"/>
                  </a:cubicBezTo>
                  <a:cubicBezTo>
                    <a:pt x="7" y="3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3"/>
                    <a:pt x="9" y="3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10" y="2"/>
                  </a:cubicBezTo>
                  <a:cubicBezTo>
                    <a:pt x="10" y="2"/>
                    <a:pt x="10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7" y="1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5" name="Freeform 267">
              <a:extLst>
                <a:ext uri="{FF2B5EF4-FFF2-40B4-BE49-F238E27FC236}">
                  <a16:creationId xmlns:a16="http://schemas.microsoft.com/office/drawing/2014/main" id="{B29942DD-ACA6-43D6-BD7F-7F40EF9FA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3" y="1654"/>
              <a:ext cx="17" cy="5"/>
            </a:xfrm>
            <a:custGeom>
              <a:avLst/>
              <a:gdLst>
                <a:gd name="T0" fmla="*/ 1 w 7"/>
                <a:gd name="T1" fmla="*/ 1 h 2"/>
                <a:gd name="T2" fmla="*/ 1 w 7"/>
                <a:gd name="T3" fmla="*/ 1 h 2"/>
                <a:gd name="T4" fmla="*/ 3 w 7"/>
                <a:gd name="T5" fmla="*/ 2 h 2"/>
                <a:gd name="T6" fmla="*/ 5 w 7"/>
                <a:gd name="T7" fmla="*/ 2 h 2"/>
                <a:gd name="T8" fmla="*/ 7 w 7"/>
                <a:gd name="T9" fmla="*/ 2 h 2"/>
                <a:gd name="T10" fmla="*/ 7 w 7"/>
                <a:gd name="T11" fmla="*/ 2 h 2"/>
                <a:gd name="T12" fmla="*/ 7 w 7"/>
                <a:gd name="T13" fmla="*/ 2 h 2"/>
                <a:gd name="T14" fmla="*/ 6 w 7"/>
                <a:gd name="T15" fmla="*/ 1 h 2"/>
                <a:gd name="T16" fmla="*/ 5 w 7"/>
                <a:gd name="T17" fmla="*/ 1 h 2"/>
                <a:gd name="T18" fmla="*/ 4 w 7"/>
                <a:gd name="T19" fmla="*/ 1 h 2"/>
                <a:gd name="T20" fmla="*/ 3 w 7"/>
                <a:gd name="T21" fmla="*/ 1 h 2"/>
                <a:gd name="T22" fmla="*/ 3 w 7"/>
                <a:gd name="T23" fmla="*/ 0 h 2"/>
                <a:gd name="T24" fmla="*/ 2 w 7"/>
                <a:gd name="T25" fmla="*/ 0 h 2"/>
                <a:gd name="T26" fmla="*/ 2 w 7"/>
                <a:gd name="T27" fmla="*/ 0 h 2"/>
                <a:gd name="T28" fmla="*/ 1 w 7"/>
                <a:gd name="T29" fmla="*/ 0 h 2"/>
                <a:gd name="T30" fmla="*/ 1 w 7"/>
                <a:gd name="T31" fmla="*/ 0 h 2"/>
                <a:gd name="T32" fmla="*/ 1 w 7"/>
                <a:gd name="T3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2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3" y="2"/>
                    <a:pt x="3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1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6" name="Freeform 268">
              <a:extLst>
                <a:ext uri="{FF2B5EF4-FFF2-40B4-BE49-F238E27FC236}">
                  <a16:creationId xmlns:a16="http://schemas.microsoft.com/office/drawing/2014/main" id="{55DA1D25-FFA0-4668-B7CB-BF0FDCDC56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6" y="2401"/>
              <a:ext cx="2" cy="3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0 w 1"/>
                <a:gd name="T7" fmla="*/ 1 h 1"/>
                <a:gd name="T8" fmla="*/ 0 w 1"/>
                <a:gd name="T9" fmla="*/ 1 h 1"/>
                <a:gd name="T10" fmla="*/ 1 w 1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7" name="Freeform 269">
              <a:extLst>
                <a:ext uri="{FF2B5EF4-FFF2-40B4-BE49-F238E27FC236}">
                  <a16:creationId xmlns:a16="http://schemas.microsoft.com/office/drawing/2014/main" id="{85434707-9459-47D7-B68B-F31D15446D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0" y="2114"/>
              <a:ext cx="19" cy="14"/>
            </a:xfrm>
            <a:custGeom>
              <a:avLst/>
              <a:gdLst>
                <a:gd name="T0" fmla="*/ 7 w 8"/>
                <a:gd name="T1" fmla="*/ 4 h 6"/>
                <a:gd name="T2" fmla="*/ 8 w 8"/>
                <a:gd name="T3" fmla="*/ 3 h 6"/>
                <a:gd name="T4" fmla="*/ 6 w 8"/>
                <a:gd name="T5" fmla="*/ 3 h 6"/>
                <a:gd name="T6" fmla="*/ 5 w 8"/>
                <a:gd name="T7" fmla="*/ 3 h 6"/>
                <a:gd name="T8" fmla="*/ 3 w 8"/>
                <a:gd name="T9" fmla="*/ 3 h 6"/>
                <a:gd name="T10" fmla="*/ 2 w 8"/>
                <a:gd name="T11" fmla="*/ 3 h 6"/>
                <a:gd name="T12" fmla="*/ 2 w 8"/>
                <a:gd name="T13" fmla="*/ 3 h 6"/>
                <a:gd name="T14" fmla="*/ 1 w 8"/>
                <a:gd name="T15" fmla="*/ 2 h 6"/>
                <a:gd name="T16" fmla="*/ 2 w 8"/>
                <a:gd name="T17" fmla="*/ 2 h 6"/>
                <a:gd name="T18" fmla="*/ 1 w 8"/>
                <a:gd name="T19" fmla="*/ 0 h 6"/>
                <a:gd name="T20" fmla="*/ 1 w 8"/>
                <a:gd name="T21" fmla="*/ 1 h 6"/>
                <a:gd name="T22" fmla="*/ 0 w 8"/>
                <a:gd name="T23" fmla="*/ 1 h 6"/>
                <a:gd name="T24" fmla="*/ 0 w 8"/>
                <a:gd name="T25" fmla="*/ 2 h 6"/>
                <a:gd name="T26" fmla="*/ 1 w 8"/>
                <a:gd name="T27" fmla="*/ 3 h 6"/>
                <a:gd name="T28" fmla="*/ 1 w 8"/>
                <a:gd name="T29" fmla="*/ 3 h 6"/>
                <a:gd name="T30" fmla="*/ 2 w 8"/>
                <a:gd name="T31" fmla="*/ 3 h 6"/>
                <a:gd name="T32" fmla="*/ 2 w 8"/>
                <a:gd name="T33" fmla="*/ 4 h 6"/>
                <a:gd name="T34" fmla="*/ 4 w 8"/>
                <a:gd name="T35" fmla="*/ 5 h 6"/>
                <a:gd name="T36" fmla="*/ 4 w 8"/>
                <a:gd name="T37" fmla="*/ 5 h 6"/>
                <a:gd name="T38" fmla="*/ 5 w 8"/>
                <a:gd name="T39" fmla="*/ 6 h 6"/>
                <a:gd name="T40" fmla="*/ 6 w 8"/>
                <a:gd name="T41" fmla="*/ 5 h 6"/>
                <a:gd name="T42" fmla="*/ 6 w 8"/>
                <a:gd name="T43" fmla="*/ 4 h 6"/>
                <a:gd name="T44" fmla="*/ 7 w 8"/>
                <a:gd name="T4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" h="6">
                  <a:moveTo>
                    <a:pt x="7" y="4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7" y="3"/>
                    <a:pt x="6" y="3"/>
                  </a:cubicBezTo>
                  <a:cubicBezTo>
                    <a:pt x="6" y="3"/>
                    <a:pt x="6" y="3"/>
                    <a:pt x="5" y="3"/>
                  </a:cubicBezTo>
                  <a:cubicBezTo>
                    <a:pt x="5" y="4"/>
                    <a:pt x="5" y="4"/>
                    <a:pt x="3" y="3"/>
                  </a:cubicBezTo>
                  <a:cubicBezTo>
                    <a:pt x="3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3" y="5"/>
                    <a:pt x="4" y="5"/>
                  </a:cubicBezTo>
                  <a:cubicBezTo>
                    <a:pt x="4" y="5"/>
                    <a:pt x="4" y="4"/>
                    <a:pt x="4" y="5"/>
                  </a:cubicBezTo>
                  <a:cubicBezTo>
                    <a:pt x="5" y="5"/>
                    <a:pt x="4" y="5"/>
                    <a:pt x="5" y="6"/>
                  </a:cubicBezTo>
                  <a:cubicBezTo>
                    <a:pt x="5" y="6"/>
                    <a:pt x="6" y="6"/>
                    <a:pt x="6" y="5"/>
                  </a:cubicBezTo>
                  <a:cubicBezTo>
                    <a:pt x="7" y="5"/>
                    <a:pt x="6" y="5"/>
                    <a:pt x="6" y="4"/>
                  </a:cubicBezTo>
                  <a:cubicBezTo>
                    <a:pt x="6" y="4"/>
                    <a:pt x="7" y="4"/>
                    <a:pt x="7" y="4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8" name="Freeform 270">
              <a:extLst>
                <a:ext uri="{FF2B5EF4-FFF2-40B4-BE49-F238E27FC236}">
                  <a16:creationId xmlns:a16="http://schemas.microsoft.com/office/drawing/2014/main" id="{700B942A-D947-480A-86D1-9EE4290C3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" y="2117"/>
              <a:ext cx="14" cy="14"/>
            </a:xfrm>
            <a:custGeom>
              <a:avLst/>
              <a:gdLst>
                <a:gd name="T0" fmla="*/ 6 w 6"/>
                <a:gd name="T1" fmla="*/ 5 h 6"/>
                <a:gd name="T2" fmla="*/ 6 w 6"/>
                <a:gd name="T3" fmla="*/ 4 h 6"/>
                <a:gd name="T4" fmla="*/ 5 w 6"/>
                <a:gd name="T5" fmla="*/ 3 h 6"/>
                <a:gd name="T6" fmla="*/ 5 w 6"/>
                <a:gd name="T7" fmla="*/ 3 h 6"/>
                <a:gd name="T8" fmla="*/ 5 w 6"/>
                <a:gd name="T9" fmla="*/ 3 h 6"/>
                <a:gd name="T10" fmla="*/ 4 w 6"/>
                <a:gd name="T11" fmla="*/ 3 h 6"/>
                <a:gd name="T12" fmla="*/ 4 w 6"/>
                <a:gd name="T13" fmla="*/ 2 h 6"/>
                <a:gd name="T14" fmla="*/ 4 w 6"/>
                <a:gd name="T15" fmla="*/ 1 h 6"/>
                <a:gd name="T16" fmla="*/ 4 w 6"/>
                <a:gd name="T17" fmla="*/ 0 h 6"/>
                <a:gd name="T18" fmla="*/ 3 w 6"/>
                <a:gd name="T19" fmla="*/ 0 h 6"/>
                <a:gd name="T20" fmla="*/ 3 w 6"/>
                <a:gd name="T21" fmla="*/ 0 h 6"/>
                <a:gd name="T22" fmla="*/ 1 w 6"/>
                <a:gd name="T23" fmla="*/ 2 h 6"/>
                <a:gd name="T24" fmla="*/ 1 w 6"/>
                <a:gd name="T25" fmla="*/ 3 h 6"/>
                <a:gd name="T26" fmla="*/ 0 w 6"/>
                <a:gd name="T27" fmla="*/ 4 h 6"/>
                <a:gd name="T28" fmla="*/ 0 w 6"/>
                <a:gd name="T29" fmla="*/ 5 h 6"/>
                <a:gd name="T30" fmla="*/ 1 w 6"/>
                <a:gd name="T31" fmla="*/ 6 h 6"/>
                <a:gd name="T32" fmla="*/ 2 w 6"/>
                <a:gd name="T33" fmla="*/ 6 h 6"/>
                <a:gd name="T34" fmla="*/ 3 w 6"/>
                <a:gd name="T35" fmla="*/ 6 h 6"/>
                <a:gd name="T36" fmla="*/ 4 w 6"/>
                <a:gd name="T37" fmla="*/ 6 h 6"/>
                <a:gd name="T38" fmla="*/ 4 w 6"/>
                <a:gd name="T39" fmla="*/ 6 h 6"/>
                <a:gd name="T40" fmla="*/ 6 w 6"/>
                <a:gd name="T4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" h="6">
                  <a:moveTo>
                    <a:pt x="6" y="5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5"/>
                    <a:pt x="6" y="4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4"/>
                    <a:pt x="3" y="3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0"/>
                    <a:pt x="4" y="1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1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2" y="6"/>
                  </a:cubicBezTo>
                  <a:cubicBezTo>
                    <a:pt x="2" y="6"/>
                    <a:pt x="2" y="6"/>
                    <a:pt x="3" y="6"/>
                  </a:cubicBezTo>
                  <a:cubicBezTo>
                    <a:pt x="3" y="6"/>
                    <a:pt x="3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5" y="5"/>
                    <a:pt x="6" y="5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9" name="Freeform 271">
              <a:extLst>
                <a:ext uri="{FF2B5EF4-FFF2-40B4-BE49-F238E27FC236}">
                  <a16:creationId xmlns:a16="http://schemas.microsoft.com/office/drawing/2014/main" id="{91993028-8326-4E6F-9E80-0978B77D6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0" y="2083"/>
              <a:ext cx="22" cy="10"/>
            </a:xfrm>
            <a:custGeom>
              <a:avLst/>
              <a:gdLst>
                <a:gd name="T0" fmla="*/ 9 w 9"/>
                <a:gd name="T1" fmla="*/ 4 h 4"/>
                <a:gd name="T2" fmla="*/ 8 w 9"/>
                <a:gd name="T3" fmla="*/ 3 h 4"/>
                <a:gd name="T4" fmla="*/ 7 w 9"/>
                <a:gd name="T5" fmla="*/ 2 h 4"/>
                <a:gd name="T6" fmla="*/ 5 w 9"/>
                <a:gd name="T7" fmla="*/ 1 h 4"/>
                <a:gd name="T8" fmla="*/ 3 w 9"/>
                <a:gd name="T9" fmla="*/ 0 h 4"/>
                <a:gd name="T10" fmla="*/ 1 w 9"/>
                <a:gd name="T11" fmla="*/ 0 h 4"/>
                <a:gd name="T12" fmla="*/ 0 w 9"/>
                <a:gd name="T13" fmla="*/ 0 h 4"/>
                <a:gd name="T14" fmla="*/ 1 w 9"/>
                <a:gd name="T15" fmla="*/ 1 h 4"/>
                <a:gd name="T16" fmla="*/ 2 w 9"/>
                <a:gd name="T17" fmla="*/ 2 h 4"/>
                <a:gd name="T18" fmla="*/ 3 w 9"/>
                <a:gd name="T19" fmla="*/ 2 h 4"/>
                <a:gd name="T20" fmla="*/ 6 w 9"/>
                <a:gd name="T21" fmla="*/ 4 h 4"/>
                <a:gd name="T22" fmla="*/ 7 w 9"/>
                <a:gd name="T23" fmla="*/ 4 h 4"/>
                <a:gd name="T24" fmla="*/ 8 w 9"/>
                <a:gd name="T25" fmla="*/ 4 h 4"/>
                <a:gd name="T26" fmla="*/ 9 w 9"/>
                <a:gd name="T2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" h="4">
                  <a:moveTo>
                    <a:pt x="9" y="4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7" y="2"/>
                    <a:pt x="7" y="3"/>
                    <a:pt x="7" y="2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2" y="1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4" y="3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8" y="4"/>
                    <a:pt x="8" y="4"/>
                  </a:cubicBezTo>
                  <a:cubicBezTo>
                    <a:pt x="8" y="4"/>
                    <a:pt x="9" y="4"/>
                    <a:pt x="9" y="4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0" name="Freeform 272">
              <a:extLst>
                <a:ext uri="{FF2B5EF4-FFF2-40B4-BE49-F238E27FC236}">
                  <a16:creationId xmlns:a16="http://schemas.microsoft.com/office/drawing/2014/main" id="{FAA89F4E-8F9C-4157-A314-8EED7655F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8" y="2064"/>
              <a:ext cx="52" cy="60"/>
            </a:xfrm>
            <a:custGeom>
              <a:avLst/>
              <a:gdLst>
                <a:gd name="T0" fmla="*/ 11 w 22"/>
                <a:gd name="T1" fmla="*/ 1 h 25"/>
                <a:gd name="T2" fmla="*/ 12 w 22"/>
                <a:gd name="T3" fmla="*/ 0 h 25"/>
                <a:gd name="T4" fmla="*/ 11 w 22"/>
                <a:gd name="T5" fmla="*/ 1 h 25"/>
                <a:gd name="T6" fmla="*/ 9 w 22"/>
                <a:gd name="T7" fmla="*/ 1 h 25"/>
                <a:gd name="T8" fmla="*/ 8 w 22"/>
                <a:gd name="T9" fmla="*/ 3 h 25"/>
                <a:gd name="T10" fmla="*/ 7 w 22"/>
                <a:gd name="T11" fmla="*/ 4 h 25"/>
                <a:gd name="T12" fmla="*/ 6 w 22"/>
                <a:gd name="T13" fmla="*/ 5 h 25"/>
                <a:gd name="T14" fmla="*/ 5 w 22"/>
                <a:gd name="T15" fmla="*/ 10 h 25"/>
                <a:gd name="T16" fmla="*/ 5 w 22"/>
                <a:gd name="T17" fmla="*/ 9 h 25"/>
                <a:gd name="T18" fmla="*/ 4 w 22"/>
                <a:gd name="T19" fmla="*/ 11 h 25"/>
                <a:gd name="T20" fmla="*/ 3 w 22"/>
                <a:gd name="T21" fmla="*/ 12 h 25"/>
                <a:gd name="T22" fmla="*/ 2 w 22"/>
                <a:gd name="T23" fmla="*/ 14 h 25"/>
                <a:gd name="T24" fmla="*/ 1 w 22"/>
                <a:gd name="T25" fmla="*/ 15 h 25"/>
                <a:gd name="T26" fmla="*/ 2 w 22"/>
                <a:gd name="T27" fmla="*/ 16 h 25"/>
                <a:gd name="T28" fmla="*/ 0 w 22"/>
                <a:gd name="T29" fmla="*/ 17 h 25"/>
                <a:gd name="T30" fmla="*/ 1 w 22"/>
                <a:gd name="T31" fmla="*/ 19 h 25"/>
                <a:gd name="T32" fmla="*/ 5 w 22"/>
                <a:gd name="T33" fmla="*/ 18 h 25"/>
                <a:gd name="T34" fmla="*/ 9 w 22"/>
                <a:gd name="T35" fmla="*/ 19 h 25"/>
                <a:gd name="T36" fmla="*/ 12 w 22"/>
                <a:gd name="T37" fmla="*/ 19 h 25"/>
                <a:gd name="T38" fmla="*/ 13 w 22"/>
                <a:gd name="T39" fmla="*/ 19 h 25"/>
                <a:gd name="T40" fmla="*/ 13 w 22"/>
                <a:gd name="T41" fmla="*/ 20 h 25"/>
                <a:gd name="T42" fmla="*/ 10 w 22"/>
                <a:gd name="T43" fmla="*/ 22 h 25"/>
                <a:gd name="T44" fmla="*/ 13 w 22"/>
                <a:gd name="T45" fmla="*/ 22 h 25"/>
                <a:gd name="T46" fmla="*/ 16 w 22"/>
                <a:gd name="T47" fmla="*/ 20 h 25"/>
                <a:gd name="T48" fmla="*/ 17 w 22"/>
                <a:gd name="T49" fmla="*/ 18 h 25"/>
                <a:gd name="T50" fmla="*/ 17 w 22"/>
                <a:gd name="T51" fmla="*/ 22 h 25"/>
                <a:gd name="T52" fmla="*/ 19 w 22"/>
                <a:gd name="T53" fmla="*/ 21 h 25"/>
                <a:gd name="T54" fmla="*/ 19 w 22"/>
                <a:gd name="T55" fmla="*/ 24 h 25"/>
                <a:gd name="T56" fmla="*/ 21 w 22"/>
                <a:gd name="T57" fmla="*/ 21 h 25"/>
                <a:gd name="T58" fmla="*/ 22 w 22"/>
                <a:gd name="T59" fmla="*/ 18 h 25"/>
                <a:gd name="T60" fmla="*/ 21 w 22"/>
                <a:gd name="T61" fmla="*/ 19 h 25"/>
                <a:gd name="T62" fmla="*/ 21 w 22"/>
                <a:gd name="T63" fmla="*/ 17 h 25"/>
                <a:gd name="T64" fmla="*/ 19 w 22"/>
                <a:gd name="T65" fmla="*/ 18 h 25"/>
                <a:gd name="T66" fmla="*/ 18 w 22"/>
                <a:gd name="T67" fmla="*/ 17 h 25"/>
                <a:gd name="T68" fmla="*/ 19 w 22"/>
                <a:gd name="T69" fmla="*/ 16 h 25"/>
                <a:gd name="T70" fmla="*/ 19 w 22"/>
                <a:gd name="T71" fmla="*/ 15 h 25"/>
                <a:gd name="T72" fmla="*/ 19 w 22"/>
                <a:gd name="T73" fmla="*/ 11 h 25"/>
                <a:gd name="T74" fmla="*/ 15 w 22"/>
                <a:gd name="T75" fmla="*/ 11 h 25"/>
                <a:gd name="T76" fmla="*/ 11 w 22"/>
                <a:gd name="T77" fmla="*/ 10 h 25"/>
                <a:gd name="T78" fmla="*/ 12 w 22"/>
                <a:gd name="T79" fmla="*/ 8 h 25"/>
                <a:gd name="T80" fmla="*/ 11 w 22"/>
                <a:gd name="T81" fmla="*/ 8 h 25"/>
                <a:gd name="T82" fmla="*/ 8 w 22"/>
                <a:gd name="T83" fmla="*/ 9 h 25"/>
                <a:gd name="T84" fmla="*/ 10 w 22"/>
                <a:gd name="T85" fmla="*/ 5 h 25"/>
                <a:gd name="T86" fmla="*/ 11 w 22"/>
                <a:gd name="T87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" h="25">
                  <a:moveTo>
                    <a:pt x="11" y="1"/>
                  </a:moveTo>
                  <a:cubicBezTo>
                    <a:pt x="11" y="1"/>
                    <a:pt x="11" y="1"/>
                    <a:pt x="11" y="1"/>
                  </a:cubicBezTo>
                  <a:cubicBezTo>
                    <a:pt x="12" y="1"/>
                    <a:pt x="13" y="1"/>
                    <a:pt x="13" y="1"/>
                  </a:cubicBezTo>
                  <a:cubicBezTo>
                    <a:pt x="13" y="1"/>
                    <a:pt x="13" y="1"/>
                    <a:pt x="12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1"/>
                    <a:pt x="10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3"/>
                    <a:pt x="6" y="5"/>
                  </a:cubicBezTo>
                  <a:cubicBezTo>
                    <a:pt x="6" y="7"/>
                    <a:pt x="5" y="8"/>
                    <a:pt x="5" y="8"/>
                  </a:cubicBezTo>
                  <a:cubicBezTo>
                    <a:pt x="5" y="9"/>
                    <a:pt x="5" y="9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3" y="10"/>
                    <a:pt x="4" y="11"/>
                  </a:cubicBezTo>
                  <a:cubicBezTo>
                    <a:pt x="5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3" y="12"/>
                    <a:pt x="3" y="13"/>
                    <a:pt x="3" y="14"/>
                  </a:cubicBezTo>
                  <a:cubicBezTo>
                    <a:pt x="3" y="14"/>
                    <a:pt x="2" y="15"/>
                    <a:pt x="2" y="14"/>
                  </a:cubicBezTo>
                  <a:cubicBezTo>
                    <a:pt x="2" y="14"/>
                    <a:pt x="1" y="14"/>
                    <a:pt x="1" y="14"/>
                  </a:cubicBezTo>
                  <a:cubicBezTo>
                    <a:pt x="1" y="14"/>
                    <a:pt x="0" y="15"/>
                    <a:pt x="1" y="15"/>
                  </a:cubicBezTo>
                  <a:cubicBezTo>
                    <a:pt x="1" y="15"/>
                    <a:pt x="2" y="15"/>
                    <a:pt x="2" y="15"/>
                  </a:cubicBezTo>
                  <a:cubicBezTo>
                    <a:pt x="3" y="15"/>
                    <a:pt x="3" y="15"/>
                    <a:pt x="2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7"/>
                    <a:pt x="0" y="17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3" y="19"/>
                    <a:pt x="3" y="19"/>
                  </a:cubicBezTo>
                  <a:cubicBezTo>
                    <a:pt x="4" y="19"/>
                    <a:pt x="4" y="18"/>
                    <a:pt x="5" y="18"/>
                  </a:cubicBezTo>
                  <a:cubicBezTo>
                    <a:pt x="5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9"/>
                    <a:pt x="10" y="18"/>
                    <a:pt x="11" y="18"/>
                  </a:cubicBezTo>
                  <a:cubicBezTo>
                    <a:pt x="11" y="18"/>
                    <a:pt x="11" y="18"/>
                    <a:pt x="12" y="19"/>
                  </a:cubicBezTo>
                  <a:cubicBezTo>
                    <a:pt x="12" y="19"/>
                    <a:pt x="12" y="20"/>
                    <a:pt x="13" y="20"/>
                  </a:cubicBezTo>
                  <a:cubicBezTo>
                    <a:pt x="13" y="19"/>
                    <a:pt x="12" y="18"/>
                    <a:pt x="13" y="19"/>
                  </a:cubicBezTo>
                  <a:cubicBezTo>
                    <a:pt x="14" y="19"/>
                    <a:pt x="15" y="19"/>
                    <a:pt x="14" y="19"/>
                  </a:cubicBezTo>
                  <a:cubicBezTo>
                    <a:pt x="14" y="20"/>
                    <a:pt x="13" y="20"/>
                    <a:pt x="13" y="20"/>
                  </a:cubicBezTo>
                  <a:cubicBezTo>
                    <a:pt x="13" y="21"/>
                    <a:pt x="13" y="21"/>
                    <a:pt x="12" y="21"/>
                  </a:cubicBezTo>
                  <a:cubicBezTo>
                    <a:pt x="11" y="22"/>
                    <a:pt x="10" y="21"/>
                    <a:pt x="10" y="22"/>
                  </a:cubicBezTo>
                  <a:cubicBezTo>
                    <a:pt x="11" y="23"/>
                    <a:pt x="12" y="23"/>
                    <a:pt x="13" y="23"/>
                  </a:cubicBezTo>
                  <a:cubicBezTo>
                    <a:pt x="13" y="23"/>
                    <a:pt x="13" y="23"/>
                    <a:pt x="13" y="22"/>
                  </a:cubicBezTo>
                  <a:cubicBezTo>
                    <a:pt x="14" y="21"/>
                    <a:pt x="14" y="20"/>
                    <a:pt x="15" y="20"/>
                  </a:cubicBezTo>
                  <a:cubicBezTo>
                    <a:pt x="15" y="20"/>
                    <a:pt x="15" y="21"/>
                    <a:pt x="16" y="20"/>
                  </a:cubicBezTo>
                  <a:cubicBezTo>
                    <a:pt x="16" y="19"/>
                    <a:pt x="17" y="18"/>
                    <a:pt x="17" y="18"/>
                  </a:cubicBezTo>
                  <a:cubicBezTo>
                    <a:pt x="17" y="18"/>
                    <a:pt x="17" y="17"/>
                    <a:pt x="17" y="18"/>
                  </a:cubicBezTo>
                  <a:cubicBezTo>
                    <a:pt x="17" y="19"/>
                    <a:pt x="18" y="19"/>
                    <a:pt x="18" y="20"/>
                  </a:cubicBezTo>
                  <a:cubicBezTo>
                    <a:pt x="17" y="20"/>
                    <a:pt x="17" y="20"/>
                    <a:pt x="17" y="22"/>
                  </a:cubicBezTo>
                  <a:cubicBezTo>
                    <a:pt x="17" y="23"/>
                    <a:pt x="17" y="23"/>
                    <a:pt x="18" y="22"/>
                  </a:cubicBezTo>
                  <a:cubicBezTo>
                    <a:pt x="18" y="22"/>
                    <a:pt x="18" y="20"/>
                    <a:pt x="19" y="21"/>
                  </a:cubicBezTo>
                  <a:cubicBezTo>
                    <a:pt x="19" y="22"/>
                    <a:pt x="19" y="22"/>
                    <a:pt x="19" y="23"/>
                  </a:cubicBezTo>
                  <a:cubicBezTo>
                    <a:pt x="18" y="24"/>
                    <a:pt x="18" y="25"/>
                    <a:pt x="19" y="24"/>
                  </a:cubicBezTo>
                  <a:cubicBezTo>
                    <a:pt x="20" y="23"/>
                    <a:pt x="20" y="24"/>
                    <a:pt x="21" y="23"/>
                  </a:cubicBezTo>
                  <a:cubicBezTo>
                    <a:pt x="21" y="22"/>
                    <a:pt x="21" y="21"/>
                    <a:pt x="21" y="21"/>
                  </a:cubicBezTo>
                  <a:cubicBezTo>
                    <a:pt x="21" y="21"/>
                    <a:pt x="22" y="19"/>
                    <a:pt x="22" y="19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0" y="19"/>
                    <a:pt x="20" y="20"/>
                    <a:pt x="20" y="19"/>
                  </a:cubicBezTo>
                  <a:cubicBezTo>
                    <a:pt x="20" y="17"/>
                    <a:pt x="20" y="17"/>
                    <a:pt x="21" y="17"/>
                  </a:cubicBezTo>
                  <a:cubicBezTo>
                    <a:pt x="21" y="17"/>
                    <a:pt x="20" y="16"/>
                    <a:pt x="20" y="17"/>
                  </a:cubicBezTo>
                  <a:cubicBezTo>
                    <a:pt x="20" y="17"/>
                    <a:pt x="19" y="18"/>
                    <a:pt x="19" y="18"/>
                  </a:cubicBezTo>
                  <a:cubicBezTo>
                    <a:pt x="19" y="19"/>
                    <a:pt x="17" y="18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20" y="16"/>
                    <a:pt x="21" y="14"/>
                    <a:pt x="21" y="14"/>
                  </a:cubicBezTo>
                  <a:cubicBezTo>
                    <a:pt x="21" y="14"/>
                    <a:pt x="19" y="14"/>
                    <a:pt x="19" y="15"/>
                  </a:cubicBezTo>
                  <a:cubicBezTo>
                    <a:pt x="18" y="15"/>
                    <a:pt x="17" y="13"/>
                    <a:pt x="18" y="13"/>
                  </a:cubicBezTo>
                  <a:cubicBezTo>
                    <a:pt x="18" y="12"/>
                    <a:pt x="19" y="13"/>
                    <a:pt x="19" y="11"/>
                  </a:cubicBezTo>
                  <a:cubicBezTo>
                    <a:pt x="19" y="10"/>
                    <a:pt x="18" y="10"/>
                    <a:pt x="17" y="10"/>
                  </a:cubicBezTo>
                  <a:cubicBezTo>
                    <a:pt x="16" y="10"/>
                    <a:pt x="15" y="11"/>
                    <a:pt x="15" y="11"/>
                  </a:cubicBezTo>
                  <a:cubicBezTo>
                    <a:pt x="14" y="11"/>
                    <a:pt x="14" y="11"/>
                    <a:pt x="13" y="11"/>
                  </a:cubicBezTo>
                  <a:cubicBezTo>
                    <a:pt x="12" y="10"/>
                    <a:pt x="12" y="10"/>
                    <a:pt x="11" y="10"/>
                  </a:cubicBezTo>
                  <a:cubicBezTo>
                    <a:pt x="11" y="10"/>
                    <a:pt x="10" y="10"/>
                    <a:pt x="11" y="9"/>
                  </a:cubicBezTo>
                  <a:cubicBezTo>
                    <a:pt x="12" y="9"/>
                    <a:pt x="12" y="9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7"/>
                    <a:pt x="11" y="8"/>
                  </a:cubicBezTo>
                  <a:cubicBezTo>
                    <a:pt x="10" y="8"/>
                    <a:pt x="10" y="8"/>
                    <a:pt x="9" y="9"/>
                  </a:cubicBezTo>
                  <a:cubicBezTo>
                    <a:pt x="9" y="9"/>
                    <a:pt x="8" y="10"/>
                    <a:pt x="8" y="9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9" y="6"/>
                    <a:pt x="10" y="5"/>
                    <a:pt x="10" y="5"/>
                  </a:cubicBezTo>
                  <a:cubicBezTo>
                    <a:pt x="11" y="4"/>
                    <a:pt x="12" y="3"/>
                    <a:pt x="12" y="2"/>
                  </a:cubicBezTo>
                  <a:cubicBezTo>
                    <a:pt x="12" y="2"/>
                    <a:pt x="12" y="3"/>
                    <a:pt x="11" y="2"/>
                  </a:cubicBezTo>
                  <a:cubicBezTo>
                    <a:pt x="11" y="2"/>
                    <a:pt x="11" y="1"/>
                    <a:pt x="11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1" name="Freeform 273">
              <a:extLst>
                <a:ext uri="{FF2B5EF4-FFF2-40B4-BE49-F238E27FC236}">
                  <a16:creationId xmlns:a16="http://schemas.microsoft.com/office/drawing/2014/main" id="{6F7399D5-3556-416F-A68D-3C2784153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" y="1893"/>
              <a:ext cx="56" cy="36"/>
            </a:xfrm>
            <a:custGeom>
              <a:avLst/>
              <a:gdLst>
                <a:gd name="T0" fmla="*/ 19 w 24"/>
                <a:gd name="T1" fmla="*/ 12 h 15"/>
                <a:gd name="T2" fmla="*/ 21 w 24"/>
                <a:gd name="T3" fmla="*/ 12 h 15"/>
                <a:gd name="T4" fmla="*/ 23 w 24"/>
                <a:gd name="T5" fmla="*/ 11 h 15"/>
                <a:gd name="T6" fmla="*/ 21 w 24"/>
                <a:gd name="T7" fmla="*/ 10 h 15"/>
                <a:gd name="T8" fmla="*/ 18 w 24"/>
                <a:gd name="T9" fmla="*/ 10 h 15"/>
                <a:gd name="T10" fmla="*/ 17 w 24"/>
                <a:gd name="T11" fmla="*/ 9 h 15"/>
                <a:gd name="T12" fmla="*/ 18 w 24"/>
                <a:gd name="T13" fmla="*/ 7 h 15"/>
                <a:gd name="T14" fmla="*/ 16 w 24"/>
                <a:gd name="T15" fmla="*/ 5 h 15"/>
                <a:gd name="T16" fmla="*/ 14 w 24"/>
                <a:gd name="T17" fmla="*/ 5 h 15"/>
                <a:gd name="T18" fmla="*/ 11 w 24"/>
                <a:gd name="T19" fmla="*/ 3 h 15"/>
                <a:gd name="T20" fmla="*/ 9 w 24"/>
                <a:gd name="T21" fmla="*/ 2 h 15"/>
                <a:gd name="T22" fmla="*/ 8 w 24"/>
                <a:gd name="T23" fmla="*/ 2 h 15"/>
                <a:gd name="T24" fmla="*/ 7 w 24"/>
                <a:gd name="T25" fmla="*/ 2 h 15"/>
                <a:gd name="T26" fmla="*/ 7 w 24"/>
                <a:gd name="T27" fmla="*/ 0 h 15"/>
                <a:gd name="T28" fmla="*/ 6 w 24"/>
                <a:gd name="T29" fmla="*/ 0 h 15"/>
                <a:gd name="T30" fmla="*/ 5 w 24"/>
                <a:gd name="T31" fmla="*/ 0 h 15"/>
                <a:gd name="T32" fmla="*/ 4 w 24"/>
                <a:gd name="T33" fmla="*/ 3 h 15"/>
                <a:gd name="T34" fmla="*/ 3 w 24"/>
                <a:gd name="T35" fmla="*/ 6 h 15"/>
                <a:gd name="T36" fmla="*/ 3 w 24"/>
                <a:gd name="T37" fmla="*/ 6 h 15"/>
                <a:gd name="T38" fmla="*/ 3 w 24"/>
                <a:gd name="T39" fmla="*/ 8 h 15"/>
                <a:gd name="T40" fmla="*/ 3 w 24"/>
                <a:gd name="T41" fmla="*/ 9 h 15"/>
                <a:gd name="T42" fmla="*/ 1 w 24"/>
                <a:gd name="T43" fmla="*/ 10 h 15"/>
                <a:gd name="T44" fmla="*/ 0 w 24"/>
                <a:gd name="T45" fmla="*/ 11 h 15"/>
                <a:gd name="T46" fmla="*/ 1 w 24"/>
                <a:gd name="T47" fmla="*/ 12 h 15"/>
                <a:gd name="T48" fmla="*/ 2 w 24"/>
                <a:gd name="T49" fmla="*/ 12 h 15"/>
                <a:gd name="T50" fmla="*/ 5 w 24"/>
                <a:gd name="T51" fmla="*/ 11 h 15"/>
                <a:gd name="T52" fmla="*/ 5 w 24"/>
                <a:gd name="T53" fmla="*/ 13 h 15"/>
                <a:gd name="T54" fmla="*/ 7 w 24"/>
                <a:gd name="T55" fmla="*/ 14 h 15"/>
                <a:gd name="T56" fmla="*/ 9 w 24"/>
                <a:gd name="T57" fmla="*/ 13 h 15"/>
                <a:gd name="T58" fmla="*/ 10 w 24"/>
                <a:gd name="T59" fmla="*/ 11 h 15"/>
                <a:gd name="T60" fmla="*/ 12 w 24"/>
                <a:gd name="T61" fmla="*/ 10 h 15"/>
                <a:gd name="T62" fmla="*/ 12 w 24"/>
                <a:gd name="T63" fmla="*/ 9 h 15"/>
                <a:gd name="T64" fmla="*/ 14 w 24"/>
                <a:gd name="T65" fmla="*/ 9 h 15"/>
                <a:gd name="T66" fmla="*/ 15 w 24"/>
                <a:gd name="T67" fmla="*/ 10 h 15"/>
                <a:gd name="T68" fmla="*/ 16 w 24"/>
                <a:gd name="T69" fmla="*/ 11 h 15"/>
                <a:gd name="T70" fmla="*/ 18 w 24"/>
                <a:gd name="T71" fmla="*/ 12 h 15"/>
                <a:gd name="T72" fmla="*/ 19 w 24"/>
                <a:gd name="T73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" h="15">
                  <a:moveTo>
                    <a:pt x="19" y="12"/>
                  </a:moveTo>
                  <a:cubicBezTo>
                    <a:pt x="21" y="12"/>
                    <a:pt x="20" y="13"/>
                    <a:pt x="21" y="12"/>
                  </a:cubicBezTo>
                  <a:cubicBezTo>
                    <a:pt x="23" y="11"/>
                    <a:pt x="24" y="11"/>
                    <a:pt x="23" y="11"/>
                  </a:cubicBezTo>
                  <a:cubicBezTo>
                    <a:pt x="22" y="10"/>
                    <a:pt x="21" y="10"/>
                    <a:pt x="21" y="10"/>
                  </a:cubicBezTo>
                  <a:cubicBezTo>
                    <a:pt x="20" y="9"/>
                    <a:pt x="19" y="10"/>
                    <a:pt x="18" y="10"/>
                  </a:cubicBezTo>
                  <a:cubicBezTo>
                    <a:pt x="18" y="10"/>
                    <a:pt x="15" y="9"/>
                    <a:pt x="17" y="9"/>
                  </a:cubicBezTo>
                  <a:cubicBezTo>
                    <a:pt x="18" y="8"/>
                    <a:pt x="20" y="9"/>
                    <a:pt x="18" y="7"/>
                  </a:cubicBezTo>
                  <a:cubicBezTo>
                    <a:pt x="16" y="5"/>
                    <a:pt x="17" y="5"/>
                    <a:pt x="16" y="5"/>
                  </a:cubicBezTo>
                  <a:cubicBezTo>
                    <a:pt x="15" y="5"/>
                    <a:pt x="15" y="6"/>
                    <a:pt x="14" y="5"/>
                  </a:cubicBezTo>
                  <a:cubicBezTo>
                    <a:pt x="13" y="4"/>
                    <a:pt x="13" y="4"/>
                    <a:pt x="11" y="3"/>
                  </a:cubicBezTo>
                  <a:cubicBezTo>
                    <a:pt x="10" y="2"/>
                    <a:pt x="9" y="1"/>
                    <a:pt x="9" y="2"/>
                  </a:cubicBezTo>
                  <a:cubicBezTo>
                    <a:pt x="8" y="2"/>
                    <a:pt x="9" y="3"/>
                    <a:pt x="8" y="2"/>
                  </a:cubicBezTo>
                  <a:cubicBezTo>
                    <a:pt x="7" y="2"/>
                    <a:pt x="7" y="3"/>
                    <a:pt x="7" y="2"/>
                  </a:cubicBezTo>
                  <a:cubicBezTo>
                    <a:pt x="7" y="1"/>
                    <a:pt x="8" y="1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4" y="1"/>
                    <a:pt x="4" y="2"/>
                    <a:pt x="4" y="3"/>
                  </a:cubicBezTo>
                  <a:cubicBezTo>
                    <a:pt x="4" y="4"/>
                    <a:pt x="3" y="5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3" y="7"/>
                    <a:pt x="3" y="8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10"/>
                    <a:pt x="1" y="10"/>
                    <a:pt x="1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4" y="11"/>
                    <a:pt x="5" y="11"/>
                    <a:pt x="5" y="11"/>
                  </a:cubicBezTo>
                  <a:cubicBezTo>
                    <a:pt x="5" y="12"/>
                    <a:pt x="5" y="13"/>
                    <a:pt x="5" y="13"/>
                  </a:cubicBezTo>
                  <a:cubicBezTo>
                    <a:pt x="5" y="14"/>
                    <a:pt x="6" y="15"/>
                    <a:pt x="7" y="14"/>
                  </a:cubicBezTo>
                  <a:cubicBezTo>
                    <a:pt x="9" y="13"/>
                    <a:pt x="8" y="14"/>
                    <a:pt x="9" y="13"/>
                  </a:cubicBezTo>
                  <a:cubicBezTo>
                    <a:pt x="10" y="12"/>
                    <a:pt x="10" y="12"/>
                    <a:pt x="10" y="11"/>
                  </a:cubicBezTo>
                  <a:cubicBezTo>
                    <a:pt x="11" y="11"/>
                    <a:pt x="12" y="11"/>
                    <a:pt x="12" y="10"/>
                  </a:cubicBezTo>
                  <a:cubicBezTo>
                    <a:pt x="12" y="9"/>
                    <a:pt x="11" y="8"/>
                    <a:pt x="12" y="9"/>
                  </a:cubicBezTo>
                  <a:cubicBezTo>
                    <a:pt x="13" y="9"/>
                    <a:pt x="13" y="9"/>
                    <a:pt x="14" y="9"/>
                  </a:cubicBezTo>
                  <a:cubicBezTo>
                    <a:pt x="14" y="10"/>
                    <a:pt x="14" y="10"/>
                    <a:pt x="15" y="10"/>
                  </a:cubicBezTo>
                  <a:cubicBezTo>
                    <a:pt x="15" y="11"/>
                    <a:pt x="16" y="10"/>
                    <a:pt x="16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9" y="1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2" name="Freeform 274">
              <a:extLst>
                <a:ext uri="{FF2B5EF4-FFF2-40B4-BE49-F238E27FC236}">
                  <a16:creationId xmlns:a16="http://schemas.microsoft.com/office/drawing/2014/main" id="{C0ABB4B9-88C4-45A9-8221-0656CF4BFB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" y="1927"/>
              <a:ext cx="14" cy="14"/>
            </a:xfrm>
            <a:custGeom>
              <a:avLst/>
              <a:gdLst>
                <a:gd name="T0" fmla="*/ 5 w 6"/>
                <a:gd name="T1" fmla="*/ 1 h 6"/>
                <a:gd name="T2" fmla="*/ 3 w 6"/>
                <a:gd name="T3" fmla="*/ 2 h 6"/>
                <a:gd name="T4" fmla="*/ 1 w 6"/>
                <a:gd name="T5" fmla="*/ 1 h 6"/>
                <a:gd name="T6" fmla="*/ 1 w 6"/>
                <a:gd name="T7" fmla="*/ 3 h 6"/>
                <a:gd name="T8" fmla="*/ 0 w 6"/>
                <a:gd name="T9" fmla="*/ 4 h 6"/>
                <a:gd name="T10" fmla="*/ 0 w 6"/>
                <a:gd name="T11" fmla="*/ 5 h 6"/>
                <a:gd name="T12" fmla="*/ 1 w 6"/>
                <a:gd name="T13" fmla="*/ 5 h 6"/>
                <a:gd name="T14" fmla="*/ 1 w 6"/>
                <a:gd name="T15" fmla="*/ 5 h 6"/>
                <a:gd name="T16" fmla="*/ 2 w 6"/>
                <a:gd name="T17" fmla="*/ 5 h 6"/>
                <a:gd name="T18" fmla="*/ 2 w 6"/>
                <a:gd name="T19" fmla="*/ 5 h 6"/>
                <a:gd name="T20" fmla="*/ 3 w 6"/>
                <a:gd name="T21" fmla="*/ 5 h 6"/>
                <a:gd name="T22" fmla="*/ 3 w 6"/>
                <a:gd name="T23" fmla="*/ 5 h 6"/>
                <a:gd name="T24" fmla="*/ 4 w 6"/>
                <a:gd name="T25" fmla="*/ 4 h 6"/>
                <a:gd name="T26" fmla="*/ 5 w 6"/>
                <a:gd name="T27" fmla="*/ 3 h 6"/>
                <a:gd name="T28" fmla="*/ 6 w 6"/>
                <a:gd name="T29" fmla="*/ 2 h 6"/>
                <a:gd name="T30" fmla="*/ 5 w 6"/>
                <a:gd name="T3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4" y="1"/>
                    <a:pt x="3" y="2"/>
                    <a:pt x="3" y="2"/>
                  </a:cubicBezTo>
                  <a:cubicBezTo>
                    <a:pt x="2" y="1"/>
                    <a:pt x="2" y="0"/>
                    <a:pt x="1" y="1"/>
                  </a:cubicBezTo>
                  <a:cubicBezTo>
                    <a:pt x="1" y="2"/>
                    <a:pt x="2" y="2"/>
                    <a:pt x="1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6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2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3" name="Freeform 275">
              <a:extLst>
                <a:ext uri="{FF2B5EF4-FFF2-40B4-BE49-F238E27FC236}">
                  <a16:creationId xmlns:a16="http://schemas.microsoft.com/office/drawing/2014/main" id="{A532BDF1-DE60-4545-8B57-B6BA4A6A9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0" y="1936"/>
              <a:ext cx="9" cy="12"/>
            </a:xfrm>
            <a:custGeom>
              <a:avLst/>
              <a:gdLst>
                <a:gd name="T0" fmla="*/ 1 w 4"/>
                <a:gd name="T1" fmla="*/ 4 h 5"/>
                <a:gd name="T2" fmla="*/ 2 w 4"/>
                <a:gd name="T3" fmla="*/ 5 h 5"/>
                <a:gd name="T4" fmla="*/ 3 w 4"/>
                <a:gd name="T5" fmla="*/ 3 h 5"/>
                <a:gd name="T6" fmla="*/ 3 w 4"/>
                <a:gd name="T7" fmla="*/ 1 h 5"/>
                <a:gd name="T8" fmla="*/ 2 w 4"/>
                <a:gd name="T9" fmla="*/ 0 h 5"/>
                <a:gd name="T10" fmla="*/ 1 w 4"/>
                <a:gd name="T11" fmla="*/ 0 h 5"/>
                <a:gd name="T12" fmla="*/ 0 w 4"/>
                <a:gd name="T13" fmla="*/ 3 h 5"/>
                <a:gd name="T14" fmla="*/ 1 w 4"/>
                <a:gd name="T15" fmla="*/ 4 h 5"/>
                <a:gd name="T16" fmla="*/ 1 w 4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5">
                  <a:moveTo>
                    <a:pt x="1" y="4"/>
                  </a:moveTo>
                  <a:cubicBezTo>
                    <a:pt x="1" y="4"/>
                    <a:pt x="2" y="5"/>
                    <a:pt x="2" y="5"/>
                  </a:cubicBezTo>
                  <a:cubicBezTo>
                    <a:pt x="2" y="4"/>
                    <a:pt x="3" y="4"/>
                    <a:pt x="3" y="3"/>
                  </a:cubicBezTo>
                  <a:cubicBezTo>
                    <a:pt x="3" y="2"/>
                    <a:pt x="4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4" name="Freeform 276">
              <a:extLst>
                <a:ext uri="{FF2B5EF4-FFF2-40B4-BE49-F238E27FC236}">
                  <a16:creationId xmlns:a16="http://schemas.microsoft.com/office/drawing/2014/main" id="{8AD11DC0-2218-452C-AD67-086620BEC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3" y="1858"/>
              <a:ext cx="17" cy="17"/>
            </a:xfrm>
            <a:custGeom>
              <a:avLst/>
              <a:gdLst>
                <a:gd name="T0" fmla="*/ 6 w 7"/>
                <a:gd name="T1" fmla="*/ 1 h 7"/>
                <a:gd name="T2" fmla="*/ 4 w 7"/>
                <a:gd name="T3" fmla="*/ 1 h 7"/>
                <a:gd name="T4" fmla="*/ 2 w 7"/>
                <a:gd name="T5" fmla="*/ 1 h 7"/>
                <a:gd name="T6" fmla="*/ 1 w 7"/>
                <a:gd name="T7" fmla="*/ 2 h 7"/>
                <a:gd name="T8" fmla="*/ 0 w 7"/>
                <a:gd name="T9" fmla="*/ 3 h 7"/>
                <a:gd name="T10" fmla="*/ 0 w 7"/>
                <a:gd name="T11" fmla="*/ 4 h 7"/>
                <a:gd name="T12" fmla="*/ 0 w 7"/>
                <a:gd name="T13" fmla="*/ 6 h 7"/>
                <a:gd name="T14" fmla="*/ 1 w 7"/>
                <a:gd name="T15" fmla="*/ 7 h 7"/>
                <a:gd name="T16" fmla="*/ 4 w 7"/>
                <a:gd name="T17" fmla="*/ 7 h 7"/>
                <a:gd name="T18" fmla="*/ 7 w 7"/>
                <a:gd name="T19" fmla="*/ 6 h 7"/>
                <a:gd name="T20" fmla="*/ 7 w 7"/>
                <a:gd name="T21" fmla="*/ 3 h 7"/>
                <a:gd name="T22" fmla="*/ 7 w 7"/>
                <a:gd name="T23" fmla="*/ 2 h 7"/>
                <a:gd name="T24" fmla="*/ 6 w 7"/>
                <a:gd name="T2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" h="7">
                  <a:moveTo>
                    <a:pt x="6" y="1"/>
                  </a:moveTo>
                  <a:cubicBezTo>
                    <a:pt x="5" y="1"/>
                    <a:pt x="5" y="0"/>
                    <a:pt x="4" y="1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1" y="3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7"/>
                    <a:pt x="1" y="7"/>
                  </a:cubicBezTo>
                  <a:cubicBezTo>
                    <a:pt x="2" y="7"/>
                    <a:pt x="2" y="7"/>
                    <a:pt x="4" y="7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5"/>
                    <a:pt x="7" y="4"/>
                    <a:pt x="7" y="3"/>
                  </a:cubicBezTo>
                  <a:cubicBezTo>
                    <a:pt x="7" y="3"/>
                    <a:pt x="7" y="2"/>
                    <a:pt x="7" y="2"/>
                  </a:cubicBezTo>
                  <a:cubicBezTo>
                    <a:pt x="7" y="2"/>
                    <a:pt x="7" y="1"/>
                    <a:pt x="6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5" name="Freeform 277">
              <a:extLst>
                <a:ext uri="{FF2B5EF4-FFF2-40B4-BE49-F238E27FC236}">
                  <a16:creationId xmlns:a16="http://schemas.microsoft.com/office/drawing/2014/main" id="{3527C0C0-AF7C-40F5-93D5-0EF52DB46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5" y="2071"/>
              <a:ext cx="40" cy="31"/>
            </a:xfrm>
            <a:custGeom>
              <a:avLst/>
              <a:gdLst>
                <a:gd name="T0" fmla="*/ 15 w 17"/>
                <a:gd name="T1" fmla="*/ 12 h 13"/>
                <a:gd name="T2" fmla="*/ 16 w 17"/>
                <a:gd name="T3" fmla="*/ 12 h 13"/>
                <a:gd name="T4" fmla="*/ 16 w 17"/>
                <a:gd name="T5" fmla="*/ 12 h 13"/>
                <a:gd name="T6" fmla="*/ 15 w 17"/>
                <a:gd name="T7" fmla="*/ 10 h 13"/>
                <a:gd name="T8" fmla="*/ 14 w 17"/>
                <a:gd name="T9" fmla="*/ 8 h 13"/>
                <a:gd name="T10" fmla="*/ 12 w 17"/>
                <a:gd name="T11" fmla="*/ 7 h 13"/>
                <a:gd name="T12" fmla="*/ 12 w 17"/>
                <a:gd name="T13" fmla="*/ 6 h 13"/>
                <a:gd name="T14" fmla="*/ 12 w 17"/>
                <a:gd name="T15" fmla="*/ 6 h 13"/>
                <a:gd name="T16" fmla="*/ 11 w 17"/>
                <a:gd name="T17" fmla="*/ 5 h 13"/>
                <a:gd name="T18" fmla="*/ 10 w 17"/>
                <a:gd name="T19" fmla="*/ 4 h 13"/>
                <a:gd name="T20" fmla="*/ 10 w 17"/>
                <a:gd name="T21" fmla="*/ 4 h 13"/>
                <a:gd name="T22" fmla="*/ 10 w 17"/>
                <a:gd name="T23" fmla="*/ 3 h 13"/>
                <a:gd name="T24" fmla="*/ 9 w 17"/>
                <a:gd name="T25" fmla="*/ 3 h 13"/>
                <a:gd name="T26" fmla="*/ 7 w 17"/>
                <a:gd name="T27" fmla="*/ 3 h 13"/>
                <a:gd name="T28" fmla="*/ 4 w 17"/>
                <a:gd name="T29" fmla="*/ 2 h 13"/>
                <a:gd name="T30" fmla="*/ 2 w 17"/>
                <a:gd name="T31" fmla="*/ 1 h 13"/>
                <a:gd name="T32" fmla="*/ 1 w 17"/>
                <a:gd name="T33" fmla="*/ 1 h 13"/>
                <a:gd name="T34" fmla="*/ 0 w 17"/>
                <a:gd name="T35" fmla="*/ 2 h 13"/>
                <a:gd name="T36" fmla="*/ 1 w 17"/>
                <a:gd name="T37" fmla="*/ 2 h 13"/>
                <a:gd name="T38" fmla="*/ 2 w 17"/>
                <a:gd name="T39" fmla="*/ 3 h 13"/>
                <a:gd name="T40" fmla="*/ 2 w 17"/>
                <a:gd name="T41" fmla="*/ 4 h 13"/>
                <a:gd name="T42" fmla="*/ 4 w 17"/>
                <a:gd name="T43" fmla="*/ 4 h 13"/>
                <a:gd name="T44" fmla="*/ 4 w 17"/>
                <a:gd name="T45" fmla="*/ 4 h 13"/>
                <a:gd name="T46" fmla="*/ 4 w 17"/>
                <a:gd name="T47" fmla="*/ 5 h 13"/>
                <a:gd name="T48" fmla="*/ 5 w 17"/>
                <a:gd name="T49" fmla="*/ 5 h 13"/>
                <a:gd name="T50" fmla="*/ 7 w 17"/>
                <a:gd name="T51" fmla="*/ 6 h 13"/>
                <a:gd name="T52" fmla="*/ 8 w 17"/>
                <a:gd name="T53" fmla="*/ 6 h 13"/>
                <a:gd name="T54" fmla="*/ 6 w 17"/>
                <a:gd name="T55" fmla="*/ 6 h 13"/>
                <a:gd name="T56" fmla="*/ 6 w 17"/>
                <a:gd name="T57" fmla="*/ 8 h 13"/>
                <a:gd name="T58" fmla="*/ 8 w 17"/>
                <a:gd name="T59" fmla="*/ 7 h 13"/>
                <a:gd name="T60" fmla="*/ 8 w 17"/>
                <a:gd name="T61" fmla="*/ 8 h 13"/>
                <a:gd name="T62" fmla="*/ 9 w 17"/>
                <a:gd name="T63" fmla="*/ 9 h 13"/>
                <a:gd name="T64" fmla="*/ 10 w 17"/>
                <a:gd name="T65" fmla="*/ 9 h 13"/>
                <a:gd name="T66" fmla="*/ 11 w 17"/>
                <a:gd name="T67" fmla="*/ 9 h 13"/>
                <a:gd name="T68" fmla="*/ 11 w 17"/>
                <a:gd name="T69" fmla="*/ 10 h 13"/>
                <a:gd name="T70" fmla="*/ 11 w 17"/>
                <a:gd name="T71" fmla="*/ 11 h 13"/>
                <a:gd name="T72" fmla="*/ 11 w 17"/>
                <a:gd name="T73" fmla="*/ 11 h 13"/>
                <a:gd name="T74" fmla="*/ 13 w 17"/>
                <a:gd name="T75" fmla="*/ 12 h 13"/>
                <a:gd name="T76" fmla="*/ 15 w 17"/>
                <a:gd name="T77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" h="13">
                  <a:moveTo>
                    <a:pt x="15" y="12"/>
                  </a:moveTo>
                  <a:cubicBezTo>
                    <a:pt x="16" y="13"/>
                    <a:pt x="16" y="12"/>
                    <a:pt x="16" y="12"/>
                  </a:cubicBezTo>
                  <a:cubicBezTo>
                    <a:pt x="17" y="12"/>
                    <a:pt x="17" y="12"/>
                    <a:pt x="16" y="12"/>
                  </a:cubicBezTo>
                  <a:cubicBezTo>
                    <a:pt x="16" y="11"/>
                    <a:pt x="16" y="11"/>
                    <a:pt x="15" y="10"/>
                  </a:cubicBezTo>
                  <a:cubicBezTo>
                    <a:pt x="15" y="9"/>
                    <a:pt x="15" y="9"/>
                    <a:pt x="14" y="8"/>
                  </a:cubicBezTo>
                  <a:cubicBezTo>
                    <a:pt x="13" y="8"/>
                    <a:pt x="13" y="8"/>
                    <a:pt x="12" y="7"/>
                  </a:cubicBezTo>
                  <a:cubicBezTo>
                    <a:pt x="11" y="7"/>
                    <a:pt x="12" y="7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6"/>
                    <a:pt x="11" y="5"/>
                    <a:pt x="11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3"/>
                    <a:pt x="10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8" y="3"/>
                    <a:pt x="7" y="3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2" y="4"/>
                    <a:pt x="4" y="4"/>
                  </a:cubicBezTo>
                  <a:cubicBezTo>
                    <a:pt x="5" y="3"/>
                    <a:pt x="4" y="4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6" y="5"/>
                    <a:pt x="6" y="6"/>
                    <a:pt x="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6"/>
                    <a:pt x="7" y="6"/>
                    <a:pt x="6" y="6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9"/>
                    <a:pt x="7" y="8"/>
                    <a:pt x="8" y="7"/>
                  </a:cubicBezTo>
                  <a:cubicBezTo>
                    <a:pt x="8" y="7"/>
                    <a:pt x="8" y="8"/>
                    <a:pt x="8" y="8"/>
                  </a:cubicBezTo>
                  <a:cubicBezTo>
                    <a:pt x="8" y="9"/>
                    <a:pt x="8" y="9"/>
                    <a:pt x="9" y="9"/>
                  </a:cubicBezTo>
                  <a:cubicBezTo>
                    <a:pt x="10" y="10"/>
                    <a:pt x="10" y="10"/>
                    <a:pt x="10" y="9"/>
                  </a:cubicBezTo>
                  <a:cubicBezTo>
                    <a:pt x="10" y="9"/>
                    <a:pt x="11" y="9"/>
                    <a:pt x="11" y="9"/>
                  </a:cubicBezTo>
                  <a:cubicBezTo>
                    <a:pt x="12" y="8"/>
                    <a:pt x="12" y="9"/>
                    <a:pt x="11" y="10"/>
                  </a:cubicBezTo>
                  <a:cubicBezTo>
                    <a:pt x="11" y="10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2" y="11"/>
                    <a:pt x="13" y="12"/>
                  </a:cubicBezTo>
                  <a:cubicBezTo>
                    <a:pt x="14" y="12"/>
                    <a:pt x="14" y="12"/>
                    <a:pt x="15" y="1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6" name="Freeform 278">
              <a:extLst>
                <a:ext uri="{FF2B5EF4-FFF2-40B4-BE49-F238E27FC236}">
                  <a16:creationId xmlns:a16="http://schemas.microsoft.com/office/drawing/2014/main" id="{16931E55-90BC-4081-A454-CD36C0E69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9" y="2036"/>
              <a:ext cx="17" cy="24"/>
            </a:xfrm>
            <a:custGeom>
              <a:avLst/>
              <a:gdLst>
                <a:gd name="T0" fmla="*/ 6 w 7"/>
                <a:gd name="T1" fmla="*/ 8 h 10"/>
                <a:gd name="T2" fmla="*/ 5 w 7"/>
                <a:gd name="T3" fmla="*/ 7 h 10"/>
                <a:gd name="T4" fmla="*/ 5 w 7"/>
                <a:gd name="T5" fmla="*/ 6 h 10"/>
                <a:gd name="T6" fmla="*/ 5 w 7"/>
                <a:gd name="T7" fmla="*/ 6 h 10"/>
                <a:gd name="T8" fmla="*/ 4 w 7"/>
                <a:gd name="T9" fmla="*/ 4 h 10"/>
                <a:gd name="T10" fmla="*/ 5 w 7"/>
                <a:gd name="T11" fmla="*/ 4 h 10"/>
                <a:gd name="T12" fmla="*/ 3 w 7"/>
                <a:gd name="T13" fmla="*/ 4 h 10"/>
                <a:gd name="T14" fmla="*/ 3 w 7"/>
                <a:gd name="T15" fmla="*/ 4 h 10"/>
                <a:gd name="T16" fmla="*/ 4 w 7"/>
                <a:gd name="T17" fmla="*/ 3 h 10"/>
                <a:gd name="T18" fmla="*/ 5 w 7"/>
                <a:gd name="T19" fmla="*/ 1 h 10"/>
                <a:gd name="T20" fmla="*/ 5 w 7"/>
                <a:gd name="T21" fmla="*/ 0 h 10"/>
                <a:gd name="T22" fmla="*/ 5 w 7"/>
                <a:gd name="T23" fmla="*/ 0 h 10"/>
                <a:gd name="T24" fmla="*/ 4 w 7"/>
                <a:gd name="T25" fmla="*/ 0 h 10"/>
                <a:gd name="T26" fmla="*/ 2 w 7"/>
                <a:gd name="T27" fmla="*/ 0 h 10"/>
                <a:gd name="T28" fmla="*/ 1 w 7"/>
                <a:gd name="T29" fmla="*/ 0 h 10"/>
                <a:gd name="T30" fmla="*/ 0 w 7"/>
                <a:gd name="T31" fmla="*/ 1 h 10"/>
                <a:gd name="T32" fmla="*/ 0 w 7"/>
                <a:gd name="T33" fmla="*/ 1 h 10"/>
                <a:gd name="T34" fmla="*/ 1 w 7"/>
                <a:gd name="T35" fmla="*/ 3 h 10"/>
                <a:gd name="T36" fmla="*/ 3 w 7"/>
                <a:gd name="T37" fmla="*/ 5 h 10"/>
                <a:gd name="T38" fmla="*/ 4 w 7"/>
                <a:gd name="T39" fmla="*/ 7 h 10"/>
                <a:gd name="T40" fmla="*/ 5 w 7"/>
                <a:gd name="T41" fmla="*/ 8 h 10"/>
                <a:gd name="T42" fmla="*/ 6 w 7"/>
                <a:gd name="T43" fmla="*/ 9 h 10"/>
                <a:gd name="T44" fmla="*/ 6 w 7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" h="10">
                  <a:moveTo>
                    <a:pt x="6" y="8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4" y="5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4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4" y="2"/>
                    <a:pt x="4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2"/>
                    <a:pt x="1" y="3"/>
                  </a:cubicBezTo>
                  <a:cubicBezTo>
                    <a:pt x="1" y="4"/>
                    <a:pt x="1" y="4"/>
                    <a:pt x="3" y="5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6" y="10"/>
                    <a:pt x="6" y="9"/>
                  </a:cubicBezTo>
                  <a:cubicBezTo>
                    <a:pt x="7" y="9"/>
                    <a:pt x="6" y="9"/>
                    <a:pt x="6" y="8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7" name="Freeform 279">
              <a:extLst>
                <a:ext uri="{FF2B5EF4-FFF2-40B4-BE49-F238E27FC236}">
                  <a16:creationId xmlns:a16="http://schemas.microsoft.com/office/drawing/2014/main" id="{AE7B5C99-5CCA-43EF-B8D1-6E4BD7073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5" y="2007"/>
              <a:ext cx="14" cy="24"/>
            </a:xfrm>
            <a:custGeom>
              <a:avLst/>
              <a:gdLst>
                <a:gd name="T0" fmla="*/ 4 w 6"/>
                <a:gd name="T1" fmla="*/ 8 h 10"/>
                <a:gd name="T2" fmla="*/ 4 w 6"/>
                <a:gd name="T3" fmla="*/ 8 h 10"/>
                <a:gd name="T4" fmla="*/ 5 w 6"/>
                <a:gd name="T5" fmla="*/ 7 h 10"/>
                <a:gd name="T6" fmla="*/ 5 w 6"/>
                <a:gd name="T7" fmla="*/ 8 h 10"/>
                <a:gd name="T8" fmla="*/ 4 w 6"/>
                <a:gd name="T9" fmla="*/ 8 h 10"/>
                <a:gd name="T10" fmla="*/ 5 w 6"/>
                <a:gd name="T11" fmla="*/ 9 h 10"/>
                <a:gd name="T12" fmla="*/ 5 w 6"/>
                <a:gd name="T13" fmla="*/ 9 h 10"/>
                <a:gd name="T14" fmla="*/ 6 w 6"/>
                <a:gd name="T15" fmla="*/ 9 h 10"/>
                <a:gd name="T16" fmla="*/ 6 w 6"/>
                <a:gd name="T17" fmla="*/ 9 h 10"/>
                <a:gd name="T18" fmla="*/ 6 w 6"/>
                <a:gd name="T19" fmla="*/ 7 h 10"/>
                <a:gd name="T20" fmla="*/ 6 w 6"/>
                <a:gd name="T21" fmla="*/ 7 h 10"/>
                <a:gd name="T22" fmla="*/ 5 w 6"/>
                <a:gd name="T23" fmla="*/ 6 h 10"/>
                <a:gd name="T24" fmla="*/ 5 w 6"/>
                <a:gd name="T25" fmla="*/ 5 h 10"/>
                <a:gd name="T26" fmla="*/ 4 w 6"/>
                <a:gd name="T27" fmla="*/ 4 h 10"/>
                <a:gd name="T28" fmla="*/ 4 w 6"/>
                <a:gd name="T29" fmla="*/ 3 h 10"/>
                <a:gd name="T30" fmla="*/ 3 w 6"/>
                <a:gd name="T31" fmla="*/ 3 h 10"/>
                <a:gd name="T32" fmla="*/ 2 w 6"/>
                <a:gd name="T33" fmla="*/ 2 h 10"/>
                <a:gd name="T34" fmla="*/ 2 w 6"/>
                <a:gd name="T35" fmla="*/ 2 h 10"/>
                <a:gd name="T36" fmla="*/ 0 w 6"/>
                <a:gd name="T37" fmla="*/ 0 h 10"/>
                <a:gd name="T38" fmla="*/ 0 w 6"/>
                <a:gd name="T39" fmla="*/ 1 h 10"/>
                <a:gd name="T40" fmla="*/ 0 w 6"/>
                <a:gd name="T41" fmla="*/ 3 h 10"/>
                <a:gd name="T42" fmla="*/ 0 w 6"/>
                <a:gd name="T43" fmla="*/ 4 h 10"/>
                <a:gd name="T44" fmla="*/ 1 w 6"/>
                <a:gd name="T45" fmla="*/ 4 h 10"/>
                <a:gd name="T46" fmla="*/ 2 w 6"/>
                <a:gd name="T47" fmla="*/ 5 h 10"/>
                <a:gd name="T48" fmla="*/ 2 w 6"/>
                <a:gd name="T49" fmla="*/ 5 h 10"/>
                <a:gd name="T50" fmla="*/ 2 w 6"/>
                <a:gd name="T51" fmla="*/ 6 h 10"/>
                <a:gd name="T52" fmla="*/ 2 w 6"/>
                <a:gd name="T53" fmla="*/ 6 h 10"/>
                <a:gd name="T54" fmla="*/ 1 w 6"/>
                <a:gd name="T55" fmla="*/ 8 h 10"/>
                <a:gd name="T56" fmla="*/ 2 w 6"/>
                <a:gd name="T57" fmla="*/ 8 h 10"/>
                <a:gd name="T58" fmla="*/ 4 w 6"/>
                <a:gd name="T5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" h="10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4" y="7"/>
                    <a:pt x="5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8"/>
                    <a:pt x="5" y="8"/>
                    <a:pt x="4" y="8"/>
                  </a:cubicBezTo>
                  <a:cubicBezTo>
                    <a:pt x="4" y="9"/>
                    <a:pt x="4" y="9"/>
                    <a:pt x="5" y="9"/>
                  </a:cubicBezTo>
                  <a:cubicBezTo>
                    <a:pt x="5" y="10"/>
                    <a:pt x="5" y="10"/>
                    <a:pt x="5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8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5"/>
                    <a:pt x="5" y="5"/>
                  </a:cubicBezTo>
                  <a:cubicBezTo>
                    <a:pt x="5" y="5"/>
                    <a:pt x="4" y="5"/>
                    <a:pt x="4" y="4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3"/>
                    <a:pt x="1" y="3"/>
                    <a:pt x="0" y="3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1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2" y="7"/>
                    <a:pt x="1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4" y="8"/>
                    <a:pt x="4" y="8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8" name="Freeform 280">
              <a:extLst>
                <a:ext uri="{FF2B5EF4-FFF2-40B4-BE49-F238E27FC236}">
                  <a16:creationId xmlns:a16="http://schemas.microsoft.com/office/drawing/2014/main" id="{B0356B80-C410-40BF-80D8-859BDB647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9" y="2007"/>
              <a:ext cx="8" cy="5"/>
            </a:xfrm>
            <a:custGeom>
              <a:avLst/>
              <a:gdLst>
                <a:gd name="T0" fmla="*/ 0 w 3"/>
                <a:gd name="T1" fmla="*/ 1 h 2"/>
                <a:gd name="T2" fmla="*/ 1 w 3"/>
                <a:gd name="T3" fmla="*/ 2 h 2"/>
                <a:gd name="T4" fmla="*/ 2 w 3"/>
                <a:gd name="T5" fmla="*/ 2 h 2"/>
                <a:gd name="T6" fmla="*/ 2 w 3"/>
                <a:gd name="T7" fmla="*/ 1 h 2"/>
                <a:gd name="T8" fmla="*/ 2 w 3"/>
                <a:gd name="T9" fmla="*/ 0 h 2"/>
                <a:gd name="T10" fmla="*/ 1 w 3"/>
                <a:gd name="T11" fmla="*/ 1 h 2"/>
                <a:gd name="T12" fmla="*/ 0 w 3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3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9" name="Freeform 281">
              <a:extLst>
                <a:ext uri="{FF2B5EF4-FFF2-40B4-BE49-F238E27FC236}">
                  <a16:creationId xmlns:a16="http://schemas.microsoft.com/office/drawing/2014/main" id="{E72BB257-187D-4AE9-AF7B-37967E1E7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7" y="2012"/>
              <a:ext cx="4" cy="7"/>
            </a:xfrm>
            <a:custGeom>
              <a:avLst/>
              <a:gdLst>
                <a:gd name="T0" fmla="*/ 0 w 2"/>
                <a:gd name="T1" fmla="*/ 3 h 3"/>
                <a:gd name="T2" fmla="*/ 1 w 2"/>
                <a:gd name="T3" fmla="*/ 3 h 3"/>
                <a:gd name="T4" fmla="*/ 2 w 2"/>
                <a:gd name="T5" fmla="*/ 2 h 3"/>
                <a:gd name="T6" fmla="*/ 2 w 2"/>
                <a:gd name="T7" fmla="*/ 1 h 3"/>
                <a:gd name="T8" fmla="*/ 2 w 2"/>
                <a:gd name="T9" fmla="*/ 1 h 3"/>
                <a:gd name="T10" fmla="*/ 1 w 2"/>
                <a:gd name="T11" fmla="*/ 1 h 3"/>
                <a:gd name="T12" fmla="*/ 0 w 2"/>
                <a:gd name="T13" fmla="*/ 0 h 3"/>
                <a:gd name="T14" fmla="*/ 0 w 2"/>
                <a:gd name="T15" fmla="*/ 0 h 3"/>
                <a:gd name="T16" fmla="*/ 0 w 2"/>
                <a:gd name="T17" fmla="*/ 1 h 3"/>
                <a:gd name="T18" fmla="*/ 0 w 2"/>
                <a:gd name="T19" fmla="*/ 2 h 3"/>
                <a:gd name="T20" fmla="*/ 0 w 2"/>
                <a:gd name="T21" fmla="*/ 2 h 3"/>
                <a:gd name="T22" fmla="*/ 0 w 2"/>
                <a:gd name="T2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0" name="Freeform 282">
              <a:extLst>
                <a:ext uri="{FF2B5EF4-FFF2-40B4-BE49-F238E27FC236}">
                  <a16:creationId xmlns:a16="http://schemas.microsoft.com/office/drawing/2014/main" id="{B020882A-5A52-447C-B928-CCC0E82FBF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1" y="2017"/>
              <a:ext cx="5" cy="7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0 h 3"/>
                <a:gd name="T4" fmla="*/ 0 w 2"/>
                <a:gd name="T5" fmla="*/ 1 h 3"/>
                <a:gd name="T6" fmla="*/ 0 w 2"/>
                <a:gd name="T7" fmla="*/ 2 h 3"/>
                <a:gd name="T8" fmla="*/ 0 w 2"/>
                <a:gd name="T9" fmla="*/ 2 h 3"/>
                <a:gd name="T10" fmla="*/ 0 w 2"/>
                <a:gd name="T11" fmla="*/ 2 h 3"/>
                <a:gd name="T12" fmla="*/ 1 w 2"/>
                <a:gd name="T13" fmla="*/ 3 h 3"/>
                <a:gd name="T14" fmla="*/ 1 w 2"/>
                <a:gd name="T15" fmla="*/ 2 h 3"/>
                <a:gd name="T16" fmla="*/ 1 w 2"/>
                <a:gd name="T17" fmla="*/ 0 h 3"/>
                <a:gd name="T18" fmla="*/ 1 w 2"/>
                <a:gd name="T1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1" name="Freeform 283">
              <a:extLst>
                <a:ext uri="{FF2B5EF4-FFF2-40B4-BE49-F238E27FC236}">
                  <a16:creationId xmlns:a16="http://schemas.microsoft.com/office/drawing/2014/main" id="{BCE1544E-5824-4563-ABFE-3F80D80EE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0" y="1996"/>
              <a:ext cx="8" cy="16"/>
            </a:xfrm>
            <a:custGeom>
              <a:avLst/>
              <a:gdLst>
                <a:gd name="T0" fmla="*/ 3 w 3"/>
                <a:gd name="T1" fmla="*/ 3 h 7"/>
                <a:gd name="T2" fmla="*/ 1 w 3"/>
                <a:gd name="T3" fmla="*/ 0 h 7"/>
                <a:gd name="T4" fmla="*/ 1 w 3"/>
                <a:gd name="T5" fmla="*/ 0 h 7"/>
                <a:gd name="T6" fmla="*/ 0 w 3"/>
                <a:gd name="T7" fmla="*/ 1 h 7"/>
                <a:gd name="T8" fmla="*/ 0 w 3"/>
                <a:gd name="T9" fmla="*/ 1 h 7"/>
                <a:gd name="T10" fmla="*/ 2 w 3"/>
                <a:gd name="T11" fmla="*/ 3 h 7"/>
                <a:gd name="T12" fmla="*/ 2 w 3"/>
                <a:gd name="T13" fmla="*/ 5 h 7"/>
                <a:gd name="T14" fmla="*/ 2 w 3"/>
                <a:gd name="T15" fmla="*/ 5 h 7"/>
                <a:gd name="T16" fmla="*/ 2 w 3"/>
                <a:gd name="T17" fmla="*/ 6 h 7"/>
                <a:gd name="T18" fmla="*/ 3 w 3"/>
                <a:gd name="T19" fmla="*/ 6 h 7"/>
                <a:gd name="T20" fmla="*/ 3 w 3"/>
                <a:gd name="T21" fmla="*/ 7 h 7"/>
                <a:gd name="T22" fmla="*/ 3 w 3"/>
                <a:gd name="T23" fmla="*/ 3 h 7"/>
                <a:gd name="T24" fmla="*/ 3 w 3"/>
                <a:gd name="T2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7">
                  <a:moveTo>
                    <a:pt x="3" y="3"/>
                  </a:moveTo>
                  <a:cubicBezTo>
                    <a:pt x="3" y="2"/>
                    <a:pt x="2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6"/>
                    <a:pt x="3" y="5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2" name="Freeform 284">
              <a:extLst>
                <a:ext uri="{FF2B5EF4-FFF2-40B4-BE49-F238E27FC236}">
                  <a16:creationId xmlns:a16="http://schemas.microsoft.com/office/drawing/2014/main" id="{06AE1AE1-82D9-4F92-A2A5-6131F6B52D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6" y="1991"/>
              <a:ext cx="4" cy="5"/>
            </a:xfrm>
            <a:custGeom>
              <a:avLst/>
              <a:gdLst>
                <a:gd name="T0" fmla="*/ 1 w 2"/>
                <a:gd name="T1" fmla="*/ 1 h 2"/>
                <a:gd name="T2" fmla="*/ 1 w 2"/>
                <a:gd name="T3" fmla="*/ 0 h 2"/>
                <a:gd name="T4" fmla="*/ 0 w 2"/>
                <a:gd name="T5" fmla="*/ 0 h 2"/>
                <a:gd name="T6" fmla="*/ 0 w 2"/>
                <a:gd name="T7" fmla="*/ 0 h 2"/>
                <a:gd name="T8" fmla="*/ 2 w 2"/>
                <a:gd name="T9" fmla="*/ 2 h 2"/>
                <a:gd name="T10" fmla="*/ 2 w 2"/>
                <a:gd name="T11" fmla="*/ 1 h 2"/>
                <a:gd name="T12" fmla="*/ 1 w 2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1" y="1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3" name="Freeform 285">
              <a:extLst>
                <a:ext uri="{FF2B5EF4-FFF2-40B4-BE49-F238E27FC236}">
                  <a16:creationId xmlns:a16="http://schemas.microsoft.com/office/drawing/2014/main" id="{61699994-1E37-4056-8AB8-0849A7B82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8" y="1996"/>
              <a:ext cx="4" cy="4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1 h 2"/>
                <a:gd name="T4" fmla="*/ 0 w 2"/>
                <a:gd name="T5" fmla="*/ 1 h 2"/>
                <a:gd name="T6" fmla="*/ 0 w 2"/>
                <a:gd name="T7" fmla="*/ 1 h 2"/>
                <a:gd name="T8" fmla="*/ 1 w 2"/>
                <a:gd name="T9" fmla="*/ 2 h 2"/>
                <a:gd name="T10" fmla="*/ 1 w 2"/>
                <a:gd name="T11" fmla="*/ 2 h 2"/>
                <a:gd name="T12" fmla="*/ 1 w 2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2" y="1"/>
                    <a:pt x="2" y="1"/>
                    <a:pt x="1" y="1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4" name="Freeform 286">
              <a:extLst>
                <a:ext uri="{FF2B5EF4-FFF2-40B4-BE49-F238E27FC236}">
                  <a16:creationId xmlns:a16="http://schemas.microsoft.com/office/drawing/2014/main" id="{07D392BC-111D-4844-8005-59CCDECA8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5" y="2000"/>
              <a:ext cx="4" cy="7"/>
            </a:xfrm>
            <a:custGeom>
              <a:avLst/>
              <a:gdLst>
                <a:gd name="T0" fmla="*/ 1 w 2"/>
                <a:gd name="T1" fmla="*/ 3 h 3"/>
                <a:gd name="T2" fmla="*/ 2 w 2"/>
                <a:gd name="T3" fmla="*/ 3 h 3"/>
                <a:gd name="T4" fmla="*/ 2 w 2"/>
                <a:gd name="T5" fmla="*/ 2 h 3"/>
                <a:gd name="T6" fmla="*/ 2 w 2"/>
                <a:gd name="T7" fmla="*/ 2 h 3"/>
                <a:gd name="T8" fmla="*/ 2 w 2"/>
                <a:gd name="T9" fmla="*/ 1 h 3"/>
                <a:gd name="T10" fmla="*/ 0 w 2"/>
                <a:gd name="T11" fmla="*/ 0 h 3"/>
                <a:gd name="T12" fmla="*/ 0 w 2"/>
                <a:gd name="T13" fmla="*/ 0 h 3"/>
                <a:gd name="T14" fmla="*/ 0 w 2"/>
                <a:gd name="T15" fmla="*/ 1 h 3"/>
                <a:gd name="T16" fmla="*/ 0 w 2"/>
                <a:gd name="T17" fmla="*/ 2 h 3"/>
                <a:gd name="T18" fmla="*/ 1 w 2"/>
                <a:gd name="T1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3">
                  <a:moveTo>
                    <a:pt x="1" y="3"/>
                  </a:move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5" name="Freeform 287">
              <a:extLst>
                <a:ext uri="{FF2B5EF4-FFF2-40B4-BE49-F238E27FC236}">
                  <a16:creationId xmlns:a16="http://schemas.microsoft.com/office/drawing/2014/main" id="{3F5B3029-7A15-4F67-992C-9FCCFD0FD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0" y="2003"/>
              <a:ext cx="5" cy="11"/>
            </a:xfrm>
            <a:custGeom>
              <a:avLst/>
              <a:gdLst>
                <a:gd name="T0" fmla="*/ 2 w 2"/>
                <a:gd name="T1" fmla="*/ 2 h 5"/>
                <a:gd name="T2" fmla="*/ 1 w 2"/>
                <a:gd name="T3" fmla="*/ 1 h 5"/>
                <a:gd name="T4" fmla="*/ 0 w 2"/>
                <a:gd name="T5" fmla="*/ 0 h 5"/>
                <a:gd name="T6" fmla="*/ 0 w 2"/>
                <a:gd name="T7" fmla="*/ 1 h 5"/>
                <a:gd name="T8" fmla="*/ 1 w 2"/>
                <a:gd name="T9" fmla="*/ 1 h 5"/>
                <a:gd name="T10" fmla="*/ 1 w 2"/>
                <a:gd name="T11" fmla="*/ 3 h 5"/>
                <a:gd name="T12" fmla="*/ 1 w 2"/>
                <a:gd name="T13" fmla="*/ 4 h 5"/>
                <a:gd name="T14" fmla="*/ 1 w 2"/>
                <a:gd name="T15" fmla="*/ 4 h 5"/>
                <a:gd name="T16" fmla="*/ 2 w 2"/>
                <a:gd name="T17" fmla="*/ 3 h 5"/>
                <a:gd name="T18" fmla="*/ 2 w 2"/>
                <a:gd name="T19" fmla="*/ 2 h 5"/>
                <a:gd name="T20" fmla="*/ 2 w 2"/>
                <a:gd name="T2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" h="5">
                  <a:moveTo>
                    <a:pt x="2" y="2"/>
                  </a:moveTo>
                  <a:cubicBezTo>
                    <a:pt x="2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5"/>
                    <a:pt x="1" y="4"/>
                  </a:cubicBezTo>
                  <a:cubicBezTo>
                    <a:pt x="1" y="4"/>
                    <a:pt x="2" y="4"/>
                    <a:pt x="2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6" name="Freeform 288">
              <a:extLst>
                <a:ext uri="{FF2B5EF4-FFF2-40B4-BE49-F238E27FC236}">
                  <a16:creationId xmlns:a16="http://schemas.microsoft.com/office/drawing/2014/main" id="{15657A5E-64E9-407C-8FEB-9BF2F7481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1" y="2038"/>
              <a:ext cx="7" cy="7"/>
            </a:xfrm>
            <a:custGeom>
              <a:avLst/>
              <a:gdLst>
                <a:gd name="T0" fmla="*/ 1 w 3"/>
                <a:gd name="T1" fmla="*/ 1 h 3"/>
                <a:gd name="T2" fmla="*/ 0 w 3"/>
                <a:gd name="T3" fmla="*/ 0 h 3"/>
                <a:gd name="T4" fmla="*/ 0 w 3"/>
                <a:gd name="T5" fmla="*/ 1 h 3"/>
                <a:gd name="T6" fmla="*/ 1 w 3"/>
                <a:gd name="T7" fmla="*/ 2 h 3"/>
                <a:gd name="T8" fmla="*/ 2 w 3"/>
                <a:gd name="T9" fmla="*/ 3 h 3"/>
                <a:gd name="T10" fmla="*/ 3 w 3"/>
                <a:gd name="T11" fmla="*/ 3 h 3"/>
                <a:gd name="T12" fmla="*/ 3 w 3"/>
                <a:gd name="T13" fmla="*/ 3 h 3"/>
                <a:gd name="T14" fmla="*/ 2 w 3"/>
                <a:gd name="T15" fmla="*/ 2 h 3"/>
                <a:gd name="T16" fmla="*/ 1 w 3"/>
                <a:gd name="T1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1" y="2"/>
                    <a:pt x="2" y="2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2"/>
                    <a:pt x="2" y="2"/>
                  </a:cubicBezTo>
                  <a:cubicBezTo>
                    <a:pt x="2" y="2"/>
                    <a:pt x="1" y="1"/>
                    <a:pt x="1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7" name="Freeform 289">
              <a:extLst>
                <a:ext uri="{FF2B5EF4-FFF2-40B4-BE49-F238E27FC236}">
                  <a16:creationId xmlns:a16="http://schemas.microsoft.com/office/drawing/2014/main" id="{B5F13A75-B2FB-4B3D-A130-963A22003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" y="2041"/>
              <a:ext cx="7" cy="7"/>
            </a:xfrm>
            <a:custGeom>
              <a:avLst/>
              <a:gdLst>
                <a:gd name="T0" fmla="*/ 1 w 3"/>
                <a:gd name="T1" fmla="*/ 0 h 3"/>
                <a:gd name="T2" fmla="*/ 1 w 3"/>
                <a:gd name="T3" fmla="*/ 0 h 3"/>
                <a:gd name="T4" fmla="*/ 0 w 3"/>
                <a:gd name="T5" fmla="*/ 1 h 3"/>
                <a:gd name="T6" fmla="*/ 1 w 3"/>
                <a:gd name="T7" fmla="*/ 1 h 3"/>
                <a:gd name="T8" fmla="*/ 2 w 3"/>
                <a:gd name="T9" fmla="*/ 2 h 3"/>
                <a:gd name="T10" fmla="*/ 2 w 3"/>
                <a:gd name="T11" fmla="*/ 3 h 3"/>
                <a:gd name="T12" fmla="*/ 2 w 3"/>
                <a:gd name="T13" fmla="*/ 3 h 3"/>
                <a:gd name="T14" fmla="*/ 3 w 3"/>
                <a:gd name="T15" fmla="*/ 3 h 3"/>
                <a:gd name="T16" fmla="*/ 2 w 3"/>
                <a:gd name="T17" fmla="*/ 2 h 3"/>
                <a:gd name="T18" fmla="*/ 1 w 3"/>
                <a:gd name="T1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2" y="2"/>
                    <a:pt x="2" y="2"/>
                  </a:cubicBezTo>
                  <a:cubicBezTo>
                    <a:pt x="2" y="2"/>
                    <a:pt x="1" y="1"/>
                    <a:pt x="1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8" name="Freeform 290">
              <a:extLst>
                <a:ext uri="{FF2B5EF4-FFF2-40B4-BE49-F238E27FC236}">
                  <a16:creationId xmlns:a16="http://schemas.microsoft.com/office/drawing/2014/main" id="{66876708-BA28-4E32-8722-4D1EFD952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0" y="2045"/>
              <a:ext cx="5" cy="7"/>
            </a:xfrm>
            <a:custGeom>
              <a:avLst/>
              <a:gdLst>
                <a:gd name="T0" fmla="*/ 1 w 2"/>
                <a:gd name="T1" fmla="*/ 1 h 3"/>
                <a:gd name="T2" fmla="*/ 1 w 2"/>
                <a:gd name="T3" fmla="*/ 1 h 3"/>
                <a:gd name="T4" fmla="*/ 0 w 2"/>
                <a:gd name="T5" fmla="*/ 1 h 3"/>
                <a:gd name="T6" fmla="*/ 0 w 2"/>
                <a:gd name="T7" fmla="*/ 1 h 3"/>
                <a:gd name="T8" fmla="*/ 0 w 2"/>
                <a:gd name="T9" fmla="*/ 2 h 3"/>
                <a:gd name="T10" fmla="*/ 0 w 2"/>
                <a:gd name="T11" fmla="*/ 3 h 3"/>
                <a:gd name="T12" fmla="*/ 1 w 2"/>
                <a:gd name="T13" fmla="*/ 3 h 3"/>
                <a:gd name="T14" fmla="*/ 2 w 2"/>
                <a:gd name="T15" fmla="*/ 3 h 3"/>
                <a:gd name="T16" fmla="*/ 2 w 2"/>
                <a:gd name="T17" fmla="*/ 2 h 3"/>
                <a:gd name="T18" fmla="*/ 1 w 2"/>
                <a:gd name="T1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3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1" y="2"/>
                    <a:pt x="1" y="1"/>
                    <a:pt x="1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9" name="Freeform 291">
              <a:extLst>
                <a:ext uri="{FF2B5EF4-FFF2-40B4-BE49-F238E27FC236}">
                  <a16:creationId xmlns:a16="http://schemas.microsoft.com/office/drawing/2014/main" id="{0194C9B0-06F6-4A01-AB36-E7B3261EE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3" y="1839"/>
              <a:ext cx="33" cy="19"/>
            </a:xfrm>
            <a:custGeom>
              <a:avLst/>
              <a:gdLst>
                <a:gd name="T0" fmla="*/ 10 w 14"/>
                <a:gd name="T1" fmla="*/ 3 h 8"/>
                <a:gd name="T2" fmla="*/ 9 w 14"/>
                <a:gd name="T3" fmla="*/ 2 h 8"/>
                <a:gd name="T4" fmla="*/ 8 w 14"/>
                <a:gd name="T5" fmla="*/ 1 h 8"/>
                <a:gd name="T6" fmla="*/ 6 w 14"/>
                <a:gd name="T7" fmla="*/ 0 h 8"/>
                <a:gd name="T8" fmla="*/ 6 w 14"/>
                <a:gd name="T9" fmla="*/ 0 h 8"/>
                <a:gd name="T10" fmla="*/ 5 w 14"/>
                <a:gd name="T11" fmla="*/ 1 h 8"/>
                <a:gd name="T12" fmla="*/ 4 w 14"/>
                <a:gd name="T13" fmla="*/ 1 h 8"/>
                <a:gd name="T14" fmla="*/ 4 w 14"/>
                <a:gd name="T15" fmla="*/ 2 h 8"/>
                <a:gd name="T16" fmla="*/ 4 w 14"/>
                <a:gd name="T17" fmla="*/ 3 h 8"/>
                <a:gd name="T18" fmla="*/ 4 w 14"/>
                <a:gd name="T19" fmla="*/ 3 h 8"/>
                <a:gd name="T20" fmla="*/ 3 w 14"/>
                <a:gd name="T21" fmla="*/ 4 h 8"/>
                <a:gd name="T22" fmla="*/ 2 w 14"/>
                <a:gd name="T23" fmla="*/ 4 h 8"/>
                <a:gd name="T24" fmla="*/ 0 w 14"/>
                <a:gd name="T25" fmla="*/ 4 h 8"/>
                <a:gd name="T26" fmla="*/ 1 w 14"/>
                <a:gd name="T27" fmla="*/ 5 h 8"/>
                <a:gd name="T28" fmla="*/ 2 w 14"/>
                <a:gd name="T29" fmla="*/ 6 h 8"/>
                <a:gd name="T30" fmla="*/ 2 w 14"/>
                <a:gd name="T31" fmla="*/ 6 h 8"/>
                <a:gd name="T32" fmla="*/ 3 w 14"/>
                <a:gd name="T33" fmla="*/ 5 h 8"/>
                <a:gd name="T34" fmla="*/ 4 w 14"/>
                <a:gd name="T35" fmla="*/ 6 h 8"/>
                <a:gd name="T36" fmla="*/ 4 w 14"/>
                <a:gd name="T37" fmla="*/ 6 h 8"/>
                <a:gd name="T38" fmla="*/ 5 w 14"/>
                <a:gd name="T39" fmla="*/ 6 h 8"/>
                <a:gd name="T40" fmla="*/ 5 w 14"/>
                <a:gd name="T41" fmla="*/ 7 h 8"/>
                <a:gd name="T42" fmla="*/ 7 w 14"/>
                <a:gd name="T43" fmla="*/ 7 h 8"/>
                <a:gd name="T44" fmla="*/ 8 w 14"/>
                <a:gd name="T45" fmla="*/ 7 h 8"/>
                <a:gd name="T46" fmla="*/ 9 w 14"/>
                <a:gd name="T47" fmla="*/ 8 h 8"/>
                <a:gd name="T48" fmla="*/ 11 w 14"/>
                <a:gd name="T49" fmla="*/ 8 h 8"/>
                <a:gd name="T50" fmla="*/ 12 w 14"/>
                <a:gd name="T51" fmla="*/ 7 h 8"/>
                <a:gd name="T52" fmla="*/ 13 w 14"/>
                <a:gd name="T53" fmla="*/ 7 h 8"/>
                <a:gd name="T54" fmla="*/ 14 w 14"/>
                <a:gd name="T55" fmla="*/ 7 h 8"/>
                <a:gd name="T56" fmla="*/ 14 w 14"/>
                <a:gd name="T57" fmla="*/ 6 h 8"/>
                <a:gd name="T58" fmla="*/ 13 w 14"/>
                <a:gd name="T59" fmla="*/ 6 h 8"/>
                <a:gd name="T60" fmla="*/ 12 w 14"/>
                <a:gd name="T61" fmla="*/ 5 h 8"/>
                <a:gd name="T62" fmla="*/ 12 w 14"/>
                <a:gd name="T63" fmla="*/ 4 h 8"/>
                <a:gd name="T64" fmla="*/ 12 w 14"/>
                <a:gd name="T65" fmla="*/ 4 h 8"/>
                <a:gd name="T66" fmla="*/ 11 w 14"/>
                <a:gd name="T67" fmla="*/ 5 h 8"/>
                <a:gd name="T68" fmla="*/ 11 w 14"/>
                <a:gd name="T69" fmla="*/ 4 h 8"/>
                <a:gd name="T70" fmla="*/ 11 w 14"/>
                <a:gd name="T71" fmla="*/ 3 h 8"/>
                <a:gd name="T72" fmla="*/ 10 w 14"/>
                <a:gd name="T7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" h="8">
                  <a:moveTo>
                    <a:pt x="10" y="3"/>
                  </a:moveTo>
                  <a:cubicBezTo>
                    <a:pt x="10" y="3"/>
                    <a:pt x="9" y="2"/>
                    <a:pt x="9" y="2"/>
                  </a:cubicBezTo>
                  <a:cubicBezTo>
                    <a:pt x="9" y="2"/>
                    <a:pt x="8" y="1"/>
                    <a:pt x="8" y="1"/>
                  </a:cubicBezTo>
                  <a:cubicBezTo>
                    <a:pt x="7" y="1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4" y="2"/>
                    <a:pt x="4" y="2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5"/>
                    <a:pt x="1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6"/>
                    <a:pt x="4" y="6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4" y="6"/>
                    <a:pt x="4" y="6"/>
                    <a:pt x="5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6" y="7"/>
                    <a:pt x="7" y="7"/>
                  </a:cubicBezTo>
                  <a:cubicBezTo>
                    <a:pt x="7" y="7"/>
                    <a:pt x="7" y="7"/>
                    <a:pt x="8" y="7"/>
                  </a:cubicBezTo>
                  <a:cubicBezTo>
                    <a:pt x="8" y="7"/>
                    <a:pt x="9" y="8"/>
                    <a:pt x="9" y="8"/>
                  </a:cubicBezTo>
                  <a:cubicBezTo>
                    <a:pt x="10" y="8"/>
                    <a:pt x="11" y="8"/>
                    <a:pt x="11" y="8"/>
                  </a:cubicBezTo>
                  <a:cubicBezTo>
                    <a:pt x="11" y="8"/>
                    <a:pt x="12" y="7"/>
                    <a:pt x="12" y="7"/>
                  </a:cubicBezTo>
                  <a:cubicBezTo>
                    <a:pt x="12" y="7"/>
                    <a:pt x="13" y="7"/>
                    <a:pt x="13" y="7"/>
                  </a:cubicBezTo>
                  <a:cubicBezTo>
                    <a:pt x="13" y="7"/>
                    <a:pt x="13" y="7"/>
                    <a:pt x="14" y="7"/>
                  </a:cubicBezTo>
                  <a:cubicBezTo>
                    <a:pt x="14" y="7"/>
                    <a:pt x="14" y="6"/>
                    <a:pt x="14" y="6"/>
                  </a:cubicBezTo>
                  <a:cubicBezTo>
                    <a:pt x="14" y="5"/>
                    <a:pt x="14" y="6"/>
                    <a:pt x="13" y="6"/>
                  </a:cubicBezTo>
                  <a:cubicBezTo>
                    <a:pt x="12" y="6"/>
                    <a:pt x="13" y="6"/>
                    <a:pt x="12" y="5"/>
                  </a:cubicBezTo>
                  <a:cubicBezTo>
                    <a:pt x="12" y="5"/>
                    <a:pt x="12" y="5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5"/>
                    <a:pt x="11" y="5"/>
                  </a:cubicBezTo>
                  <a:cubicBezTo>
                    <a:pt x="11" y="5"/>
                    <a:pt x="11" y="5"/>
                    <a:pt x="11" y="4"/>
                  </a:cubicBezTo>
                  <a:cubicBezTo>
                    <a:pt x="11" y="4"/>
                    <a:pt x="11" y="4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0" name="Freeform 292">
              <a:extLst>
                <a:ext uri="{FF2B5EF4-FFF2-40B4-BE49-F238E27FC236}">
                  <a16:creationId xmlns:a16="http://schemas.microsoft.com/office/drawing/2014/main" id="{2179F551-487A-41A5-A72D-5DFCBC328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6" y="1772"/>
              <a:ext cx="78" cy="48"/>
            </a:xfrm>
            <a:custGeom>
              <a:avLst/>
              <a:gdLst>
                <a:gd name="T0" fmla="*/ 2 w 33"/>
                <a:gd name="T1" fmla="*/ 16 h 20"/>
                <a:gd name="T2" fmla="*/ 3 w 33"/>
                <a:gd name="T3" fmla="*/ 16 h 20"/>
                <a:gd name="T4" fmla="*/ 6 w 33"/>
                <a:gd name="T5" fmla="*/ 19 h 20"/>
                <a:gd name="T6" fmla="*/ 6 w 33"/>
                <a:gd name="T7" fmla="*/ 19 h 20"/>
                <a:gd name="T8" fmla="*/ 6 w 33"/>
                <a:gd name="T9" fmla="*/ 20 h 20"/>
                <a:gd name="T10" fmla="*/ 11 w 33"/>
                <a:gd name="T11" fmla="*/ 20 h 20"/>
                <a:gd name="T12" fmla="*/ 11 w 33"/>
                <a:gd name="T13" fmla="*/ 20 h 20"/>
                <a:gd name="T14" fmla="*/ 13 w 33"/>
                <a:gd name="T15" fmla="*/ 19 h 20"/>
                <a:gd name="T16" fmla="*/ 16 w 33"/>
                <a:gd name="T17" fmla="*/ 18 h 20"/>
                <a:gd name="T18" fmla="*/ 17 w 33"/>
                <a:gd name="T19" fmla="*/ 16 h 20"/>
                <a:gd name="T20" fmla="*/ 18 w 33"/>
                <a:gd name="T21" fmla="*/ 15 h 20"/>
                <a:gd name="T22" fmla="*/ 19 w 33"/>
                <a:gd name="T23" fmla="*/ 14 h 20"/>
                <a:gd name="T24" fmla="*/ 20 w 33"/>
                <a:gd name="T25" fmla="*/ 13 h 20"/>
                <a:gd name="T26" fmla="*/ 22 w 33"/>
                <a:gd name="T27" fmla="*/ 11 h 20"/>
                <a:gd name="T28" fmla="*/ 26 w 33"/>
                <a:gd name="T29" fmla="*/ 9 h 20"/>
                <a:gd name="T30" fmla="*/ 32 w 33"/>
                <a:gd name="T31" fmla="*/ 7 h 20"/>
                <a:gd name="T32" fmla="*/ 33 w 33"/>
                <a:gd name="T33" fmla="*/ 6 h 20"/>
                <a:gd name="T34" fmla="*/ 30 w 33"/>
                <a:gd name="T35" fmla="*/ 4 h 20"/>
                <a:gd name="T36" fmla="*/ 27 w 33"/>
                <a:gd name="T37" fmla="*/ 2 h 20"/>
                <a:gd name="T38" fmla="*/ 24 w 33"/>
                <a:gd name="T39" fmla="*/ 2 h 20"/>
                <a:gd name="T40" fmla="*/ 22 w 33"/>
                <a:gd name="T41" fmla="*/ 3 h 20"/>
                <a:gd name="T42" fmla="*/ 21 w 33"/>
                <a:gd name="T43" fmla="*/ 4 h 20"/>
                <a:gd name="T44" fmla="*/ 20 w 33"/>
                <a:gd name="T45" fmla="*/ 2 h 20"/>
                <a:gd name="T46" fmla="*/ 19 w 33"/>
                <a:gd name="T47" fmla="*/ 2 h 20"/>
                <a:gd name="T48" fmla="*/ 16 w 33"/>
                <a:gd name="T49" fmla="*/ 1 h 20"/>
                <a:gd name="T50" fmla="*/ 14 w 33"/>
                <a:gd name="T51" fmla="*/ 0 h 20"/>
                <a:gd name="T52" fmla="*/ 11 w 33"/>
                <a:gd name="T53" fmla="*/ 0 h 20"/>
                <a:gd name="T54" fmla="*/ 7 w 33"/>
                <a:gd name="T55" fmla="*/ 1 h 20"/>
                <a:gd name="T56" fmla="*/ 4 w 33"/>
                <a:gd name="T57" fmla="*/ 1 h 20"/>
                <a:gd name="T58" fmla="*/ 3 w 33"/>
                <a:gd name="T59" fmla="*/ 2 h 20"/>
                <a:gd name="T60" fmla="*/ 5 w 33"/>
                <a:gd name="T61" fmla="*/ 4 h 20"/>
                <a:gd name="T62" fmla="*/ 5 w 33"/>
                <a:gd name="T63" fmla="*/ 7 h 20"/>
                <a:gd name="T64" fmla="*/ 5 w 33"/>
                <a:gd name="T65" fmla="*/ 8 h 20"/>
                <a:gd name="T66" fmla="*/ 2 w 33"/>
                <a:gd name="T67" fmla="*/ 10 h 20"/>
                <a:gd name="T68" fmla="*/ 2 w 33"/>
                <a:gd name="T69" fmla="*/ 12 h 20"/>
                <a:gd name="T70" fmla="*/ 1 w 33"/>
                <a:gd name="T71" fmla="*/ 13 h 20"/>
                <a:gd name="T72" fmla="*/ 0 w 33"/>
                <a:gd name="T73" fmla="*/ 16 h 20"/>
                <a:gd name="T74" fmla="*/ 2 w 33"/>
                <a:gd name="T75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" h="20">
                  <a:moveTo>
                    <a:pt x="2" y="16"/>
                  </a:moveTo>
                  <a:cubicBezTo>
                    <a:pt x="3" y="16"/>
                    <a:pt x="3" y="16"/>
                    <a:pt x="3" y="16"/>
                  </a:cubicBezTo>
                  <a:cubicBezTo>
                    <a:pt x="4" y="17"/>
                    <a:pt x="5" y="18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8" y="20"/>
                    <a:pt x="10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19"/>
                    <a:pt x="13" y="19"/>
                    <a:pt x="13" y="19"/>
                  </a:cubicBezTo>
                  <a:cubicBezTo>
                    <a:pt x="14" y="19"/>
                    <a:pt x="16" y="18"/>
                    <a:pt x="16" y="18"/>
                  </a:cubicBezTo>
                  <a:cubicBezTo>
                    <a:pt x="17" y="18"/>
                    <a:pt x="17" y="17"/>
                    <a:pt x="17" y="16"/>
                  </a:cubicBezTo>
                  <a:cubicBezTo>
                    <a:pt x="17" y="15"/>
                    <a:pt x="18" y="15"/>
                    <a:pt x="18" y="15"/>
                  </a:cubicBezTo>
                  <a:cubicBezTo>
                    <a:pt x="18" y="14"/>
                    <a:pt x="18" y="14"/>
                    <a:pt x="19" y="14"/>
                  </a:cubicBezTo>
                  <a:cubicBezTo>
                    <a:pt x="20" y="14"/>
                    <a:pt x="20" y="13"/>
                    <a:pt x="20" y="13"/>
                  </a:cubicBezTo>
                  <a:cubicBezTo>
                    <a:pt x="20" y="13"/>
                    <a:pt x="22" y="11"/>
                    <a:pt x="22" y="11"/>
                  </a:cubicBezTo>
                  <a:cubicBezTo>
                    <a:pt x="23" y="11"/>
                    <a:pt x="25" y="9"/>
                    <a:pt x="26" y="9"/>
                  </a:cubicBezTo>
                  <a:cubicBezTo>
                    <a:pt x="26" y="9"/>
                    <a:pt x="30" y="8"/>
                    <a:pt x="32" y="7"/>
                  </a:cubicBezTo>
                  <a:cubicBezTo>
                    <a:pt x="33" y="7"/>
                    <a:pt x="33" y="7"/>
                    <a:pt x="33" y="6"/>
                  </a:cubicBezTo>
                  <a:cubicBezTo>
                    <a:pt x="33" y="5"/>
                    <a:pt x="30" y="4"/>
                    <a:pt x="30" y="4"/>
                  </a:cubicBezTo>
                  <a:cubicBezTo>
                    <a:pt x="29" y="3"/>
                    <a:pt x="29" y="3"/>
                    <a:pt x="27" y="2"/>
                  </a:cubicBezTo>
                  <a:cubicBezTo>
                    <a:pt x="25" y="1"/>
                    <a:pt x="24" y="2"/>
                    <a:pt x="24" y="2"/>
                  </a:cubicBezTo>
                  <a:cubicBezTo>
                    <a:pt x="23" y="2"/>
                    <a:pt x="22" y="2"/>
                    <a:pt x="22" y="3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20" y="3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2"/>
                    <a:pt x="17" y="2"/>
                    <a:pt x="16" y="1"/>
                  </a:cubicBezTo>
                  <a:cubicBezTo>
                    <a:pt x="14" y="0"/>
                    <a:pt x="14" y="1"/>
                    <a:pt x="14" y="0"/>
                  </a:cubicBezTo>
                  <a:cubicBezTo>
                    <a:pt x="14" y="0"/>
                    <a:pt x="12" y="0"/>
                    <a:pt x="11" y="0"/>
                  </a:cubicBezTo>
                  <a:cubicBezTo>
                    <a:pt x="10" y="0"/>
                    <a:pt x="8" y="1"/>
                    <a:pt x="7" y="1"/>
                  </a:cubicBezTo>
                  <a:cubicBezTo>
                    <a:pt x="7" y="1"/>
                    <a:pt x="4" y="1"/>
                    <a:pt x="4" y="1"/>
                  </a:cubicBezTo>
                  <a:cubicBezTo>
                    <a:pt x="4" y="1"/>
                    <a:pt x="3" y="2"/>
                    <a:pt x="3" y="2"/>
                  </a:cubicBezTo>
                  <a:cubicBezTo>
                    <a:pt x="4" y="3"/>
                    <a:pt x="4" y="3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9"/>
                    <a:pt x="3" y="9"/>
                    <a:pt x="2" y="10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3"/>
                    <a:pt x="2" y="12"/>
                    <a:pt x="1" y="13"/>
                  </a:cubicBezTo>
                  <a:cubicBezTo>
                    <a:pt x="0" y="14"/>
                    <a:pt x="0" y="15"/>
                    <a:pt x="0" y="16"/>
                  </a:cubicBezTo>
                  <a:cubicBezTo>
                    <a:pt x="0" y="16"/>
                    <a:pt x="1" y="16"/>
                    <a:pt x="2" y="16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1" name="Freeform 293">
              <a:extLst>
                <a:ext uri="{FF2B5EF4-FFF2-40B4-BE49-F238E27FC236}">
                  <a16:creationId xmlns:a16="http://schemas.microsoft.com/office/drawing/2014/main" id="{4A01DDB4-2913-4F16-B4C9-5B9D6B5941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6" y="1789"/>
              <a:ext cx="140" cy="69"/>
            </a:xfrm>
            <a:custGeom>
              <a:avLst/>
              <a:gdLst>
                <a:gd name="T0" fmla="*/ 56 w 59"/>
                <a:gd name="T1" fmla="*/ 22 h 29"/>
                <a:gd name="T2" fmla="*/ 59 w 59"/>
                <a:gd name="T3" fmla="*/ 21 h 29"/>
                <a:gd name="T4" fmla="*/ 55 w 59"/>
                <a:gd name="T5" fmla="*/ 19 h 29"/>
                <a:gd name="T6" fmla="*/ 51 w 59"/>
                <a:gd name="T7" fmla="*/ 17 h 29"/>
                <a:gd name="T8" fmla="*/ 47 w 59"/>
                <a:gd name="T9" fmla="*/ 14 h 29"/>
                <a:gd name="T10" fmla="*/ 47 w 59"/>
                <a:gd name="T11" fmla="*/ 12 h 29"/>
                <a:gd name="T12" fmla="*/ 44 w 59"/>
                <a:gd name="T13" fmla="*/ 5 h 29"/>
                <a:gd name="T14" fmla="*/ 39 w 59"/>
                <a:gd name="T15" fmla="*/ 1 h 29"/>
                <a:gd name="T16" fmla="*/ 37 w 59"/>
                <a:gd name="T17" fmla="*/ 1 h 29"/>
                <a:gd name="T18" fmla="*/ 36 w 59"/>
                <a:gd name="T19" fmla="*/ 1 h 29"/>
                <a:gd name="T20" fmla="*/ 35 w 59"/>
                <a:gd name="T21" fmla="*/ 3 h 29"/>
                <a:gd name="T22" fmla="*/ 37 w 59"/>
                <a:gd name="T23" fmla="*/ 8 h 29"/>
                <a:gd name="T24" fmla="*/ 38 w 59"/>
                <a:gd name="T25" fmla="*/ 9 h 29"/>
                <a:gd name="T26" fmla="*/ 34 w 59"/>
                <a:gd name="T27" fmla="*/ 10 h 29"/>
                <a:gd name="T28" fmla="*/ 33 w 59"/>
                <a:gd name="T29" fmla="*/ 5 h 29"/>
                <a:gd name="T30" fmla="*/ 28 w 59"/>
                <a:gd name="T31" fmla="*/ 2 h 29"/>
                <a:gd name="T32" fmla="*/ 28 w 59"/>
                <a:gd name="T33" fmla="*/ 4 h 29"/>
                <a:gd name="T34" fmla="*/ 27 w 59"/>
                <a:gd name="T35" fmla="*/ 6 h 29"/>
                <a:gd name="T36" fmla="*/ 25 w 59"/>
                <a:gd name="T37" fmla="*/ 5 h 29"/>
                <a:gd name="T38" fmla="*/ 23 w 59"/>
                <a:gd name="T39" fmla="*/ 3 h 29"/>
                <a:gd name="T40" fmla="*/ 19 w 59"/>
                <a:gd name="T41" fmla="*/ 2 h 29"/>
                <a:gd name="T42" fmla="*/ 18 w 59"/>
                <a:gd name="T43" fmla="*/ 4 h 29"/>
                <a:gd name="T44" fmla="*/ 15 w 59"/>
                <a:gd name="T45" fmla="*/ 5 h 29"/>
                <a:gd name="T46" fmla="*/ 16 w 59"/>
                <a:gd name="T47" fmla="*/ 2 h 29"/>
                <a:gd name="T48" fmla="*/ 15 w 59"/>
                <a:gd name="T49" fmla="*/ 0 h 29"/>
                <a:gd name="T50" fmla="*/ 9 w 59"/>
                <a:gd name="T51" fmla="*/ 2 h 29"/>
                <a:gd name="T52" fmla="*/ 5 w 59"/>
                <a:gd name="T53" fmla="*/ 4 h 29"/>
                <a:gd name="T54" fmla="*/ 2 w 59"/>
                <a:gd name="T55" fmla="*/ 6 h 29"/>
                <a:gd name="T56" fmla="*/ 3 w 59"/>
                <a:gd name="T57" fmla="*/ 7 h 29"/>
                <a:gd name="T58" fmla="*/ 0 w 59"/>
                <a:gd name="T59" fmla="*/ 10 h 29"/>
                <a:gd name="T60" fmla="*/ 3 w 59"/>
                <a:gd name="T61" fmla="*/ 11 h 29"/>
                <a:gd name="T62" fmla="*/ 4 w 59"/>
                <a:gd name="T63" fmla="*/ 11 h 29"/>
                <a:gd name="T64" fmla="*/ 3 w 59"/>
                <a:gd name="T65" fmla="*/ 12 h 29"/>
                <a:gd name="T66" fmla="*/ 10 w 59"/>
                <a:gd name="T67" fmla="*/ 11 h 29"/>
                <a:gd name="T68" fmla="*/ 11 w 59"/>
                <a:gd name="T69" fmla="*/ 12 h 29"/>
                <a:gd name="T70" fmla="*/ 5 w 59"/>
                <a:gd name="T71" fmla="*/ 13 h 29"/>
                <a:gd name="T72" fmla="*/ 3 w 59"/>
                <a:gd name="T73" fmla="*/ 16 h 29"/>
                <a:gd name="T74" fmla="*/ 10 w 59"/>
                <a:gd name="T75" fmla="*/ 17 h 29"/>
                <a:gd name="T76" fmla="*/ 18 w 59"/>
                <a:gd name="T77" fmla="*/ 16 h 29"/>
                <a:gd name="T78" fmla="*/ 24 w 59"/>
                <a:gd name="T79" fmla="*/ 18 h 29"/>
                <a:gd name="T80" fmla="*/ 16 w 59"/>
                <a:gd name="T81" fmla="*/ 18 h 29"/>
                <a:gd name="T82" fmla="*/ 7 w 59"/>
                <a:gd name="T83" fmla="*/ 20 h 29"/>
                <a:gd name="T84" fmla="*/ 8 w 59"/>
                <a:gd name="T85" fmla="*/ 23 h 29"/>
                <a:gd name="T86" fmla="*/ 15 w 59"/>
                <a:gd name="T87" fmla="*/ 25 h 29"/>
                <a:gd name="T88" fmla="*/ 18 w 59"/>
                <a:gd name="T89" fmla="*/ 28 h 29"/>
                <a:gd name="T90" fmla="*/ 22 w 59"/>
                <a:gd name="T91" fmla="*/ 29 h 29"/>
                <a:gd name="T92" fmla="*/ 31 w 59"/>
                <a:gd name="T93" fmla="*/ 28 h 29"/>
                <a:gd name="T94" fmla="*/ 34 w 59"/>
                <a:gd name="T95" fmla="*/ 26 h 29"/>
                <a:gd name="T96" fmla="*/ 38 w 59"/>
                <a:gd name="T97" fmla="*/ 26 h 29"/>
                <a:gd name="T98" fmla="*/ 39 w 59"/>
                <a:gd name="T99" fmla="*/ 24 h 29"/>
                <a:gd name="T100" fmla="*/ 41 w 59"/>
                <a:gd name="T101" fmla="*/ 24 h 29"/>
                <a:gd name="T102" fmla="*/ 42 w 59"/>
                <a:gd name="T103" fmla="*/ 25 h 29"/>
                <a:gd name="T104" fmla="*/ 46 w 59"/>
                <a:gd name="T105" fmla="*/ 27 h 29"/>
                <a:gd name="T106" fmla="*/ 50 w 59"/>
                <a:gd name="T107" fmla="*/ 27 h 29"/>
                <a:gd name="T108" fmla="*/ 54 w 59"/>
                <a:gd name="T109" fmla="*/ 27 h 29"/>
                <a:gd name="T110" fmla="*/ 54 w 59"/>
                <a:gd name="T111" fmla="*/ 25 h 29"/>
                <a:gd name="T112" fmla="*/ 55 w 59"/>
                <a:gd name="T113" fmla="*/ 24 h 29"/>
                <a:gd name="T114" fmla="*/ 52 w 59"/>
                <a:gd name="T115" fmla="*/ 24 h 29"/>
                <a:gd name="T116" fmla="*/ 51 w 59"/>
                <a:gd name="T117" fmla="*/ 23 h 29"/>
                <a:gd name="T118" fmla="*/ 51 w 59"/>
                <a:gd name="T119" fmla="*/ 22 h 29"/>
                <a:gd name="T120" fmla="*/ 52 w 59"/>
                <a:gd name="T121" fmla="*/ 21 h 29"/>
                <a:gd name="T122" fmla="*/ 55 w 59"/>
                <a:gd name="T123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" h="29">
                  <a:moveTo>
                    <a:pt x="55" y="22"/>
                  </a:moveTo>
                  <a:cubicBezTo>
                    <a:pt x="56" y="22"/>
                    <a:pt x="56" y="23"/>
                    <a:pt x="56" y="22"/>
                  </a:cubicBezTo>
                  <a:cubicBezTo>
                    <a:pt x="57" y="22"/>
                    <a:pt x="56" y="21"/>
                    <a:pt x="57" y="22"/>
                  </a:cubicBezTo>
                  <a:cubicBezTo>
                    <a:pt x="58" y="23"/>
                    <a:pt x="58" y="23"/>
                    <a:pt x="59" y="21"/>
                  </a:cubicBezTo>
                  <a:cubicBezTo>
                    <a:pt x="59" y="20"/>
                    <a:pt x="57" y="19"/>
                    <a:pt x="57" y="19"/>
                  </a:cubicBezTo>
                  <a:cubicBezTo>
                    <a:pt x="57" y="20"/>
                    <a:pt x="55" y="19"/>
                    <a:pt x="55" y="19"/>
                  </a:cubicBezTo>
                  <a:cubicBezTo>
                    <a:pt x="55" y="19"/>
                    <a:pt x="54" y="18"/>
                    <a:pt x="54" y="18"/>
                  </a:cubicBezTo>
                  <a:cubicBezTo>
                    <a:pt x="53" y="18"/>
                    <a:pt x="52" y="17"/>
                    <a:pt x="51" y="17"/>
                  </a:cubicBezTo>
                  <a:cubicBezTo>
                    <a:pt x="51" y="16"/>
                    <a:pt x="50" y="17"/>
                    <a:pt x="49" y="16"/>
                  </a:cubicBezTo>
                  <a:cubicBezTo>
                    <a:pt x="48" y="15"/>
                    <a:pt x="48" y="15"/>
                    <a:pt x="47" y="14"/>
                  </a:cubicBezTo>
                  <a:cubicBezTo>
                    <a:pt x="47" y="14"/>
                    <a:pt x="46" y="14"/>
                    <a:pt x="47" y="13"/>
                  </a:cubicBezTo>
                  <a:cubicBezTo>
                    <a:pt x="47" y="13"/>
                    <a:pt x="49" y="14"/>
                    <a:pt x="47" y="12"/>
                  </a:cubicBezTo>
                  <a:cubicBezTo>
                    <a:pt x="46" y="10"/>
                    <a:pt x="46" y="8"/>
                    <a:pt x="45" y="8"/>
                  </a:cubicBezTo>
                  <a:cubicBezTo>
                    <a:pt x="45" y="7"/>
                    <a:pt x="44" y="6"/>
                    <a:pt x="44" y="5"/>
                  </a:cubicBezTo>
                  <a:cubicBezTo>
                    <a:pt x="43" y="3"/>
                    <a:pt x="42" y="2"/>
                    <a:pt x="41" y="2"/>
                  </a:cubicBezTo>
                  <a:cubicBezTo>
                    <a:pt x="41" y="2"/>
                    <a:pt x="39" y="1"/>
                    <a:pt x="39" y="1"/>
                  </a:cubicBezTo>
                  <a:cubicBezTo>
                    <a:pt x="39" y="1"/>
                    <a:pt x="38" y="1"/>
                    <a:pt x="39" y="1"/>
                  </a:cubicBezTo>
                  <a:cubicBezTo>
                    <a:pt x="39" y="2"/>
                    <a:pt x="38" y="1"/>
                    <a:pt x="37" y="1"/>
                  </a:cubicBezTo>
                  <a:cubicBezTo>
                    <a:pt x="37" y="1"/>
                    <a:pt x="36" y="0"/>
                    <a:pt x="36" y="0"/>
                  </a:cubicBezTo>
                  <a:cubicBezTo>
                    <a:pt x="35" y="1"/>
                    <a:pt x="36" y="1"/>
                    <a:pt x="36" y="1"/>
                  </a:cubicBezTo>
                  <a:cubicBezTo>
                    <a:pt x="36" y="2"/>
                    <a:pt x="35" y="1"/>
                    <a:pt x="35" y="2"/>
                  </a:cubicBezTo>
                  <a:cubicBezTo>
                    <a:pt x="35" y="2"/>
                    <a:pt x="35" y="2"/>
                    <a:pt x="35" y="3"/>
                  </a:cubicBezTo>
                  <a:cubicBezTo>
                    <a:pt x="36" y="5"/>
                    <a:pt x="35" y="5"/>
                    <a:pt x="36" y="6"/>
                  </a:cubicBezTo>
                  <a:cubicBezTo>
                    <a:pt x="36" y="7"/>
                    <a:pt x="37" y="7"/>
                    <a:pt x="37" y="8"/>
                  </a:cubicBezTo>
                  <a:cubicBezTo>
                    <a:pt x="37" y="8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7" y="10"/>
                    <a:pt x="37" y="10"/>
                    <a:pt x="36" y="10"/>
                  </a:cubicBezTo>
                  <a:cubicBezTo>
                    <a:pt x="35" y="11"/>
                    <a:pt x="35" y="11"/>
                    <a:pt x="34" y="10"/>
                  </a:cubicBezTo>
                  <a:cubicBezTo>
                    <a:pt x="34" y="9"/>
                    <a:pt x="33" y="7"/>
                    <a:pt x="33" y="6"/>
                  </a:cubicBezTo>
                  <a:cubicBezTo>
                    <a:pt x="33" y="5"/>
                    <a:pt x="35" y="7"/>
                    <a:pt x="33" y="5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29" y="3"/>
                    <a:pt x="28" y="2"/>
                    <a:pt x="28" y="2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8" y="4"/>
                    <a:pt x="28" y="4"/>
                  </a:cubicBezTo>
                  <a:cubicBezTo>
                    <a:pt x="28" y="4"/>
                    <a:pt x="30" y="4"/>
                    <a:pt x="29" y="5"/>
                  </a:cubicBezTo>
                  <a:cubicBezTo>
                    <a:pt x="28" y="5"/>
                    <a:pt x="28" y="5"/>
                    <a:pt x="27" y="6"/>
                  </a:cubicBezTo>
                  <a:cubicBezTo>
                    <a:pt x="26" y="6"/>
                    <a:pt x="27" y="7"/>
                    <a:pt x="25" y="7"/>
                  </a:cubicBezTo>
                  <a:cubicBezTo>
                    <a:pt x="24" y="6"/>
                    <a:pt x="25" y="5"/>
                    <a:pt x="25" y="5"/>
                  </a:cubicBezTo>
                  <a:cubicBezTo>
                    <a:pt x="25" y="4"/>
                    <a:pt x="26" y="4"/>
                    <a:pt x="25" y="4"/>
                  </a:cubicBezTo>
                  <a:cubicBezTo>
                    <a:pt x="23" y="3"/>
                    <a:pt x="24" y="3"/>
                    <a:pt x="23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0" y="3"/>
                    <a:pt x="19" y="3"/>
                    <a:pt x="19" y="2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8" y="3"/>
                    <a:pt x="18" y="4"/>
                    <a:pt x="18" y="4"/>
                  </a:cubicBezTo>
                  <a:cubicBezTo>
                    <a:pt x="18" y="4"/>
                    <a:pt x="18" y="4"/>
                    <a:pt x="17" y="5"/>
                  </a:cubicBezTo>
                  <a:cubicBezTo>
                    <a:pt x="16" y="5"/>
                    <a:pt x="15" y="5"/>
                    <a:pt x="15" y="5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4"/>
                    <a:pt x="16" y="3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6" y="0"/>
                    <a:pt x="15" y="0"/>
                  </a:cubicBezTo>
                  <a:cubicBezTo>
                    <a:pt x="14" y="0"/>
                    <a:pt x="13" y="1"/>
                    <a:pt x="13" y="1"/>
                  </a:cubicBezTo>
                  <a:cubicBezTo>
                    <a:pt x="13" y="1"/>
                    <a:pt x="10" y="2"/>
                    <a:pt x="9" y="2"/>
                  </a:cubicBezTo>
                  <a:cubicBezTo>
                    <a:pt x="9" y="2"/>
                    <a:pt x="7" y="3"/>
                    <a:pt x="6" y="3"/>
                  </a:cubicBezTo>
                  <a:cubicBezTo>
                    <a:pt x="5" y="3"/>
                    <a:pt x="6" y="3"/>
                    <a:pt x="5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4" y="7"/>
                    <a:pt x="3" y="7"/>
                  </a:cubicBezTo>
                  <a:cubicBezTo>
                    <a:pt x="3" y="7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1" y="11"/>
                    <a:pt x="2" y="11"/>
                    <a:pt x="3" y="11"/>
                  </a:cubicBezTo>
                  <a:cubicBezTo>
                    <a:pt x="3" y="10"/>
                    <a:pt x="4" y="10"/>
                    <a:pt x="4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1"/>
                    <a:pt x="3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3"/>
                    <a:pt x="5" y="12"/>
                    <a:pt x="6" y="12"/>
                  </a:cubicBezTo>
                  <a:cubicBezTo>
                    <a:pt x="6" y="12"/>
                    <a:pt x="9" y="11"/>
                    <a:pt x="10" y="11"/>
                  </a:cubicBezTo>
                  <a:cubicBezTo>
                    <a:pt x="11" y="11"/>
                    <a:pt x="12" y="11"/>
                    <a:pt x="12" y="11"/>
                  </a:cubicBezTo>
                  <a:cubicBezTo>
                    <a:pt x="12" y="11"/>
                    <a:pt x="12" y="12"/>
                    <a:pt x="11" y="12"/>
                  </a:cubicBezTo>
                  <a:cubicBezTo>
                    <a:pt x="10" y="12"/>
                    <a:pt x="8" y="13"/>
                    <a:pt x="8" y="13"/>
                  </a:cubicBezTo>
                  <a:cubicBezTo>
                    <a:pt x="7" y="13"/>
                    <a:pt x="6" y="13"/>
                    <a:pt x="5" y="13"/>
                  </a:cubicBezTo>
                  <a:cubicBezTo>
                    <a:pt x="4" y="14"/>
                    <a:pt x="3" y="14"/>
                    <a:pt x="3" y="14"/>
                  </a:cubicBezTo>
                  <a:cubicBezTo>
                    <a:pt x="3" y="15"/>
                    <a:pt x="2" y="15"/>
                    <a:pt x="3" y="16"/>
                  </a:cubicBezTo>
                  <a:cubicBezTo>
                    <a:pt x="5" y="16"/>
                    <a:pt x="3" y="16"/>
                    <a:pt x="6" y="16"/>
                  </a:cubicBezTo>
                  <a:cubicBezTo>
                    <a:pt x="8" y="17"/>
                    <a:pt x="7" y="17"/>
                    <a:pt x="10" y="17"/>
                  </a:cubicBezTo>
                  <a:cubicBezTo>
                    <a:pt x="12" y="16"/>
                    <a:pt x="13" y="17"/>
                    <a:pt x="15" y="16"/>
                  </a:cubicBezTo>
                  <a:cubicBezTo>
                    <a:pt x="16" y="16"/>
                    <a:pt x="17" y="16"/>
                    <a:pt x="18" y="16"/>
                  </a:cubicBezTo>
                  <a:cubicBezTo>
                    <a:pt x="20" y="16"/>
                    <a:pt x="22" y="17"/>
                    <a:pt x="22" y="17"/>
                  </a:cubicBezTo>
                  <a:cubicBezTo>
                    <a:pt x="23" y="18"/>
                    <a:pt x="24" y="18"/>
                    <a:pt x="24" y="18"/>
                  </a:cubicBezTo>
                  <a:cubicBezTo>
                    <a:pt x="24" y="18"/>
                    <a:pt x="23" y="19"/>
                    <a:pt x="22" y="19"/>
                  </a:cubicBezTo>
                  <a:cubicBezTo>
                    <a:pt x="21" y="19"/>
                    <a:pt x="18" y="18"/>
                    <a:pt x="16" y="18"/>
                  </a:cubicBezTo>
                  <a:cubicBezTo>
                    <a:pt x="15" y="18"/>
                    <a:pt x="13" y="18"/>
                    <a:pt x="11" y="19"/>
                  </a:cubicBezTo>
                  <a:cubicBezTo>
                    <a:pt x="8" y="19"/>
                    <a:pt x="7" y="20"/>
                    <a:pt x="7" y="20"/>
                  </a:cubicBezTo>
                  <a:cubicBezTo>
                    <a:pt x="6" y="20"/>
                    <a:pt x="5" y="21"/>
                    <a:pt x="6" y="21"/>
                  </a:cubicBezTo>
                  <a:cubicBezTo>
                    <a:pt x="7" y="22"/>
                    <a:pt x="8" y="22"/>
                    <a:pt x="8" y="23"/>
                  </a:cubicBezTo>
                  <a:cubicBezTo>
                    <a:pt x="9" y="24"/>
                    <a:pt x="7" y="23"/>
                    <a:pt x="10" y="24"/>
                  </a:cubicBezTo>
                  <a:cubicBezTo>
                    <a:pt x="12" y="25"/>
                    <a:pt x="14" y="25"/>
                    <a:pt x="15" y="25"/>
                  </a:cubicBezTo>
                  <a:cubicBezTo>
                    <a:pt x="17" y="25"/>
                    <a:pt x="18" y="25"/>
                    <a:pt x="18" y="26"/>
                  </a:cubicBezTo>
                  <a:cubicBezTo>
                    <a:pt x="18" y="26"/>
                    <a:pt x="18" y="28"/>
                    <a:pt x="18" y="28"/>
                  </a:cubicBezTo>
                  <a:cubicBezTo>
                    <a:pt x="18" y="29"/>
                    <a:pt x="18" y="29"/>
                    <a:pt x="19" y="29"/>
                  </a:cubicBezTo>
                  <a:cubicBezTo>
                    <a:pt x="20" y="29"/>
                    <a:pt x="21" y="29"/>
                    <a:pt x="22" y="29"/>
                  </a:cubicBezTo>
                  <a:cubicBezTo>
                    <a:pt x="24" y="29"/>
                    <a:pt x="24" y="29"/>
                    <a:pt x="26" y="28"/>
                  </a:cubicBezTo>
                  <a:cubicBezTo>
                    <a:pt x="28" y="28"/>
                    <a:pt x="29" y="28"/>
                    <a:pt x="31" y="28"/>
                  </a:cubicBezTo>
                  <a:cubicBezTo>
                    <a:pt x="32" y="27"/>
                    <a:pt x="33" y="28"/>
                    <a:pt x="33" y="27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7" y="26"/>
                    <a:pt x="37" y="26"/>
                    <a:pt x="38" y="26"/>
                  </a:cubicBezTo>
                  <a:cubicBezTo>
                    <a:pt x="38" y="25"/>
                    <a:pt x="38" y="25"/>
                    <a:pt x="39" y="25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3"/>
                    <a:pt x="40" y="23"/>
                    <a:pt x="40" y="23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0" y="25"/>
                    <a:pt x="41" y="25"/>
                  </a:cubicBezTo>
                  <a:cubicBezTo>
                    <a:pt x="41" y="25"/>
                    <a:pt x="41" y="25"/>
                    <a:pt x="42" y="25"/>
                  </a:cubicBezTo>
                  <a:cubicBezTo>
                    <a:pt x="43" y="25"/>
                    <a:pt x="44" y="25"/>
                    <a:pt x="44" y="25"/>
                  </a:cubicBezTo>
                  <a:cubicBezTo>
                    <a:pt x="45" y="26"/>
                    <a:pt x="45" y="27"/>
                    <a:pt x="46" y="27"/>
                  </a:cubicBezTo>
                  <a:cubicBezTo>
                    <a:pt x="46" y="28"/>
                    <a:pt x="47" y="27"/>
                    <a:pt x="48" y="27"/>
                  </a:cubicBezTo>
                  <a:cubicBezTo>
                    <a:pt x="49" y="26"/>
                    <a:pt x="50" y="26"/>
                    <a:pt x="50" y="27"/>
                  </a:cubicBezTo>
                  <a:cubicBezTo>
                    <a:pt x="50" y="27"/>
                    <a:pt x="51" y="27"/>
                    <a:pt x="52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5" y="26"/>
                    <a:pt x="55" y="25"/>
                  </a:cubicBezTo>
                  <a:cubicBezTo>
                    <a:pt x="55" y="25"/>
                    <a:pt x="55" y="25"/>
                    <a:pt x="54" y="25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4"/>
                    <a:pt x="56" y="24"/>
                    <a:pt x="55" y="24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3" y="24"/>
                    <a:pt x="52" y="24"/>
                    <a:pt x="52" y="24"/>
                  </a:cubicBezTo>
                  <a:cubicBezTo>
                    <a:pt x="51" y="24"/>
                    <a:pt x="52" y="24"/>
                    <a:pt x="51" y="24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0" y="23"/>
                    <a:pt x="50" y="22"/>
                    <a:pt x="50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3" y="22"/>
                    <a:pt x="53" y="21"/>
                    <a:pt x="52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4" y="20"/>
                    <a:pt x="55" y="21"/>
                    <a:pt x="55" y="2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2" name="Freeform 294">
              <a:extLst>
                <a:ext uri="{FF2B5EF4-FFF2-40B4-BE49-F238E27FC236}">
                  <a16:creationId xmlns:a16="http://schemas.microsoft.com/office/drawing/2014/main" id="{4442EDFB-6B67-4046-AD8A-8F6E30595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1782"/>
              <a:ext cx="50" cy="38"/>
            </a:xfrm>
            <a:custGeom>
              <a:avLst/>
              <a:gdLst>
                <a:gd name="T0" fmla="*/ 21 w 21"/>
                <a:gd name="T1" fmla="*/ 8 h 16"/>
                <a:gd name="T2" fmla="*/ 19 w 21"/>
                <a:gd name="T3" fmla="*/ 8 h 16"/>
                <a:gd name="T4" fmla="*/ 18 w 21"/>
                <a:gd name="T5" fmla="*/ 7 h 16"/>
                <a:gd name="T6" fmla="*/ 17 w 21"/>
                <a:gd name="T7" fmla="*/ 6 h 16"/>
                <a:gd name="T8" fmla="*/ 14 w 21"/>
                <a:gd name="T9" fmla="*/ 6 h 16"/>
                <a:gd name="T10" fmla="*/ 14 w 21"/>
                <a:gd name="T11" fmla="*/ 5 h 16"/>
                <a:gd name="T12" fmla="*/ 17 w 21"/>
                <a:gd name="T13" fmla="*/ 4 h 16"/>
                <a:gd name="T14" fmla="*/ 18 w 21"/>
                <a:gd name="T15" fmla="*/ 3 h 16"/>
                <a:gd name="T16" fmla="*/ 18 w 21"/>
                <a:gd name="T17" fmla="*/ 2 h 16"/>
                <a:gd name="T18" fmla="*/ 17 w 21"/>
                <a:gd name="T19" fmla="*/ 0 h 16"/>
                <a:gd name="T20" fmla="*/ 14 w 21"/>
                <a:gd name="T21" fmla="*/ 1 h 16"/>
                <a:gd name="T22" fmla="*/ 12 w 21"/>
                <a:gd name="T23" fmla="*/ 1 h 16"/>
                <a:gd name="T24" fmla="*/ 10 w 21"/>
                <a:gd name="T25" fmla="*/ 1 h 16"/>
                <a:gd name="T26" fmla="*/ 7 w 21"/>
                <a:gd name="T27" fmla="*/ 0 h 16"/>
                <a:gd name="T28" fmla="*/ 7 w 21"/>
                <a:gd name="T29" fmla="*/ 2 h 16"/>
                <a:gd name="T30" fmla="*/ 6 w 21"/>
                <a:gd name="T31" fmla="*/ 2 h 16"/>
                <a:gd name="T32" fmla="*/ 4 w 21"/>
                <a:gd name="T33" fmla="*/ 4 h 16"/>
                <a:gd name="T34" fmla="*/ 8 w 21"/>
                <a:gd name="T35" fmla="*/ 4 h 16"/>
                <a:gd name="T36" fmla="*/ 8 w 21"/>
                <a:gd name="T37" fmla="*/ 5 h 16"/>
                <a:gd name="T38" fmla="*/ 6 w 21"/>
                <a:gd name="T39" fmla="*/ 7 h 16"/>
                <a:gd name="T40" fmla="*/ 3 w 21"/>
                <a:gd name="T41" fmla="*/ 5 h 16"/>
                <a:gd name="T42" fmla="*/ 1 w 21"/>
                <a:gd name="T43" fmla="*/ 7 h 16"/>
                <a:gd name="T44" fmla="*/ 2 w 21"/>
                <a:gd name="T45" fmla="*/ 8 h 16"/>
                <a:gd name="T46" fmla="*/ 4 w 21"/>
                <a:gd name="T47" fmla="*/ 10 h 16"/>
                <a:gd name="T48" fmla="*/ 6 w 21"/>
                <a:gd name="T49" fmla="*/ 10 h 16"/>
                <a:gd name="T50" fmla="*/ 11 w 21"/>
                <a:gd name="T51" fmla="*/ 13 h 16"/>
                <a:gd name="T52" fmla="*/ 12 w 21"/>
                <a:gd name="T53" fmla="*/ 15 h 16"/>
                <a:gd name="T54" fmla="*/ 14 w 21"/>
                <a:gd name="T55" fmla="*/ 15 h 16"/>
                <a:gd name="T56" fmla="*/ 15 w 21"/>
                <a:gd name="T57" fmla="*/ 14 h 16"/>
                <a:gd name="T58" fmla="*/ 16 w 21"/>
                <a:gd name="T59" fmla="*/ 14 h 16"/>
                <a:gd name="T60" fmla="*/ 20 w 21"/>
                <a:gd name="T61" fmla="*/ 12 h 16"/>
                <a:gd name="T62" fmla="*/ 20 w 21"/>
                <a:gd name="T63" fmla="*/ 11 h 16"/>
                <a:gd name="T64" fmla="*/ 21 w 21"/>
                <a:gd name="T65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" h="16">
                  <a:moveTo>
                    <a:pt x="21" y="9"/>
                  </a:moveTo>
                  <a:cubicBezTo>
                    <a:pt x="21" y="9"/>
                    <a:pt x="21" y="9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7"/>
                    <a:pt x="20" y="7"/>
                    <a:pt x="19" y="8"/>
                  </a:cubicBezTo>
                  <a:cubicBezTo>
                    <a:pt x="19" y="8"/>
                    <a:pt x="18" y="8"/>
                    <a:pt x="18" y="8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7"/>
                    <a:pt x="18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6" y="6"/>
                    <a:pt x="15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4"/>
                    <a:pt x="16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3"/>
                    <a:pt x="18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8" y="2"/>
                    <a:pt x="18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8" y="1"/>
                    <a:pt x="17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6" y="1"/>
                    <a:pt x="15" y="1"/>
                    <a:pt x="14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0"/>
                    <a:pt x="10" y="0"/>
                    <a:pt x="10" y="1"/>
                  </a:cubicBezTo>
                  <a:cubicBezTo>
                    <a:pt x="9" y="1"/>
                    <a:pt x="9" y="1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6" y="1"/>
                  </a:cubicBezTo>
                  <a:cubicBezTo>
                    <a:pt x="6" y="1"/>
                    <a:pt x="6" y="1"/>
                    <a:pt x="7" y="2"/>
                  </a:cubicBezTo>
                  <a:cubicBezTo>
                    <a:pt x="7" y="2"/>
                    <a:pt x="7" y="3"/>
                    <a:pt x="6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5" y="2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5" y="4"/>
                    <a:pt x="4" y="4"/>
                    <a:pt x="6" y="4"/>
                  </a:cubicBezTo>
                  <a:cubicBezTo>
                    <a:pt x="7" y="5"/>
                    <a:pt x="7" y="4"/>
                    <a:pt x="8" y="4"/>
                  </a:cubicBezTo>
                  <a:cubicBezTo>
                    <a:pt x="8" y="3"/>
                    <a:pt x="8" y="4"/>
                    <a:pt x="8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7" y="5"/>
                    <a:pt x="8" y="7"/>
                    <a:pt x="8" y="7"/>
                  </a:cubicBezTo>
                  <a:cubicBezTo>
                    <a:pt x="8" y="7"/>
                    <a:pt x="8" y="8"/>
                    <a:pt x="6" y="7"/>
                  </a:cubicBezTo>
                  <a:cubicBezTo>
                    <a:pt x="4" y="7"/>
                    <a:pt x="5" y="7"/>
                    <a:pt x="4" y="6"/>
                  </a:cubicBezTo>
                  <a:cubicBezTo>
                    <a:pt x="4" y="6"/>
                    <a:pt x="3" y="5"/>
                    <a:pt x="3" y="5"/>
                  </a:cubicBezTo>
                  <a:cubicBezTo>
                    <a:pt x="2" y="5"/>
                    <a:pt x="2" y="5"/>
                    <a:pt x="1" y="5"/>
                  </a:cubicBezTo>
                  <a:cubicBezTo>
                    <a:pt x="0" y="6"/>
                    <a:pt x="1" y="6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2" y="8"/>
                    <a:pt x="2" y="8"/>
                  </a:cubicBezTo>
                  <a:cubicBezTo>
                    <a:pt x="3" y="9"/>
                    <a:pt x="3" y="9"/>
                    <a:pt x="4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1"/>
                    <a:pt x="9" y="12"/>
                  </a:cubicBezTo>
                  <a:cubicBezTo>
                    <a:pt x="10" y="13"/>
                    <a:pt x="10" y="13"/>
                    <a:pt x="11" y="13"/>
                  </a:cubicBezTo>
                  <a:cubicBezTo>
                    <a:pt x="11" y="14"/>
                    <a:pt x="11" y="15"/>
                    <a:pt x="11" y="15"/>
                  </a:cubicBezTo>
                  <a:cubicBezTo>
                    <a:pt x="11" y="15"/>
                    <a:pt x="12" y="15"/>
                    <a:pt x="12" y="15"/>
                  </a:cubicBezTo>
                  <a:cubicBezTo>
                    <a:pt x="12" y="15"/>
                    <a:pt x="14" y="16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7" y="14"/>
                    <a:pt x="18" y="14"/>
                    <a:pt x="19" y="13"/>
                  </a:cubicBezTo>
                  <a:cubicBezTo>
                    <a:pt x="20" y="13"/>
                    <a:pt x="20" y="13"/>
                    <a:pt x="20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1"/>
                    <a:pt x="20" y="11"/>
                  </a:cubicBezTo>
                  <a:cubicBezTo>
                    <a:pt x="20" y="10"/>
                    <a:pt x="20" y="10"/>
                    <a:pt x="21" y="10"/>
                  </a:cubicBezTo>
                  <a:lnTo>
                    <a:pt x="21" y="9"/>
                  </a:ln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3" name="Freeform 295">
              <a:extLst>
                <a:ext uri="{FF2B5EF4-FFF2-40B4-BE49-F238E27FC236}">
                  <a16:creationId xmlns:a16="http://schemas.microsoft.com/office/drawing/2014/main" id="{6CFC363F-1EF0-4D97-810A-953000F1F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1784"/>
              <a:ext cx="19" cy="12"/>
            </a:xfrm>
            <a:custGeom>
              <a:avLst/>
              <a:gdLst>
                <a:gd name="T0" fmla="*/ 2 w 8"/>
                <a:gd name="T1" fmla="*/ 0 h 5"/>
                <a:gd name="T2" fmla="*/ 0 w 8"/>
                <a:gd name="T3" fmla="*/ 1 h 5"/>
                <a:gd name="T4" fmla="*/ 0 w 8"/>
                <a:gd name="T5" fmla="*/ 2 h 5"/>
                <a:gd name="T6" fmla="*/ 0 w 8"/>
                <a:gd name="T7" fmla="*/ 2 h 5"/>
                <a:gd name="T8" fmla="*/ 2 w 8"/>
                <a:gd name="T9" fmla="*/ 2 h 5"/>
                <a:gd name="T10" fmla="*/ 4 w 8"/>
                <a:gd name="T11" fmla="*/ 4 h 5"/>
                <a:gd name="T12" fmla="*/ 6 w 8"/>
                <a:gd name="T13" fmla="*/ 5 h 5"/>
                <a:gd name="T14" fmla="*/ 7 w 8"/>
                <a:gd name="T15" fmla="*/ 3 h 5"/>
                <a:gd name="T16" fmla="*/ 8 w 8"/>
                <a:gd name="T17" fmla="*/ 2 h 5"/>
                <a:gd name="T18" fmla="*/ 7 w 8"/>
                <a:gd name="T19" fmla="*/ 1 h 5"/>
                <a:gd name="T20" fmla="*/ 6 w 8"/>
                <a:gd name="T21" fmla="*/ 0 h 5"/>
                <a:gd name="T22" fmla="*/ 2 w 8"/>
                <a:gd name="T2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5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3" y="2"/>
                    <a:pt x="3" y="3"/>
                    <a:pt x="4" y="4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6" y="5"/>
                    <a:pt x="7" y="4"/>
                    <a:pt x="7" y="3"/>
                  </a:cubicBezTo>
                  <a:cubicBezTo>
                    <a:pt x="7" y="3"/>
                    <a:pt x="8" y="2"/>
                    <a:pt x="8" y="2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7" y="1"/>
                    <a:pt x="6" y="0"/>
                    <a:pt x="6" y="0"/>
                  </a:cubicBezTo>
                  <a:cubicBezTo>
                    <a:pt x="5" y="0"/>
                    <a:pt x="3" y="0"/>
                    <a:pt x="2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4" name="Freeform 296">
              <a:extLst>
                <a:ext uri="{FF2B5EF4-FFF2-40B4-BE49-F238E27FC236}">
                  <a16:creationId xmlns:a16="http://schemas.microsoft.com/office/drawing/2014/main" id="{8CCE11FF-50A7-43A8-B8EE-7CFE87DAF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4" y="1777"/>
              <a:ext cx="40" cy="33"/>
            </a:xfrm>
            <a:custGeom>
              <a:avLst/>
              <a:gdLst>
                <a:gd name="T0" fmla="*/ 5 w 17"/>
                <a:gd name="T1" fmla="*/ 9 h 14"/>
                <a:gd name="T2" fmla="*/ 8 w 17"/>
                <a:gd name="T3" fmla="*/ 9 h 14"/>
                <a:gd name="T4" fmla="*/ 10 w 17"/>
                <a:gd name="T5" fmla="*/ 9 h 14"/>
                <a:gd name="T6" fmla="*/ 12 w 17"/>
                <a:gd name="T7" fmla="*/ 10 h 14"/>
                <a:gd name="T8" fmla="*/ 14 w 17"/>
                <a:gd name="T9" fmla="*/ 6 h 14"/>
                <a:gd name="T10" fmla="*/ 15 w 17"/>
                <a:gd name="T11" fmla="*/ 5 h 14"/>
                <a:gd name="T12" fmla="*/ 17 w 17"/>
                <a:gd name="T13" fmla="*/ 2 h 14"/>
                <a:gd name="T14" fmla="*/ 16 w 17"/>
                <a:gd name="T15" fmla="*/ 2 h 14"/>
                <a:gd name="T16" fmla="*/ 13 w 17"/>
                <a:gd name="T17" fmla="*/ 1 h 14"/>
                <a:gd name="T18" fmla="*/ 10 w 17"/>
                <a:gd name="T19" fmla="*/ 1 h 14"/>
                <a:gd name="T20" fmla="*/ 8 w 17"/>
                <a:gd name="T21" fmla="*/ 1 h 14"/>
                <a:gd name="T22" fmla="*/ 6 w 17"/>
                <a:gd name="T23" fmla="*/ 1 h 14"/>
                <a:gd name="T24" fmla="*/ 3 w 17"/>
                <a:gd name="T25" fmla="*/ 1 h 14"/>
                <a:gd name="T26" fmla="*/ 2 w 17"/>
                <a:gd name="T27" fmla="*/ 2 h 14"/>
                <a:gd name="T28" fmla="*/ 2 w 17"/>
                <a:gd name="T29" fmla="*/ 2 h 14"/>
                <a:gd name="T30" fmla="*/ 2 w 17"/>
                <a:gd name="T31" fmla="*/ 3 h 14"/>
                <a:gd name="T32" fmla="*/ 3 w 17"/>
                <a:gd name="T33" fmla="*/ 3 h 14"/>
                <a:gd name="T34" fmla="*/ 3 w 17"/>
                <a:gd name="T35" fmla="*/ 4 h 14"/>
                <a:gd name="T36" fmla="*/ 2 w 17"/>
                <a:gd name="T37" fmla="*/ 4 h 14"/>
                <a:gd name="T38" fmla="*/ 1 w 17"/>
                <a:gd name="T39" fmla="*/ 3 h 14"/>
                <a:gd name="T40" fmla="*/ 0 w 17"/>
                <a:gd name="T41" fmla="*/ 3 h 14"/>
                <a:gd name="T42" fmla="*/ 0 w 17"/>
                <a:gd name="T43" fmla="*/ 4 h 14"/>
                <a:gd name="T44" fmla="*/ 0 w 17"/>
                <a:gd name="T45" fmla="*/ 6 h 14"/>
                <a:gd name="T46" fmla="*/ 0 w 17"/>
                <a:gd name="T47" fmla="*/ 8 h 14"/>
                <a:gd name="T48" fmla="*/ 0 w 17"/>
                <a:gd name="T49" fmla="*/ 9 h 14"/>
                <a:gd name="T50" fmla="*/ 1 w 17"/>
                <a:gd name="T51" fmla="*/ 10 h 14"/>
                <a:gd name="T52" fmla="*/ 1 w 17"/>
                <a:gd name="T53" fmla="*/ 10 h 14"/>
                <a:gd name="T54" fmla="*/ 1 w 17"/>
                <a:gd name="T55" fmla="*/ 13 h 14"/>
                <a:gd name="T56" fmla="*/ 2 w 17"/>
                <a:gd name="T57" fmla="*/ 13 h 14"/>
                <a:gd name="T58" fmla="*/ 3 w 17"/>
                <a:gd name="T59" fmla="*/ 13 h 14"/>
                <a:gd name="T60" fmla="*/ 5 w 17"/>
                <a:gd name="T61" fmla="*/ 13 h 14"/>
                <a:gd name="T62" fmla="*/ 7 w 17"/>
                <a:gd name="T63" fmla="*/ 12 h 14"/>
                <a:gd name="T64" fmla="*/ 7 w 17"/>
                <a:gd name="T65" fmla="*/ 10 h 14"/>
                <a:gd name="T66" fmla="*/ 7 w 17"/>
                <a:gd name="T67" fmla="*/ 10 h 14"/>
                <a:gd name="T68" fmla="*/ 5 w 17"/>
                <a:gd name="T69" fmla="*/ 9 h 14"/>
                <a:gd name="T70" fmla="*/ 5 w 17"/>
                <a:gd name="T71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" h="14">
                  <a:moveTo>
                    <a:pt x="5" y="9"/>
                  </a:moveTo>
                  <a:cubicBezTo>
                    <a:pt x="6" y="9"/>
                    <a:pt x="7" y="9"/>
                    <a:pt x="8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9"/>
                    <a:pt x="13" y="8"/>
                    <a:pt x="14" y="6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6" y="4"/>
                    <a:pt x="17" y="2"/>
                    <a:pt x="17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3" y="1"/>
                    <a:pt x="13" y="1"/>
                  </a:cubicBezTo>
                  <a:cubicBezTo>
                    <a:pt x="12" y="1"/>
                    <a:pt x="12" y="2"/>
                    <a:pt x="10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0"/>
                    <a:pt x="7" y="1"/>
                    <a:pt x="6" y="1"/>
                  </a:cubicBezTo>
                  <a:cubicBezTo>
                    <a:pt x="6" y="1"/>
                    <a:pt x="4" y="1"/>
                    <a:pt x="3" y="1"/>
                  </a:cubicBezTo>
                  <a:cubicBezTo>
                    <a:pt x="3" y="1"/>
                    <a:pt x="2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0" y="3"/>
                    <a:pt x="1" y="3"/>
                    <a:pt x="0" y="3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8"/>
                    <a:pt x="0" y="7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10"/>
                    <a:pt x="1" y="11"/>
                    <a:pt x="1" y="13"/>
                  </a:cubicBezTo>
                  <a:cubicBezTo>
                    <a:pt x="2" y="14"/>
                    <a:pt x="2" y="13"/>
                    <a:pt x="2" y="13"/>
                  </a:cubicBezTo>
                  <a:cubicBezTo>
                    <a:pt x="2" y="13"/>
                    <a:pt x="3" y="13"/>
                    <a:pt x="3" y="13"/>
                  </a:cubicBezTo>
                  <a:cubicBezTo>
                    <a:pt x="4" y="13"/>
                    <a:pt x="5" y="13"/>
                    <a:pt x="5" y="13"/>
                  </a:cubicBezTo>
                  <a:cubicBezTo>
                    <a:pt x="6" y="13"/>
                    <a:pt x="6" y="13"/>
                    <a:pt x="7" y="12"/>
                  </a:cubicBezTo>
                  <a:cubicBezTo>
                    <a:pt x="7" y="11"/>
                    <a:pt x="7" y="11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6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5" name="Freeform 297">
              <a:extLst>
                <a:ext uri="{FF2B5EF4-FFF2-40B4-BE49-F238E27FC236}">
                  <a16:creationId xmlns:a16="http://schemas.microsoft.com/office/drawing/2014/main" id="{B1585451-7AD4-4AFB-A6F1-934032D92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1756"/>
              <a:ext cx="27" cy="16"/>
            </a:xfrm>
            <a:custGeom>
              <a:avLst/>
              <a:gdLst>
                <a:gd name="T0" fmla="*/ 3 w 11"/>
                <a:gd name="T1" fmla="*/ 6 h 7"/>
                <a:gd name="T2" fmla="*/ 5 w 11"/>
                <a:gd name="T3" fmla="*/ 6 h 7"/>
                <a:gd name="T4" fmla="*/ 5 w 11"/>
                <a:gd name="T5" fmla="*/ 6 h 7"/>
                <a:gd name="T6" fmla="*/ 6 w 11"/>
                <a:gd name="T7" fmla="*/ 7 h 7"/>
                <a:gd name="T8" fmla="*/ 8 w 11"/>
                <a:gd name="T9" fmla="*/ 7 h 7"/>
                <a:gd name="T10" fmla="*/ 10 w 11"/>
                <a:gd name="T11" fmla="*/ 6 h 7"/>
                <a:gd name="T12" fmla="*/ 10 w 11"/>
                <a:gd name="T13" fmla="*/ 4 h 7"/>
                <a:gd name="T14" fmla="*/ 9 w 11"/>
                <a:gd name="T15" fmla="*/ 2 h 7"/>
                <a:gd name="T16" fmla="*/ 6 w 11"/>
                <a:gd name="T17" fmla="*/ 1 h 7"/>
                <a:gd name="T18" fmla="*/ 4 w 11"/>
                <a:gd name="T19" fmla="*/ 1 h 7"/>
                <a:gd name="T20" fmla="*/ 3 w 11"/>
                <a:gd name="T21" fmla="*/ 2 h 7"/>
                <a:gd name="T22" fmla="*/ 2 w 11"/>
                <a:gd name="T23" fmla="*/ 2 h 7"/>
                <a:gd name="T24" fmla="*/ 2 w 11"/>
                <a:gd name="T25" fmla="*/ 3 h 7"/>
                <a:gd name="T26" fmla="*/ 0 w 11"/>
                <a:gd name="T27" fmla="*/ 3 h 7"/>
                <a:gd name="T28" fmla="*/ 0 w 11"/>
                <a:gd name="T29" fmla="*/ 4 h 7"/>
                <a:gd name="T30" fmla="*/ 1 w 11"/>
                <a:gd name="T31" fmla="*/ 5 h 7"/>
                <a:gd name="T32" fmla="*/ 3 w 11"/>
                <a:gd name="T3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7">
                  <a:moveTo>
                    <a:pt x="3" y="6"/>
                  </a:moveTo>
                  <a:cubicBezTo>
                    <a:pt x="4" y="6"/>
                    <a:pt x="5" y="6"/>
                    <a:pt x="5" y="6"/>
                  </a:cubicBezTo>
                  <a:cubicBezTo>
                    <a:pt x="5" y="6"/>
                    <a:pt x="4" y="6"/>
                    <a:pt x="5" y="6"/>
                  </a:cubicBezTo>
                  <a:cubicBezTo>
                    <a:pt x="5" y="7"/>
                    <a:pt x="6" y="7"/>
                    <a:pt x="6" y="7"/>
                  </a:cubicBezTo>
                  <a:cubicBezTo>
                    <a:pt x="7" y="7"/>
                    <a:pt x="8" y="7"/>
                    <a:pt x="8" y="7"/>
                  </a:cubicBezTo>
                  <a:cubicBezTo>
                    <a:pt x="9" y="7"/>
                    <a:pt x="10" y="7"/>
                    <a:pt x="10" y="6"/>
                  </a:cubicBezTo>
                  <a:cubicBezTo>
                    <a:pt x="10" y="5"/>
                    <a:pt x="11" y="5"/>
                    <a:pt x="10" y="4"/>
                  </a:cubicBezTo>
                  <a:cubicBezTo>
                    <a:pt x="10" y="3"/>
                    <a:pt x="10" y="3"/>
                    <a:pt x="9" y="2"/>
                  </a:cubicBezTo>
                  <a:cubicBezTo>
                    <a:pt x="8" y="2"/>
                    <a:pt x="6" y="1"/>
                    <a:pt x="6" y="1"/>
                  </a:cubicBezTo>
                  <a:cubicBezTo>
                    <a:pt x="5" y="1"/>
                    <a:pt x="5" y="0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3" y="3"/>
                    <a:pt x="2" y="3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2" y="5"/>
                    <a:pt x="3" y="6"/>
                    <a:pt x="3" y="6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6" name="Freeform 298">
              <a:extLst>
                <a:ext uri="{FF2B5EF4-FFF2-40B4-BE49-F238E27FC236}">
                  <a16:creationId xmlns:a16="http://schemas.microsoft.com/office/drawing/2014/main" id="{85663149-85D1-46B4-8327-4C4EC84A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6" y="1782"/>
              <a:ext cx="218" cy="161"/>
            </a:xfrm>
            <a:custGeom>
              <a:avLst/>
              <a:gdLst>
                <a:gd name="T0" fmla="*/ 52 w 92"/>
                <a:gd name="T1" fmla="*/ 14 h 68"/>
                <a:gd name="T2" fmla="*/ 48 w 92"/>
                <a:gd name="T3" fmla="*/ 10 h 68"/>
                <a:gd name="T4" fmla="*/ 37 w 92"/>
                <a:gd name="T5" fmla="*/ 8 h 68"/>
                <a:gd name="T6" fmla="*/ 34 w 92"/>
                <a:gd name="T7" fmla="*/ 9 h 68"/>
                <a:gd name="T8" fmla="*/ 30 w 92"/>
                <a:gd name="T9" fmla="*/ 10 h 68"/>
                <a:gd name="T10" fmla="*/ 30 w 92"/>
                <a:gd name="T11" fmla="*/ 6 h 68"/>
                <a:gd name="T12" fmla="*/ 23 w 92"/>
                <a:gd name="T13" fmla="*/ 2 h 68"/>
                <a:gd name="T14" fmla="*/ 15 w 92"/>
                <a:gd name="T15" fmla="*/ 5 h 68"/>
                <a:gd name="T16" fmla="*/ 17 w 92"/>
                <a:gd name="T17" fmla="*/ 10 h 68"/>
                <a:gd name="T18" fmla="*/ 16 w 92"/>
                <a:gd name="T19" fmla="*/ 13 h 68"/>
                <a:gd name="T20" fmla="*/ 17 w 92"/>
                <a:gd name="T21" fmla="*/ 17 h 68"/>
                <a:gd name="T22" fmla="*/ 11 w 92"/>
                <a:gd name="T23" fmla="*/ 10 h 68"/>
                <a:gd name="T24" fmla="*/ 12 w 92"/>
                <a:gd name="T25" fmla="*/ 4 h 68"/>
                <a:gd name="T26" fmla="*/ 10 w 92"/>
                <a:gd name="T27" fmla="*/ 1 h 68"/>
                <a:gd name="T28" fmla="*/ 1 w 92"/>
                <a:gd name="T29" fmla="*/ 10 h 68"/>
                <a:gd name="T30" fmla="*/ 6 w 92"/>
                <a:gd name="T31" fmla="*/ 16 h 68"/>
                <a:gd name="T32" fmla="*/ 3 w 92"/>
                <a:gd name="T33" fmla="*/ 17 h 68"/>
                <a:gd name="T34" fmla="*/ 8 w 92"/>
                <a:gd name="T35" fmla="*/ 21 h 68"/>
                <a:gd name="T36" fmla="*/ 20 w 92"/>
                <a:gd name="T37" fmla="*/ 23 h 68"/>
                <a:gd name="T38" fmla="*/ 27 w 92"/>
                <a:gd name="T39" fmla="*/ 23 h 68"/>
                <a:gd name="T40" fmla="*/ 36 w 92"/>
                <a:gd name="T41" fmla="*/ 22 h 68"/>
                <a:gd name="T42" fmla="*/ 37 w 92"/>
                <a:gd name="T43" fmla="*/ 21 h 68"/>
                <a:gd name="T44" fmla="*/ 47 w 92"/>
                <a:gd name="T45" fmla="*/ 28 h 68"/>
                <a:gd name="T46" fmla="*/ 43 w 92"/>
                <a:gd name="T47" fmla="*/ 29 h 68"/>
                <a:gd name="T48" fmla="*/ 48 w 92"/>
                <a:gd name="T49" fmla="*/ 30 h 68"/>
                <a:gd name="T50" fmla="*/ 57 w 92"/>
                <a:gd name="T51" fmla="*/ 38 h 68"/>
                <a:gd name="T52" fmla="*/ 57 w 92"/>
                <a:gd name="T53" fmla="*/ 41 h 68"/>
                <a:gd name="T54" fmla="*/ 62 w 92"/>
                <a:gd name="T55" fmla="*/ 40 h 68"/>
                <a:gd name="T56" fmla="*/ 62 w 92"/>
                <a:gd name="T57" fmla="*/ 44 h 68"/>
                <a:gd name="T58" fmla="*/ 54 w 92"/>
                <a:gd name="T59" fmla="*/ 42 h 68"/>
                <a:gd name="T60" fmla="*/ 52 w 92"/>
                <a:gd name="T61" fmla="*/ 49 h 68"/>
                <a:gd name="T62" fmla="*/ 42 w 92"/>
                <a:gd name="T63" fmla="*/ 49 h 68"/>
                <a:gd name="T64" fmla="*/ 46 w 92"/>
                <a:gd name="T65" fmla="*/ 54 h 68"/>
                <a:gd name="T66" fmla="*/ 51 w 92"/>
                <a:gd name="T67" fmla="*/ 53 h 68"/>
                <a:gd name="T68" fmla="*/ 58 w 92"/>
                <a:gd name="T69" fmla="*/ 58 h 68"/>
                <a:gd name="T70" fmla="*/ 64 w 92"/>
                <a:gd name="T71" fmla="*/ 63 h 68"/>
                <a:gd name="T72" fmla="*/ 78 w 92"/>
                <a:gd name="T73" fmla="*/ 68 h 68"/>
                <a:gd name="T74" fmla="*/ 68 w 92"/>
                <a:gd name="T75" fmla="*/ 58 h 68"/>
                <a:gd name="T76" fmla="*/ 76 w 92"/>
                <a:gd name="T77" fmla="*/ 62 h 68"/>
                <a:gd name="T78" fmla="*/ 81 w 92"/>
                <a:gd name="T79" fmla="*/ 62 h 68"/>
                <a:gd name="T80" fmla="*/ 82 w 92"/>
                <a:gd name="T81" fmla="*/ 60 h 68"/>
                <a:gd name="T82" fmla="*/ 79 w 92"/>
                <a:gd name="T83" fmla="*/ 54 h 68"/>
                <a:gd name="T84" fmla="*/ 72 w 92"/>
                <a:gd name="T85" fmla="*/ 49 h 68"/>
                <a:gd name="T86" fmla="*/ 73 w 92"/>
                <a:gd name="T87" fmla="*/ 46 h 68"/>
                <a:gd name="T88" fmla="*/ 73 w 92"/>
                <a:gd name="T89" fmla="*/ 43 h 68"/>
                <a:gd name="T90" fmla="*/ 81 w 92"/>
                <a:gd name="T91" fmla="*/ 44 h 68"/>
                <a:gd name="T92" fmla="*/ 81 w 92"/>
                <a:gd name="T93" fmla="*/ 50 h 68"/>
                <a:gd name="T94" fmla="*/ 85 w 92"/>
                <a:gd name="T95" fmla="*/ 50 h 68"/>
                <a:gd name="T96" fmla="*/ 90 w 92"/>
                <a:gd name="T97" fmla="*/ 46 h 68"/>
                <a:gd name="T98" fmla="*/ 92 w 92"/>
                <a:gd name="T99" fmla="*/ 43 h 68"/>
                <a:gd name="T100" fmla="*/ 86 w 92"/>
                <a:gd name="T101" fmla="*/ 39 h 68"/>
                <a:gd name="T102" fmla="*/ 81 w 92"/>
                <a:gd name="T103" fmla="*/ 35 h 68"/>
                <a:gd name="T104" fmla="*/ 73 w 92"/>
                <a:gd name="T105" fmla="*/ 32 h 68"/>
                <a:gd name="T106" fmla="*/ 73 w 92"/>
                <a:gd name="T107" fmla="*/ 28 h 68"/>
                <a:gd name="T108" fmla="*/ 70 w 92"/>
                <a:gd name="T109" fmla="*/ 25 h 68"/>
                <a:gd name="T110" fmla="*/ 70 w 92"/>
                <a:gd name="T111" fmla="*/ 21 h 68"/>
                <a:gd name="T112" fmla="*/ 64 w 92"/>
                <a:gd name="T113" fmla="*/ 18 h 68"/>
                <a:gd name="T114" fmla="*/ 60 w 92"/>
                <a:gd name="T115" fmla="*/ 1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2" h="68">
                  <a:moveTo>
                    <a:pt x="59" y="14"/>
                  </a:moveTo>
                  <a:cubicBezTo>
                    <a:pt x="58" y="14"/>
                    <a:pt x="57" y="14"/>
                    <a:pt x="56" y="14"/>
                  </a:cubicBezTo>
                  <a:cubicBezTo>
                    <a:pt x="56" y="13"/>
                    <a:pt x="56" y="14"/>
                    <a:pt x="56" y="14"/>
                  </a:cubicBezTo>
                  <a:cubicBezTo>
                    <a:pt x="55" y="15"/>
                    <a:pt x="54" y="16"/>
                    <a:pt x="54" y="16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1" y="13"/>
                    <a:pt x="51" y="13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0" y="11"/>
                  </a:cubicBezTo>
                  <a:cubicBezTo>
                    <a:pt x="49" y="11"/>
                    <a:pt x="49" y="11"/>
                    <a:pt x="48" y="11"/>
                  </a:cubicBezTo>
                  <a:cubicBezTo>
                    <a:pt x="47" y="10"/>
                    <a:pt x="48" y="10"/>
                    <a:pt x="48" y="10"/>
                  </a:cubicBezTo>
                  <a:cubicBezTo>
                    <a:pt x="48" y="10"/>
                    <a:pt x="48" y="9"/>
                    <a:pt x="48" y="9"/>
                  </a:cubicBezTo>
                  <a:cubicBezTo>
                    <a:pt x="47" y="9"/>
                    <a:pt x="47" y="8"/>
                    <a:pt x="46" y="8"/>
                  </a:cubicBezTo>
                  <a:cubicBezTo>
                    <a:pt x="45" y="8"/>
                    <a:pt x="45" y="8"/>
                    <a:pt x="44" y="8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1" y="7"/>
                    <a:pt x="40" y="7"/>
                    <a:pt x="39" y="7"/>
                  </a:cubicBezTo>
                  <a:cubicBezTo>
                    <a:pt x="39" y="7"/>
                    <a:pt x="37" y="8"/>
                    <a:pt x="37" y="8"/>
                  </a:cubicBezTo>
                  <a:cubicBezTo>
                    <a:pt x="37" y="8"/>
                    <a:pt x="37" y="10"/>
                    <a:pt x="37" y="9"/>
                  </a:cubicBezTo>
                  <a:cubicBezTo>
                    <a:pt x="36" y="9"/>
                    <a:pt x="36" y="10"/>
                    <a:pt x="36" y="10"/>
                  </a:cubicBezTo>
                  <a:cubicBezTo>
                    <a:pt x="36" y="10"/>
                    <a:pt x="37" y="12"/>
                    <a:pt x="36" y="12"/>
                  </a:cubicBezTo>
                  <a:cubicBezTo>
                    <a:pt x="35" y="12"/>
                    <a:pt x="35" y="12"/>
                    <a:pt x="35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5" y="10"/>
                    <a:pt x="35" y="9"/>
                    <a:pt x="34" y="9"/>
                  </a:cubicBezTo>
                  <a:cubicBezTo>
                    <a:pt x="34" y="9"/>
                    <a:pt x="34" y="9"/>
                    <a:pt x="33" y="9"/>
                  </a:cubicBezTo>
                  <a:cubicBezTo>
                    <a:pt x="33" y="9"/>
                    <a:pt x="32" y="9"/>
                    <a:pt x="32" y="9"/>
                  </a:cubicBezTo>
                  <a:cubicBezTo>
                    <a:pt x="32" y="9"/>
                    <a:pt x="31" y="10"/>
                    <a:pt x="31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1"/>
                    <a:pt x="31" y="11"/>
                    <a:pt x="30" y="11"/>
                  </a:cubicBezTo>
                  <a:cubicBezTo>
                    <a:pt x="29" y="11"/>
                    <a:pt x="30" y="10"/>
                    <a:pt x="30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7"/>
                    <a:pt x="31" y="7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0" y="5"/>
                    <a:pt x="30" y="5"/>
                  </a:cubicBezTo>
                  <a:cubicBezTo>
                    <a:pt x="30" y="5"/>
                    <a:pt x="29" y="4"/>
                    <a:pt x="29" y="4"/>
                  </a:cubicBezTo>
                  <a:cubicBezTo>
                    <a:pt x="28" y="4"/>
                    <a:pt x="28" y="3"/>
                    <a:pt x="28" y="2"/>
                  </a:cubicBezTo>
                  <a:cubicBezTo>
                    <a:pt x="28" y="1"/>
                    <a:pt x="27" y="1"/>
                    <a:pt x="27" y="1"/>
                  </a:cubicBezTo>
                  <a:cubicBezTo>
                    <a:pt x="26" y="1"/>
                    <a:pt x="25" y="1"/>
                    <a:pt x="24" y="1"/>
                  </a:cubicBezTo>
                  <a:cubicBezTo>
                    <a:pt x="24" y="1"/>
                    <a:pt x="23" y="1"/>
                    <a:pt x="23" y="2"/>
                  </a:cubicBezTo>
                  <a:cubicBezTo>
                    <a:pt x="23" y="2"/>
                    <a:pt x="22" y="2"/>
                    <a:pt x="20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4"/>
                    <a:pt x="16" y="4"/>
                  </a:cubicBezTo>
                  <a:cubicBezTo>
                    <a:pt x="16" y="4"/>
                    <a:pt x="16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7"/>
                    <a:pt x="15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9"/>
                    <a:pt x="17" y="9"/>
                    <a:pt x="17" y="10"/>
                  </a:cubicBezTo>
                  <a:cubicBezTo>
                    <a:pt x="17" y="10"/>
                    <a:pt x="16" y="10"/>
                    <a:pt x="16" y="10"/>
                  </a:cubicBezTo>
                  <a:cubicBezTo>
                    <a:pt x="16" y="10"/>
                    <a:pt x="16" y="10"/>
                    <a:pt x="15" y="10"/>
                  </a:cubicBezTo>
                  <a:cubicBezTo>
                    <a:pt x="15" y="10"/>
                    <a:pt x="15" y="10"/>
                    <a:pt x="14" y="10"/>
                  </a:cubicBezTo>
                  <a:cubicBezTo>
                    <a:pt x="14" y="10"/>
                    <a:pt x="14" y="11"/>
                    <a:pt x="14" y="11"/>
                  </a:cubicBezTo>
                  <a:cubicBezTo>
                    <a:pt x="14" y="12"/>
                    <a:pt x="14" y="12"/>
                    <a:pt x="15" y="13"/>
                  </a:cubicBezTo>
                  <a:cubicBezTo>
                    <a:pt x="15" y="14"/>
                    <a:pt x="16" y="13"/>
                    <a:pt x="16" y="13"/>
                  </a:cubicBezTo>
                  <a:cubicBezTo>
                    <a:pt x="16" y="13"/>
                    <a:pt x="16" y="13"/>
                    <a:pt x="17" y="13"/>
                  </a:cubicBezTo>
                  <a:cubicBezTo>
                    <a:pt x="17" y="13"/>
                    <a:pt x="17" y="14"/>
                    <a:pt x="18" y="14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7" y="16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6"/>
                    <a:pt x="16" y="15"/>
                    <a:pt x="16" y="15"/>
                  </a:cubicBezTo>
                  <a:cubicBezTo>
                    <a:pt x="16" y="15"/>
                    <a:pt x="16" y="15"/>
                    <a:pt x="15" y="15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4" y="14"/>
                    <a:pt x="13" y="14"/>
                  </a:cubicBezTo>
                  <a:cubicBezTo>
                    <a:pt x="13" y="13"/>
                    <a:pt x="13" y="13"/>
                    <a:pt x="12" y="13"/>
                  </a:cubicBezTo>
                  <a:cubicBezTo>
                    <a:pt x="12" y="12"/>
                    <a:pt x="11" y="11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0"/>
                    <a:pt x="12" y="9"/>
                    <a:pt x="12" y="9"/>
                  </a:cubicBezTo>
                  <a:cubicBezTo>
                    <a:pt x="12" y="9"/>
                    <a:pt x="11" y="8"/>
                    <a:pt x="11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6"/>
                    <a:pt x="11" y="6"/>
                    <a:pt x="11" y="6"/>
                  </a:cubicBezTo>
                  <a:cubicBezTo>
                    <a:pt x="12" y="5"/>
                    <a:pt x="12" y="4"/>
                    <a:pt x="12" y="4"/>
                  </a:cubicBezTo>
                  <a:cubicBezTo>
                    <a:pt x="12" y="4"/>
                    <a:pt x="13" y="3"/>
                    <a:pt x="13" y="3"/>
                  </a:cubicBezTo>
                  <a:cubicBezTo>
                    <a:pt x="14" y="3"/>
                    <a:pt x="15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7" y="1"/>
                    <a:pt x="16" y="1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12" y="1"/>
                    <a:pt x="10" y="1"/>
                  </a:cubicBezTo>
                  <a:cubicBezTo>
                    <a:pt x="8" y="1"/>
                    <a:pt x="7" y="2"/>
                    <a:pt x="6" y="2"/>
                  </a:cubicBezTo>
                  <a:cubicBezTo>
                    <a:pt x="5" y="2"/>
                    <a:pt x="4" y="3"/>
                    <a:pt x="3" y="4"/>
                  </a:cubicBezTo>
                  <a:cubicBezTo>
                    <a:pt x="3" y="4"/>
                    <a:pt x="2" y="6"/>
                    <a:pt x="2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11"/>
                    <a:pt x="1" y="11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0" y="14"/>
                    <a:pt x="1" y="15"/>
                    <a:pt x="1" y="15"/>
                  </a:cubicBezTo>
                  <a:cubicBezTo>
                    <a:pt x="1" y="16"/>
                    <a:pt x="2" y="16"/>
                    <a:pt x="3" y="16"/>
                  </a:cubicBezTo>
                  <a:cubicBezTo>
                    <a:pt x="3" y="16"/>
                    <a:pt x="5" y="16"/>
                    <a:pt x="6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8" y="16"/>
                  </a:cubicBezTo>
                  <a:cubicBezTo>
                    <a:pt x="9" y="17"/>
                    <a:pt x="9" y="17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8"/>
                    <a:pt x="7" y="18"/>
                    <a:pt x="5" y="18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7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9"/>
                    <a:pt x="3" y="19"/>
                    <a:pt x="3" y="19"/>
                  </a:cubicBezTo>
                  <a:cubicBezTo>
                    <a:pt x="3" y="20"/>
                    <a:pt x="3" y="20"/>
                    <a:pt x="5" y="21"/>
                  </a:cubicBezTo>
                  <a:cubicBezTo>
                    <a:pt x="7" y="23"/>
                    <a:pt x="7" y="22"/>
                    <a:pt x="8" y="21"/>
                  </a:cubicBezTo>
                  <a:cubicBezTo>
                    <a:pt x="9" y="21"/>
                    <a:pt x="11" y="21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2"/>
                    <a:pt x="13" y="23"/>
                    <a:pt x="13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5" y="23"/>
                    <a:pt x="16" y="23"/>
                    <a:pt x="17" y="23"/>
                  </a:cubicBezTo>
                  <a:cubicBezTo>
                    <a:pt x="17" y="23"/>
                    <a:pt x="19" y="23"/>
                    <a:pt x="20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2" y="23"/>
                    <a:pt x="23" y="23"/>
                    <a:pt x="23" y="23"/>
                  </a:cubicBezTo>
                  <a:cubicBezTo>
                    <a:pt x="24" y="24"/>
                    <a:pt x="24" y="24"/>
                    <a:pt x="25" y="24"/>
                  </a:cubicBezTo>
                  <a:cubicBezTo>
                    <a:pt x="25" y="24"/>
                    <a:pt x="26" y="24"/>
                    <a:pt x="27" y="24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28" y="23"/>
                    <a:pt x="27" y="23"/>
                  </a:cubicBezTo>
                  <a:cubicBezTo>
                    <a:pt x="27" y="22"/>
                    <a:pt x="29" y="23"/>
                    <a:pt x="29" y="23"/>
                  </a:cubicBezTo>
                  <a:cubicBezTo>
                    <a:pt x="29" y="23"/>
                    <a:pt x="31" y="23"/>
                    <a:pt x="32" y="23"/>
                  </a:cubicBezTo>
                  <a:cubicBezTo>
                    <a:pt x="32" y="23"/>
                    <a:pt x="33" y="23"/>
                    <a:pt x="34" y="24"/>
                  </a:cubicBezTo>
                  <a:cubicBezTo>
                    <a:pt x="34" y="24"/>
                    <a:pt x="36" y="24"/>
                    <a:pt x="36" y="23"/>
                  </a:cubicBezTo>
                  <a:cubicBezTo>
                    <a:pt x="36" y="23"/>
                    <a:pt x="36" y="23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5" y="21"/>
                    <a:pt x="35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0"/>
                    <a:pt x="34" y="20"/>
                  </a:cubicBezTo>
                  <a:cubicBezTo>
                    <a:pt x="35" y="20"/>
                    <a:pt x="35" y="20"/>
                    <a:pt x="36" y="21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1"/>
                    <a:pt x="38" y="22"/>
                    <a:pt x="39" y="22"/>
                  </a:cubicBezTo>
                  <a:cubicBezTo>
                    <a:pt x="39" y="22"/>
                    <a:pt x="40" y="23"/>
                    <a:pt x="40" y="23"/>
                  </a:cubicBezTo>
                  <a:cubicBezTo>
                    <a:pt x="40" y="24"/>
                    <a:pt x="41" y="24"/>
                    <a:pt x="41" y="25"/>
                  </a:cubicBezTo>
                  <a:cubicBezTo>
                    <a:pt x="42" y="25"/>
                    <a:pt x="43" y="26"/>
                    <a:pt x="44" y="26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6" y="28"/>
                    <a:pt x="46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3" y="28"/>
                    <a:pt x="43" y="28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4" y="31"/>
                    <a:pt x="44" y="30"/>
                    <a:pt x="45" y="30"/>
                  </a:cubicBezTo>
                  <a:cubicBezTo>
                    <a:pt x="45" y="30"/>
                    <a:pt x="46" y="30"/>
                    <a:pt x="46" y="30"/>
                  </a:cubicBezTo>
                  <a:cubicBezTo>
                    <a:pt x="47" y="30"/>
                    <a:pt x="47" y="30"/>
                    <a:pt x="48" y="30"/>
                  </a:cubicBezTo>
                  <a:cubicBezTo>
                    <a:pt x="48" y="30"/>
                    <a:pt x="48" y="30"/>
                    <a:pt x="49" y="30"/>
                  </a:cubicBezTo>
                  <a:cubicBezTo>
                    <a:pt x="50" y="30"/>
                    <a:pt x="51" y="31"/>
                    <a:pt x="51" y="32"/>
                  </a:cubicBezTo>
                  <a:cubicBezTo>
                    <a:pt x="52" y="32"/>
                    <a:pt x="53" y="33"/>
                    <a:pt x="54" y="33"/>
                  </a:cubicBezTo>
                  <a:cubicBezTo>
                    <a:pt x="55" y="34"/>
                    <a:pt x="55" y="35"/>
                    <a:pt x="55" y="35"/>
                  </a:cubicBezTo>
                  <a:cubicBezTo>
                    <a:pt x="56" y="36"/>
                    <a:pt x="56" y="37"/>
                    <a:pt x="57" y="37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39"/>
                    <a:pt x="57" y="39"/>
                    <a:pt x="56" y="39"/>
                  </a:cubicBezTo>
                  <a:cubicBezTo>
                    <a:pt x="56" y="39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6" y="41"/>
                    <a:pt x="56" y="41"/>
                    <a:pt x="57" y="41"/>
                  </a:cubicBezTo>
                  <a:cubicBezTo>
                    <a:pt x="57" y="41"/>
                    <a:pt x="58" y="41"/>
                    <a:pt x="59" y="41"/>
                  </a:cubicBezTo>
                  <a:cubicBezTo>
                    <a:pt x="59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0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60" y="39"/>
                    <a:pt x="61" y="40"/>
                    <a:pt x="61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1"/>
                    <a:pt x="64" y="41"/>
                    <a:pt x="65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3"/>
                    <a:pt x="66" y="44"/>
                    <a:pt x="65" y="45"/>
                  </a:cubicBezTo>
                  <a:cubicBezTo>
                    <a:pt x="65" y="44"/>
                    <a:pt x="65" y="44"/>
                    <a:pt x="65" y="44"/>
                  </a:cubicBezTo>
                  <a:cubicBezTo>
                    <a:pt x="64" y="44"/>
                    <a:pt x="63" y="44"/>
                    <a:pt x="62" y="44"/>
                  </a:cubicBezTo>
                  <a:cubicBezTo>
                    <a:pt x="62" y="44"/>
                    <a:pt x="62" y="46"/>
                    <a:pt x="61" y="46"/>
                  </a:cubicBezTo>
                  <a:cubicBezTo>
                    <a:pt x="61" y="46"/>
                    <a:pt x="60" y="45"/>
                    <a:pt x="60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4"/>
                    <a:pt x="60" y="43"/>
                    <a:pt x="59" y="42"/>
                  </a:cubicBezTo>
                  <a:cubicBezTo>
                    <a:pt x="59" y="42"/>
                    <a:pt x="58" y="42"/>
                    <a:pt x="57" y="42"/>
                  </a:cubicBezTo>
                  <a:cubicBezTo>
                    <a:pt x="56" y="42"/>
                    <a:pt x="55" y="42"/>
                    <a:pt x="54" y="42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7"/>
                    <a:pt x="52" y="48"/>
                    <a:pt x="52" y="49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1" y="49"/>
                    <a:pt x="51" y="49"/>
                    <a:pt x="50" y="49"/>
                  </a:cubicBezTo>
                  <a:cubicBezTo>
                    <a:pt x="49" y="49"/>
                    <a:pt x="48" y="49"/>
                    <a:pt x="47" y="50"/>
                  </a:cubicBezTo>
                  <a:cubicBezTo>
                    <a:pt x="46" y="50"/>
                    <a:pt x="45" y="49"/>
                    <a:pt x="45" y="49"/>
                  </a:cubicBezTo>
                  <a:cubicBezTo>
                    <a:pt x="44" y="49"/>
                    <a:pt x="43" y="49"/>
                    <a:pt x="43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1" y="49"/>
                    <a:pt x="40" y="50"/>
                    <a:pt x="40" y="50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8" y="51"/>
                    <a:pt x="38" y="54"/>
                    <a:pt x="38" y="54"/>
                  </a:cubicBezTo>
                  <a:cubicBezTo>
                    <a:pt x="38" y="54"/>
                    <a:pt x="39" y="54"/>
                    <a:pt x="41" y="55"/>
                  </a:cubicBezTo>
                  <a:cubicBezTo>
                    <a:pt x="43" y="56"/>
                    <a:pt x="43" y="55"/>
                    <a:pt x="43" y="55"/>
                  </a:cubicBezTo>
                  <a:cubicBezTo>
                    <a:pt x="44" y="55"/>
                    <a:pt x="45" y="54"/>
                    <a:pt x="46" y="54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8" y="54"/>
                    <a:pt x="49" y="54"/>
                    <a:pt x="49" y="5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3"/>
                    <a:pt x="50" y="53"/>
                    <a:pt x="50" y="53"/>
                  </a:cubicBezTo>
                  <a:cubicBezTo>
                    <a:pt x="51" y="53"/>
                    <a:pt x="51" y="53"/>
                    <a:pt x="51" y="53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51" y="53"/>
                    <a:pt x="52" y="53"/>
                    <a:pt x="52" y="53"/>
                  </a:cubicBezTo>
                  <a:cubicBezTo>
                    <a:pt x="53" y="53"/>
                    <a:pt x="53" y="54"/>
                    <a:pt x="53" y="54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5" y="56"/>
                    <a:pt x="56" y="57"/>
                    <a:pt x="56" y="57"/>
                  </a:cubicBezTo>
                  <a:cubicBezTo>
                    <a:pt x="57" y="57"/>
                    <a:pt x="57" y="57"/>
                    <a:pt x="58" y="58"/>
                  </a:cubicBezTo>
                  <a:cubicBezTo>
                    <a:pt x="59" y="58"/>
                    <a:pt x="59" y="59"/>
                    <a:pt x="60" y="59"/>
                  </a:cubicBezTo>
                  <a:cubicBezTo>
                    <a:pt x="60" y="59"/>
                    <a:pt x="59" y="59"/>
                    <a:pt x="59" y="60"/>
                  </a:cubicBezTo>
                  <a:cubicBezTo>
                    <a:pt x="58" y="60"/>
                    <a:pt x="58" y="60"/>
                    <a:pt x="58" y="60"/>
                  </a:cubicBezTo>
                  <a:cubicBezTo>
                    <a:pt x="59" y="60"/>
                    <a:pt x="60" y="61"/>
                    <a:pt x="61" y="62"/>
                  </a:cubicBezTo>
                  <a:cubicBezTo>
                    <a:pt x="61" y="63"/>
                    <a:pt x="63" y="63"/>
                    <a:pt x="63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5" y="63"/>
                    <a:pt x="66" y="63"/>
                    <a:pt x="66" y="63"/>
                  </a:cubicBezTo>
                  <a:cubicBezTo>
                    <a:pt x="66" y="64"/>
                    <a:pt x="67" y="65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9" y="66"/>
                    <a:pt x="72" y="66"/>
                    <a:pt x="72" y="67"/>
                  </a:cubicBezTo>
                  <a:cubicBezTo>
                    <a:pt x="73" y="67"/>
                    <a:pt x="73" y="67"/>
                    <a:pt x="76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7" y="67"/>
                    <a:pt x="77" y="66"/>
                    <a:pt x="76" y="66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4" y="63"/>
                    <a:pt x="73" y="63"/>
                    <a:pt x="72" y="63"/>
                  </a:cubicBezTo>
                  <a:cubicBezTo>
                    <a:pt x="72" y="63"/>
                    <a:pt x="72" y="63"/>
                    <a:pt x="72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0" y="61"/>
                    <a:pt x="69" y="59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7"/>
                    <a:pt x="68" y="58"/>
                    <a:pt x="69" y="58"/>
                  </a:cubicBezTo>
                  <a:cubicBezTo>
                    <a:pt x="69" y="58"/>
                    <a:pt x="71" y="58"/>
                    <a:pt x="71" y="59"/>
                  </a:cubicBezTo>
                  <a:cubicBezTo>
                    <a:pt x="71" y="59"/>
                    <a:pt x="72" y="59"/>
                    <a:pt x="72" y="59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4" y="60"/>
                    <a:pt x="75" y="61"/>
                    <a:pt x="76" y="62"/>
                  </a:cubicBezTo>
                  <a:cubicBezTo>
                    <a:pt x="76" y="62"/>
                    <a:pt x="77" y="62"/>
                    <a:pt x="78" y="63"/>
                  </a:cubicBezTo>
                  <a:cubicBezTo>
                    <a:pt x="80" y="63"/>
                    <a:pt x="79" y="64"/>
                    <a:pt x="79" y="64"/>
                  </a:cubicBezTo>
                  <a:cubicBezTo>
                    <a:pt x="80" y="64"/>
                    <a:pt x="80" y="64"/>
                    <a:pt x="80" y="64"/>
                  </a:cubicBezTo>
                  <a:cubicBezTo>
                    <a:pt x="80" y="64"/>
                    <a:pt x="80" y="63"/>
                    <a:pt x="80" y="63"/>
                  </a:cubicBezTo>
                  <a:cubicBezTo>
                    <a:pt x="80" y="62"/>
                    <a:pt x="80" y="62"/>
                    <a:pt x="81" y="63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1"/>
                    <a:pt x="80" y="61"/>
                  </a:cubicBezTo>
                  <a:cubicBezTo>
                    <a:pt x="80" y="61"/>
                    <a:pt x="80" y="61"/>
                    <a:pt x="80" y="61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1" y="60"/>
                    <a:pt x="82" y="60"/>
                    <a:pt x="82" y="60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2" y="58"/>
                    <a:pt x="81" y="58"/>
                    <a:pt x="81" y="58"/>
                  </a:cubicBezTo>
                  <a:cubicBezTo>
                    <a:pt x="81" y="58"/>
                    <a:pt x="81" y="57"/>
                    <a:pt x="80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79" y="55"/>
                    <a:pt x="79" y="55"/>
                    <a:pt x="80" y="54"/>
                  </a:cubicBezTo>
                  <a:cubicBezTo>
                    <a:pt x="80" y="54"/>
                    <a:pt x="80" y="54"/>
                    <a:pt x="79" y="54"/>
                  </a:cubicBezTo>
                  <a:cubicBezTo>
                    <a:pt x="79" y="54"/>
                    <a:pt x="78" y="54"/>
                    <a:pt x="78" y="53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8" y="52"/>
                    <a:pt x="78" y="53"/>
                    <a:pt x="77" y="52"/>
                  </a:cubicBezTo>
                  <a:cubicBezTo>
                    <a:pt x="76" y="52"/>
                    <a:pt x="76" y="52"/>
                    <a:pt x="76" y="51"/>
                  </a:cubicBezTo>
                  <a:cubicBezTo>
                    <a:pt x="75" y="51"/>
                    <a:pt x="74" y="50"/>
                    <a:pt x="74" y="49"/>
                  </a:cubicBezTo>
                  <a:cubicBezTo>
                    <a:pt x="74" y="49"/>
                    <a:pt x="73" y="49"/>
                    <a:pt x="72" y="49"/>
                  </a:cubicBezTo>
                  <a:cubicBezTo>
                    <a:pt x="72" y="49"/>
                    <a:pt x="72" y="49"/>
                    <a:pt x="72" y="48"/>
                  </a:cubicBezTo>
                  <a:cubicBezTo>
                    <a:pt x="71" y="48"/>
                    <a:pt x="71" y="48"/>
                    <a:pt x="70" y="47"/>
                  </a:cubicBezTo>
                  <a:cubicBezTo>
                    <a:pt x="70" y="46"/>
                    <a:pt x="70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2" y="46"/>
                    <a:pt x="72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5" y="46"/>
                    <a:pt x="73" y="46"/>
                    <a:pt x="72" y="45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1" y="43"/>
                    <a:pt x="71" y="43"/>
                  </a:cubicBezTo>
                  <a:cubicBezTo>
                    <a:pt x="71" y="43"/>
                    <a:pt x="71" y="43"/>
                    <a:pt x="72" y="44"/>
                  </a:cubicBezTo>
                  <a:cubicBezTo>
                    <a:pt x="72" y="44"/>
                    <a:pt x="73" y="44"/>
                    <a:pt x="73" y="44"/>
                  </a:cubicBezTo>
                  <a:cubicBezTo>
                    <a:pt x="74" y="45"/>
                    <a:pt x="73" y="44"/>
                    <a:pt x="73" y="43"/>
                  </a:cubicBezTo>
                  <a:cubicBezTo>
                    <a:pt x="73" y="43"/>
                    <a:pt x="74" y="43"/>
                    <a:pt x="74" y="42"/>
                  </a:cubicBezTo>
                  <a:cubicBezTo>
                    <a:pt x="74" y="42"/>
                    <a:pt x="74" y="43"/>
                    <a:pt x="75" y="43"/>
                  </a:cubicBezTo>
                  <a:cubicBezTo>
                    <a:pt x="75" y="43"/>
                    <a:pt x="76" y="44"/>
                    <a:pt x="77" y="45"/>
                  </a:cubicBezTo>
                  <a:cubicBezTo>
                    <a:pt x="78" y="47"/>
                    <a:pt x="77" y="46"/>
                    <a:pt x="78" y="46"/>
                  </a:cubicBezTo>
                  <a:cubicBezTo>
                    <a:pt x="78" y="46"/>
                    <a:pt x="79" y="45"/>
                    <a:pt x="80" y="44"/>
                  </a:cubicBezTo>
                  <a:cubicBezTo>
                    <a:pt x="82" y="44"/>
                    <a:pt x="81" y="44"/>
                    <a:pt x="81" y="44"/>
                  </a:cubicBezTo>
                  <a:cubicBezTo>
                    <a:pt x="82" y="44"/>
                    <a:pt x="81" y="45"/>
                    <a:pt x="81" y="45"/>
                  </a:cubicBezTo>
                  <a:cubicBezTo>
                    <a:pt x="80" y="46"/>
                    <a:pt x="80" y="46"/>
                    <a:pt x="79" y="46"/>
                  </a:cubicBezTo>
                  <a:cubicBezTo>
                    <a:pt x="78" y="47"/>
                    <a:pt x="79" y="47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80" y="49"/>
                    <a:pt x="81" y="49"/>
                    <a:pt x="81" y="49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81" y="50"/>
                    <a:pt x="82" y="50"/>
                    <a:pt x="82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1"/>
                    <a:pt x="84" y="51"/>
                  </a:cubicBezTo>
                  <a:cubicBezTo>
                    <a:pt x="84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49"/>
                    <a:pt x="85" y="48"/>
                    <a:pt x="85" y="48"/>
                  </a:cubicBezTo>
                  <a:cubicBezTo>
                    <a:pt x="85" y="47"/>
                    <a:pt x="85" y="47"/>
                    <a:pt x="86" y="47"/>
                  </a:cubicBezTo>
                  <a:cubicBezTo>
                    <a:pt x="86" y="47"/>
                    <a:pt x="87" y="47"/>
                    <a:pt x="87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8" y="47"/>
                    <a:pt x="89" y="46"/>
                    <a:pt x="90" y="46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0" y="46"/>
                    <a:pt x="90" y="46"/>
                    <a:pt x="89" y="45"/>
                  </a:cubicBezTo>
                  <a:cubicBezTo>
                    <a:pt x="88" y="44"/>
                    <a:pt x="88" y="45"/>
                    <a:pt x="88" y="44"/>
                  </a:cubicBezTo>
                  <a:cubicBezTo>
                    <a:pt x="88" y="44"/>
                    <a:pt x="88" y="44"/>
                    <a:pt x="88" y="44"/>
                  </a:cubicBezTo>
                  <a:cubicBezTo>
                    <a:pt x="88" y="44"/>
                    <a:pt x="89" y="44"/>
                    <a:pt x="90" y="44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91" y="44"/>
                    <a:pt x="91" y="44"/>
                    <a:pt x="92" y="43"/>
                  </a:cubicBezTo>
                  <a:cubicBezTo>
                    <a:pt x="92" y="43"/>
                    <a:pt x="92" y="43"/>
                    <a:pt x="91" y="42"/>
                  </a:cubicBezTo>
                  <a:cubicBezTo>
                    <a:pt x="91" y="40"/>
                    <a:pt x="90" y="40"/>
                    <a:pt x="90" y="40"/>
                  </a:cubicBezTo>
                  <a:cubicBezTo>
                    <a:pt x="89" y="39"/>
                    <a:pt x="89" y="40"/>
                    <a:pt x="89" y="41"/>
                  </a:cubicBezTo>
                  <a:cubicBezTo>
                    <a:pt x="89" y="41"/>
                    <a:pt x="88" y="41"/>
                    <a:pt x="88" y="41"/>
                  </a:cubicBezTo>
                  <a:cubicBezTo>
                    <a:pt x="87" y="41"/>
                    <a:pt x="87" y="41"/>
                    <a:pt x="86" y="40"/>
                  </a:cubicBezTo>
                  <a:cubicBezTo>
                    <a:pt x="85" y="40"/>
                    <a:pt x="86" y="40"/>
                    <a:pt x="86" y="39"/>
                  </a:cubicBezTo>
                  <a:cubicBezTo>
                    <a:pt x="87" y="39"/>
                    <a:pt x="87" y="39"/>
                    <a:pt x="87" y="39"/>
                  </a:cubicBezTo>
                  <a:cubicBezTo>
                    <a:pt x="86" y="39"/>
                    <a:pt x="86" y="39"/>
                    <a:pt x="85" y="39"/>
                  </a:cubicBezTo>
                  <a:cubicBezTo>
                    <a:pt x="85" y="39"/>
                    <a:pt x="84" y="39"/>
                    <a:pt x="84" y="39"/>
                  </a:cubicBezTo>
                  <a:cubicBezTo>
                    <a:pt x="84" y="38"/>
                    <a:pt x="84" y="38"/>
                    <a:pt x="84" y="38"/>
                  </a:cubicBezTo>
                  <a:cubicBezTo>
                    <a:pt x="83" y="38"/>
                    <a:pt x="82" y="36"/>
                    <a:pt x="82" y="36"/>
                  </a:cubicBezTo>
                  <a:cubicBezTo>
                    <a:pt x="81" y="36"/>
                    <a:pt x="81" y="35"/>
                    <a:pt x="81" y="35"/>
                  </a:cubicBezTo>
                  <a:cubicBezTo>
                    <a:pt x="80" y="34"/>
                    <a:pt x="79" y="34"/>
                    <a:pt x="78" y="34"/>
                  </a:cubicBezTo>
                  <a:cubicBezTo>
                    <a:pt x="77" y="35"/>
                    <a:pt x="78" y="34"/>
                    <a:pt x="76" y="34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5" y="34"/>
                    <a:pt x="74" y="33"/>
                    <a:pt x="74" y="33"/>
                  </a:cubicBezTo>
                  <a:cubicBezTo>
                    <a:pt x="74" y="33"/>
                    <a:pt x="74" y="32"/>
                    <a:pt x="73" y="32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3" y="32"/>
                    <a:pt x="72" y="31"/>
                    <a:pt x="72" y="31"/>
                  </a:cubicBezTo>
                  <a:cubicBezTo>
                    <a:pt x="72" y="31"/>
                    <a:pt x="71" y="31"/>
                    <a:pt x="71" y="31"/>
                  </a:cubicBezTo>
                  <a:cubicBezTo>
                    <a:pt x="71" y="31"/>
                    <a:pt x="72" y="30"/>
                    <a:pt x="72" y="30"/>
                  </a:cubicBezTo>
                  <a:cubicBezTo>
                    <a:pt x="72" y="30"/>
                    <a:pt x="70" y="28"/>
                    <a:pt x="70" y="28"/>
                  </a:cubicBezTo>
                  <a:cubicBezTo>
                    <a:pt x="70" y="28"/>
                    <a:pt x="70" y="28"/>
                    <a:pt x="71" y="28"/>
                  </a:cubicBezTo>
                  <a:cubicBezTo>
                    <a:pt x="71" y="28"/>
                    <a:pt x="72" y="28"/>
                    <a:pt x="73" y="28"/>
                  </a:cubicBezTo>
                  <a:cubicBezTo>
                    <a:pt x="73" y="28"/>
                    <a:pt x="74" y="28"/>
                    <a:pt x="74" y="28"/>
                  </a:cubicBezTo>
                  <a:cubicBezTo>
                    <a:pt x="75" y="29"/>
                    <a:pt x="75" y="28"/>
                    <a:pt x="75" y="27"/>
                  </a:cubicBezTo>
                  <a:cubicBezTo>
                    <a:pt x="75" y="27"/>
                    <a:pt x="74" y="27"/>
                    <a:pt x="73" y="27"/>
                  </a:cubicBezTo>
                  <a:cubicBezTo>
                    <a:pt x="73" y="27"/>
                    <a:pt x="70" y="27"/>
                    <a:pt x="70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5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1" y="25"/>
                    <a:pt x="72" y="25"/>
                    <a:pt x="72" y="25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3" y="25"/>
                    <a:pt x="73" y="24"/>
                    <a:pt x="73" y="24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0" y="20"/>
                    <a:pt x="70" y="21"/>
                    <a:pt x="70" y="21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9" y="20"/>
                    <a:pt x="69" y="20"/>
                  </a:cubicBezTo>
                  <a:cubicBezTo>
                    <a:pt x="69" y="20"/>
                    <a:pt x="69" y="20"/>
                    <a:pt x="68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6" y="19"/>
                    <a:pt x="65" y="18"/>
                    <a:pt x="64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9"/>
                    <a:pt x="62" y="19"/>
                    <a:pt x="62" y="18"/>
                  </a:cubicBezTo>
                  <a:cubicBezTo>
                    <a:pt x="62" y="18"/>
                    <a:pt x="62" y="18"/>
                    <a:pt x="62" y="17"/>
                  </a:cubicBezTo>
                  <a:cubicBezTo>
                    <a:pt x="63" y="17"/>
                    <a:pt x="62" y="17"/>
                    <a:pt x="61" y="17"/>
                  </a:cubicBezTo>
                  <a:cubicBezTo>
                    <a:pt x="61" y="17"/>
                    <a:pt x="60" y="17"/>
                    <a:pt x="60" y="17"/>
                  </a:cubicBezTo>
                  <a:cubicBezTo>
                    <a:pt x="60" y="16"/>
                    <a:pt x="61" y="16"/>
                    <a:pt x="60" y="16"/>
                  </a:cubicBezTo>
                  <a:cubicBezTo>
                    <a:pt x="60" y="15"/>
                    <a:pt x="60" y="15"/>
                    <a:pt x="59" y="14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7" name="Freeform 299">
              <a:extLst>
                <a:ext uri="{FF2B5EF4-FFF2-40B4-BE49-F238E27FC236}">
                  <a16:creationId xmlns:a16="http://schemas.microsoft.com/office/drawing/2014/main" id="{DD6F5D72-4BE7-4C7C-93BC-7CD6EFA4B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5" y="1784"/>
              <a:ext cx="38" cy="17"/>
            </a:xfrm>
            <a:custGeom>
              <a:avLst/>
              <a:gdLst>
                <a:gd name="T0" fmla="*/ 1 w 16"/>
                <a:gd name="T1" fmla="*/ 3 h 7"/>
                <a:gd name="T2" fmla="*/ 2 w 16"/>
                <a:gd name="T3" fmla="*/ 3 h 7"/>
                <a:gd name="T4" fmla="*/ 3 w 16"/>
                <a:gd name="T5" fmla="*/ 4 h 7"/>
                <a:gd name="T6" fmla="*/ 4 w 16"/>
                <a:gd name="T7" fmla="*/ 6 h 7"/>
                <a:gd name="T8" fmla="*/ 7 w 16"/>
                <a:gd name="T9" fmla="*/ 6 h 7"/>
                <a:gd name="T10" fmla="*/ 8 w 16"/>
                <a:gd name="T11" fmla="*/ 5 h 7"/>
                <a:gd name="T12" fmla="*/ 12 w 16"/>
                <a:gd name="T13" fmla="*/ 5 h 7"/>
                <a:gd name="T14" fmla="*/ 15 w 16"/>
                <a:gd name="T15" fmla="*/ 5 h 7"/>
                <a:gd name="T16" fmla="*/ 15 w 16"/>
                <a:gd name="T17" fmla="*/ 5 h 7"/>
                <a:gd name="T18" fmla="*/ 15 w 16"/>
                <a:gd name="T19" fmla="*/ 4 h 7"/>
                <a:gd name="T20" fmla="*/ 13 w 16"/>
                <a:gd name="T21" fmla="*/ 3 h 7"/>
                <a:gd name="T22" fmla="*/ 11 w 16"/>
                <a:gd name="T23" fmla="*/ 1 h 7"/>
                <a:gd name="T24" fmla="*/ 9 w 16"/>
                <a:gd name="T25" fmla="*/ 1 h 7"/>
                <a:gd name="T26" fmla="*/ 5 w 16"/>
                <a:gd name="T27" fmla="*/ 1 h 7"/>
                <a:gd name="T28" fmla="*/ 4 w 16"/>
                <a:gd name="T29" fmla="*/ 1 h 7"/>
                <a:gd name="T30" fmla="*/ 4 w 16"/>
                <a:gd name="T31" fmla="*/ 0 h 7"/>
                <a:gd name="T32" fmla="*/ 3 w 16"/>
                <a:gd name="T33" fmla="*/ 0 h 7"/>
                <a:gd name="T34" fmla="*/ 2 w 16"/>
                <a:gd name="T35" fmla="*/ 0 h 7"/>
                <a:gd name="T36" fmla="*/ 2 w 16"/>
                <a:gd name="T37" fmla="*/ 0 h 7"/>
                <a:gd name="T38" fmla="*/ 0 w 16"/>
                <a:gd name="T39" fmla="*/ 0 h 7"/>
                <a:gd name="T40" fmla="*/ 0 w 16"/>
                <a:gd name="T41" fmla="*/ 0 h 7"/>
                <a:gd name="T42" fmla="*/ 1 w 16"/>
                <a:gd name="T43" fmla="*/ 2 h 7"/>
                <a:gd name="T44" fmla="*/ 1 w 16"/>
                <a:gd name="T4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" h="7">
                  <a:moveTo>
                    <a:pt x="1" y="3"/>
                  </a:move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3" y="4"/>
                    <a:pt x="3" y="4"/>
                  </a:cubicBezTo>
                  <a:cubicBezTo>
                    <a:pt x="3" y="4"/>
                    <a:pt x="3" y="6"/>
                    <a:pt x="4" y="6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9" y="5"/>
                    <a:pt x="11" y="5"/>
                    <a:pt x="12" y="5"/>
                  </a:cubicBezTo>
                  <a:cubicBezTo>
                    <a:pt x="14" y="5"/>
                    <a:pt x="15" y="5"/>
                    <a:pt x="15" y="5"/>
                  </a:cubicBezTo>
                  <a:cubicBezTo>
                    <a:pt x="15" y="5"/>
                    <a:pt x="16" y="5"/>
                    <a:pt x="15" y="5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4" y="3"/>
                    <a:pt x="13" y="3"/>
                  </a:cubicBezTo>
                  <a:cubicBezTo>
                    <a:pt x="12" y="2"/>
                    <a:pt x="12" y="2"/>
                    <a:pt x="11" y="1"/>
                  </a:cubicBezTo>
                  <a:cubicBezTo>
                    <a:pt x="11" y="1"/>
                    <a:pt x="9" y="1"/>
                    <a:pt x="9" y="1"/>
                  </a:cubicBezTo>
                  <a:cubicBezTo>
                    <a:pt x="8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0" y="2"/>
                    <a:pt x="0" y="2"/>
                    <a:pt x="1" y="3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8" name="Freeform 300">
              <a:extLst>
                <a:ext uri="{FF2B5EF4-FFF2-40B4-BE49-F238E27FC236}">
                  <a16:creationId xmlns:a16="http://schemas.microsoft.com/office/drawing/2014/main" id="{2000B480-CF72-4435-BD0E-309BC85C9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1761"/>
              <a:ext cx="11" cy="7"/>
            </a:xfrm>
            <a:custGeom>
              <a:avLst/>
              <a:gdLst>
                <a:gd name="T0" fmla="*/ 1 w 5"/>
                <a:gd name="T1" fmla="*/ 1 h 3"/>
                <a:gd name="T2" fmla="*/ 1 w 5"/>
                <a:gd name="T3" fmla="*/ 2 h 3"/>
                <a:gd name="T4" fmla="*/ 2 w 5"/>
                <a:gd name="T5" fmla="*/ 2 h 3"/>
                <a:gd name="T6" fmla="*/ 4 w 5"/>
                <a:gd name="T7" fmla="*/ 2 h 3"/>
                <a:gd name="T8" fmla="*/ 4 w 5"/>
                <a:gd name="T9" fmla="*/ 2 h 3"/>
                <a:gd name="T10" fmla="*/ 5 w 5"/>
                <a:gd name="T11" fmla="*/ 2 h 3"/>
                <a:gd name="T12" fmla="*/ 4 w 5"/>
                <a:gd name="T13" fmla="*/ 1 h 3"/>
                <a:gd name="T14" fmla="*/ 3 w 5"/>
                <a:gd name="T15" fmla="*/ 0 h 3"/>
                <a:gd name="T16" fmla="*/ 2 w 5"/>
                <a:gd name="T17" fmla="*/ 0 h 3"/>
                <a:gd name="T18" fmla="*/ 1 w 5"/>
                <a:gd name="T19" fmla="*/ 0 h 3"/>
                <a:gd name="T20" fmla="*/ 1 w 5"/>
                <a:gd name="T2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3">
                  <a:moveTo>
                    <a:pt x="1" y="1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3" y="2"/>
                    <a:pt x="3" y="3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1"/>
                    <a:pt x="0" y="1"/>
                    <a:pt x="1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9" name="Freeform 301">
              <a:extLst>
                <a:ext uri="{FF2B5EF4-FFF2-40B4-BE49-F238E27FC236}">
                  <a16:creationId xmlns:a16="http://schemas.microsoft.com/office/drawing/2014/main" id="{621360F7-2783-47D4-85E0-F5049BB119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5" y="1739"/>
              <a:ext cx="95" cy="36"/>
            </a:xfrm>
            <a:custGeom>
              <a:avLst/>
              <a:gdLst>
                <a:gd name="T0" fmla="*/ 14 w 40"/>
                <a:gd name="T1" fmla="*/ 4 h 15"/>
                <a:gd name="T2" fmla="*/ 12 w 40"/>
                <a:gd name="T3" fmla="*/ 3 h 15"/>
                <a:gd name="T4" fmla="*/ 10 w 40"/>
                <a:gd name="T5" fmla="*/ 2 h 15"/>
                <a:gd name="T6" fmla="*/ 7 w 40"/>
                <a:gd name="T7" fmla="*/ 3 h 15"/>
                <a:gd name="T8" fmla="*/ 5 w 40"/>
                <a:gd name="T9" fmla="*/ 4 h 15"/>
                <a:gd name="T10" fmla="*/ 4 w 40"/>
                <a:gd name="T11" fmla="*/ 6 h 15"/>
                <a:gd name="T12" fmla="*/ 8 w 40"/>
                <a:gd name="T13" fmla="*/ 6 h 15"/>
                <a:gd name="T14" fmla="*/ 8 w 40"/>
                <a:gd name="T15" fmla="*/ 6 h 15"/>
                <a:gd name="T16" fmla="*/ 3 w 40"/>
                <a:gd name="T17" fmla="*/ 7 h 15"/>
                <a:gd name="T18" fmla="*/ 4 w 40"/>
                <a:gd name="T19" fmla="*/ 8 h 15"/>
                <a:gd name="T20" fmla="*/ 8 w 40"/>
                <a:gd name="T21" fmla="*/ 8 h 15"/>
                <a:gd name="T22" fmla="*/ 2 w 40"/>
                <a:gd name="T23" fmla="*/ 9 h 15"/>
                <a:gd name="T24" fmla="*/ 1 w 40"/>
                <a:gd name="T25" fmla="*/ 9 h 15"/>
                <a:gd name="T26" fmla="*/ 2 w 40"/>
                <a:gd name="T27" fmla="*/ 11 h 15"/>
                <a:gd name="T28" fmla="*/ 5 w 40"/>
                <a:gd name="T29" fmla="*/ 11 h 15"/>
                <a:gd name="T30" fmla="*/ 6 w 40"/>
                <a:gd name="T31" fmla="*/ 12 h 15"/>
                <a:gd name="T32" fmla="*/ 7 w 40"/>
                <a:gd name="T33" fmla="*/ 11 h 15"/>
                <a:gd name="T34" fmla="*/ 9 w 40"/>
                <a:gd name="T35" fmla="*/ 11 h 15"/>
                <a:gd name="T36" fmla="*/ 9 w 40"/>
                <a:gd name="T37" fmla="*/ 12 h 15"/>
                <a:gd name="T38" fmla="*/ 11 w 40"/>
                <a:gd name="T39" fmla="*/ 10 h 15"/>
                <a:gd name="T40" fmla="*/ 12 w 40"/>
                <a:gd name="T41" fmla="*/ 9 h 15"/>
                <a:gd name="T42" fmla="*/ 15 w 40"/>
                <a:gd name="T43" fmla="*/ 9 h 15"/>
                <a:gd name="T44" fmla="*/ 13 w 40"/>
                <a:gd name="T45" fmla="*/ 10 h 15"/>
                <a:gd name="T46" fmla="*/ 12 w 40"/>
                <a:gd name="T47" fmla="*/ 12 h 15"/>
                <a:gd name="T48" fmla="*/ 18 w 40"/>
                <a:gd name="T49" fmla="*/ 11 h 15"/>
                <a:gd name="T50" fmla="*/ 21 w 40"/>
                <a:gd name="T51" fmla="*/ 11 h 15"/>
                <a:gd name="T52" fmla="*/ 19 w 40"/>
                <a:gd name="T53" fmla="*/ 11 h 15"/>
                <a:gd name="T54" fmla="*/ 16 w 40"/>
                <a:gd name="T55" fmla="*/ 12 h 15"/>
                <a:gd name="T56" fmla="*/ 12 w 40"/>
                <a:gd name="T57" fmla="*/ 13 h 15"/>
                <a:gd name="T58" fmla="*/ 13 w 40"/>
                <a:gd name="T59" fmla="*/ 15 h 15"/>
                <a:gd name="T60" fmla="*/ 16 w 40"/>
                <a:gd name="T61" fmla="*/ 15 h 15"/>
                <a:gd name="T62" fmla="*/ 23 w 40"/>
                <a:gd name="T63" fmla="*/ 13 h 15"/>
                <a:gd name="T64" fmla="*/ 27 w 40"/>
                <a:gd name="T65" fmla="*/ 12 h 15"/>
                <a:gd name="T66" fmla="*/ 29 w 40"/>
                <a:gd name="T67" fmla="*/ 11 h 15"/>
                <a:gd name="T68" fmla="*/ 31 w 40"/>
                <a:gd name="T69" fmla="*/ 12 h 15"/>
                <a:gd name="T70" fmla="*/ 33 w 40"/>
                <a:gd name="T71" fmla="*/ 11 h 15"/>
                <a:gd name="T72" fmla="*/ 34 w 40"/>
                <a:gd name="T73" fmla="*/ 12 h 15"/>
                <a:gd name="T74" fmla="*/ 38 w 40"/>
                <a:gd name="T75" fmla="*/ 11 h 15"/>
                <a:gd name="T76" fmla="*/ 40 w 40"/>
                <a:gd name="T77" fmla="*/ 8 h 15"/>
                <a:gd name="T78" fmla="*/ 40 w 40"/>
                <a:gd name="T79" fmla="*/ 6 h 15"/>
                <a:gd name="T80" fmla="*/ 35 w 40"/>
                <a:gd name="T81" fmla="*/ 5 h 15"/>
                <a:gd name="T82" fmla="*/ 34 w 40"/>
                <a:gd name="T83" fmla="*/ 6 h 15"/>
                <a:gd name="T84" fmla="*/ 34 w 40"/>
                <a:gd name="T85" fmla="*/ 6 h 15"/>
                <a:gd name="T86" fmla="*/ 32 w 40"/>
                <a:gd name="T87" fmla="*/ 5 h 15"/>
                <a:gd name="T88" fmla="*/ 31 w 40"/>
                <a:gd name="T89" fmla="*/ 5 h 15"/>
                <a:gd name="T90" fmla="*/ 31 w 40"/>
                <a:gd name="T91" fmla="*/ 4 h 15"/>
                <a:gd name="T92" fmla="*/ 30 w 40"/>
                <a:gd name="T93" fmla="*/ 2 h 15"/>
                <a:gd name="T94" fmla="*/ 28 w 40"/>
                <a:gd name="T95" fmla="*/ 0 h 15"/>
                <a:gd name="T96" fmla="*/ 24 w 40"/>
                <a:gd name="T97" fmla="*/ 3 h 15"/>
                <a:gd name="T98" fmla="*/ 28 w 40"/>
                <a:gd name="T99" fmla="*/ 4 h 15"/>
                <a:gd name="T100" fmla="*/ 26 w 40"/>
                <a:gd name="T101" fmla="*/ 6 h 15"/>
                <a:gd name="T102" fmla="*/ 29 w 40"/>
                <a:gd name="T103" fmla="*/ 8 h 15"/>
                <a:gd name="T104" fmla="*/ 23 w 40"/>
                <a:gd name="T105" fmla="*/ 8 h 15"/>
                <a:gd name="T106" fmla="*/ 20 w 40"/>
                <a:gd name="T107" fmla="*/ 7 h 15"/>
                <a:gd name="T108" fmla="*/ 18 w 40"/>
                <a:gd name="T109" fmla="*/ 5 h 15"/>
                <a:gd name="T110" fmla="*/ 15 w 40"/>
                <a:gd name="T111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" h="15">
                  <a:moveTo>
                    <a:pt x="14" y="4"/>
                  </a:move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2" y="4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0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3"/>
                    <a:pt x="7" y="3"/>
                    <a:pt x="7" y="3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5" y="6"/>
                  </a:cubicBezTo>
                  <a:cubicBezTo>
                    <a:pt x="5" y="6"/>
                    <a:pt x="7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8" y="6"/>
                    <a:pt x="8" y="6"/>
                  </a:cubicBezTo>
                  <a:cubicBezTo>
                    <a:pt x="8" y="6"/>
                    <a:pt x="4" y="7"/>
                    <a:pt x="4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3" y="8"/>
                    <a:pt x="4" y="8"/>
                  </a:cubicBezTo>
                  <a:cubicBezTo>
                    <a:pt x="5" y="8"/>
                    <a:pt x="6" y="7"/>
                    <a:pt x="7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0" y="9"/>
                    <a:pt x="7" y="8"/>
                    <a:pt x="6" y="8"/>
                  </a:cubicBezTo>
                  <a:cubicBezTo>
                    <a:pt x="5" y="8"/>
                    <a:pt x="3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1" y="9"/>
                    <a:pt x="1" y="9"/>
                  </a:cubicBezTo>
                  <a:cubicBezTo>
                    <a:pt x="0" y="10"/>
                    <a:pt x="1" y="10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7" y="11"/>
                    <a:pt x="7" y="10"/>
                    <a:pt x="7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10" y="11"/>
                    <a:pt x="10" y="11"/>
                  </a:cubicBezTo>
                  <a:cubicBezTo>
                    <a:pt x="10" y="11"/>
                    <a:pt x="11" y="11"/>
                    <a:pt x="11" y="10"/>
                  </a:cubicBezTo>
                  <a:cubicBezTo>
                    <a:pt x="11" y="10"/>
                    <a:pt x="12" y="10"/>
                    <a:pt x="11" y="10"/>
                  </a:cubicBezTo>
                  <a:cubicBezTo>
                    <a:pt x="11" y="10"/>
                    <a:pt x="12" y="9"/>
                    <a:pt x="12" y="9"/>
                  </a:cubicBezTo>
                  <a:cubicBezTo>
                    <a:pt x="12" y="9"/>
                    <a:pt x="13" y="9"/>
                    <a:pt x="14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4" y="9"/>
                    <a:pt x="13" y="10"/>
                    <a:pt x="13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5" y="11"/>
                    <a:pt x="16" y="11"/>
                  </a:cubicBezTo>
                  <a:cubicBezTo>
                    <a:pt x="16" y="11"/>
                    <a:pt x="18" y="11"/>
                    <a:pt x="18" y="11"/>
                  </a:cubicBezTo>
                  <a:cubicBezTo>
                    <a:pt x="19" y="11"/>
                    <a:pt x="20" y="10"/>
                    <a:pt x="21" y="10"/>
                  </a:cubicBezTo>
                  <a:cubicBezTo>
                    <a:pt x="22" y="10"/>
                    <a:pt x="22" y="10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19" y="11"/>
                  </a:cubicBezTo>
                  <a:cubicBezTo>
                    <a:pt x="19" y="11"/>
                    <a:pt x="17" y="11"/>
                    <a:pt x="17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2"/>
                    <a:pt x="13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1" y="14"/>
                    <a:pt x="12" y="14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4" y="15"/>
                    <a:pt x="16" y="15"/>
                    <a:pt x="16" y="15"/>
                  </a:cubicBezTo>
                  <a:cubicBezTo>
                    <a:pt x="17" y="15"/>
                    <a:pt x="19" y="15"/>
                    <a:pt x="20" y="14"/>
                  </a:cubicBezTo>
                  <a:cubicBezTo>
                    <a:pt x="21" y="14"/>
                    <a:pt x="21" y="14"/>
                    <a:pt x="23" y="13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2"/>
                    <a:pt x="26" y="12"/>
                    <a:pt x="27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1"/>
                    <a:pt x="28" y="11"/>
                    <a:pt x="29" y="11"/>
                  </a:cubicBezTo>
                  <a:cubicBezTo>
                    <a:pt x="29" y="11"/>
                    <a:pt x="29" y="11"/>
                    <a:pt x="29" y="12"/>
                  </a:cubicBezTo>
                  <a:cubicBezTo>
                    <a:pt x="30" y="12"/>
                    <a:pt x="30" y="12"/>
                    <a:pt x="31" y="12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2" y="11"/>
                    <a:pt x="32" y="11"/>
                    <a:pt x="33" y="11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4" y="12"/>
                    <a:pt x="34" y="12"/>
                  </a:cubicBezTo>
                  <a:cubicBezTo>
                    <a:pt x="35" y="12"/>
                    <a:pt x="36" y="12"/>
                    <a:pt x="36" y="12"/>
                  </a:cubicBezTo>
                  <a:cubicBezTo>
                    <a:pt x="37" y="12"/>
                    <a:pt x="38" y="11"/>
                    <a:pt x="38" y="11"/>
                  </a:cubicBezTo>
                  <a:cubicBezTo>
                    <a:pt x="38" y="11"/>
                    <a:pt x="39" y="9"/>
                    <a:pt x="39" y="9"/>
                  </a:cubicBezTo>
                  <a:cubicBezTo>
                    <a:pt x="39" y="9"/>
                    <a:pt x="39" y="8"/>
                    <a:pt x="40" y="8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6"/>
                    <a:pt x="40" y="6"/>
                  </a:cubicBezTo>
                  <a:cubicBezTo>
                    <a:pt x="39" y="6"/>
                    <a:pt x="38" y="5"/>
                    <a:pt x="37" y="5"/>
                  </a:cubicBezTo>
                  <a:cubicBezTo>
                    <a:pt x="35" y="5"/>
                    <a:pt x="36" y="5"/>
                    <a:pt x="35" y="5"/>
                  </a:cubicBezTo>
                  <a:cubicBezTo>
                    <a:pt x="35" y="5"/>
                    <a:pt x="35" y="7"/>
                    <a:pt x="35" y="7"/>
                  </a:cubicBezTo>
                  <a:cubicBezTo>
                    <a:pt x="35" y="7"/>
                    <a:pt x="34" y="6"/>
                    <a:pt x="34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3" y="6"/>
                    <a:pt x="32" y="6"/>
                    <a:pt x="32" y="6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3"/>
                    <a:pt x="31" y="3"/>
                    <a:pt x="31" y="3"/>
                  </a:cubicBezTo>
                  <a:cubicBezTo>
                    <a:pt x="31" y="3"/>
                    <a:pt x="30" y="2"/>
                    <a:pt x="30" y="2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0"/>
                    <a:pt x="28" y="0"/>
                    <a:pt x="28" y="0"/>
                  </a:cubicBezTo>
                  <a:cubicBezTo>
                    <a:pt x="28" y="0"/>
                    <a:pt x="27" y="1"/>
                    <a:pt x="26" y="2"/>
                  </a:cubicBezTo>
                  <a:cubicBezTo>
                    <a:pt x="24" y="3"/>
                    <a:pt x="25" y="2"/>
                    <a:pt x="24" y="3"/>
                  </a:cubicBezTo>
                  <a:cubicBezTo>
                    <a:pt x="24" y="3"/>
                    <a:pt x="25" y="4"/>
                    <a:pt x="25" y="4"/>
                  </a:cubicBezTo>
                  <a:cubicBezTo>
                    <a:pt x="26" y="4"/>
                    <a:pt x="27" y="4"/>
                    <a:pt x="28" y="4"/>
                  </a:cubicBezTo>
                  <a:cubicBezTo>
                    <a:pt x="28" y="4"/>
                    <a:pt x="27" y="5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8" y="7"/>
                    <a:pt x="28" y="7"/>
                  </a:cubicBezTo>
                  <a:cubicBezTo>
                    <a:pt x="28" y="7"/>
                    <a:pt x="29" y="8"/>
                    <a:pt x="29" y="8"/>
                  </a:cubicBezTo>
                  <a:cubicBezTo>
                    <a:pt x="29" y="8"/>
                    <a:pt x="29" y="8"/>
                    <a:pt x="28" y="8"/>
                  </a:cubicBezTo>
                  <a:cubicBezTo>
                    <a:pt x="27" y="8"/>
                    <a:pt x="24" y="8"/>
                    <a:pt x="23" y="8"/>
                  </a:cubicBezTo>
                  <a:cubicBezTo>
                    <a:pt x="22" y="8"/>
                    <a:pt x="22" y="8"/>
                    <a:pt x="21" y="8"/>
                  </a:cubicBezTo>
                  <a:cubicBezTo>
                    <a:pt x="21" y="8"/>
                    <a:pt x="20" y="7"/>
                    <a:pt x="20" y="7"/>
                  </a:cubicBezTo>
                  <a:cubicBezTo>
                    <a:pt x="20" y="7"/>
                    <a:pt x="19" y="6"/>
                    <a:pt x="19" y="5"/>
                  </a:cubicBezTo>
                  <a:cubicBezTo>
                    <a:pt x="18" y="5"/>
                    <a:pt x="19" y="5"/>
                    <a:pt x="18" y="5"/>
                  </a:cubicBezTo>
                  <a:cubicBezTo>
                    <a:pt x="18" y="5"/>
                    <a:pt x="18" y="5"/>
                    <a:pt x="17" y="4"/>
                  </a:cubicBezTo>
                  <a:cubicBezTo>
                    <a:pt x="17" y="4"/>
                    <a:pt x="16" y="4"/>
                    <a:pt x="15" y="4"/>
                  </a:cubicBezTo>
                  <a:cubicBezTo>
                    <a:pt x="13" y="3"/>
                    <a:pt x="14" y="4"/>
                    <a:pt x="14" y="4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60" name="Freeform 302">
              <a:extLst>
                <a:ext uri="{FF2B5EF4-FFF2-40B4-BE49-F238E27FC236}">
                  <a16:creationId xmlns:a16="http://schemas.microsoft.com/office/drawing/2014/main" id="{546C79E7-352C-45A8-B2BE-3E5EAD8B2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9" y="1737"/>
              <a:ext cx="10" cy="5"/>
            </a:xfrm>
            <a:custGeom>
              <a:avLst/>
              <a:gdLst>
                <a:gd name="T0" fmla="*/ 1 w 4"/>
                <a:gd name="T1" fmla="*/ 1 h 2"/>
                <a:gd name="T2" fmla="*/ 0 w 4"/>
                <a:gd name="T3" fmla="*/ 1 h 2"/>
                <a:gd name="T4" fmla="*/ 0 w 4"/>
                <a:gd name="T5" fmla="*/ 1 h 2"/>
                <a:gd name="T6" fmla="*/ 1 w 4"/>
                <a:gd name="T7" fmla="*/ 2 h 2"/>
                <a:gd name="T8" fmla="*/ 2 w 4"/>
                <a:gd name="T9" fmla="*/ 2 h 2"/>
                <a:gd name="T10" fmla="*/ 4 w 4"/>
                <a:gd name="T11" fmla="*/ 1 h 2"/>
                <a:gd name="T12" fmla="*/ 3 w 4"/>
                <a:gd name="T13" fmla="*/ 1 h 2"/>
                <a:gd name="T14" fmla="*/ 1 w 4"/>
                <a:gd name="T1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2">
                  <a:moveTo>
                    <a:pt x="1" y="1"/>
                  </a:moveTo>
                  <a:cubicBezTo>
                    <a:pt x="1" y="1"/>
                    <a:pt x="1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lnTo>
                    <a:pt x="1" y="1"/>
                  </a:ln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61" name="Freeform 303">
              <a:extLst>
                <a:ext uri="{FF2B5EF4-FFF2-40B4-BE49-F238E27FC236}">
                  <a16:creationId xmlns:a16="http://schemas.microsoft.com/office/drawing/2014/main" id="{6D032CEB-4F73-4D05-8123-F13DBC686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7" y="1720"/>
              <a:ext cx="9" cy="7"/>
            </a:xfrm>
            <a:custGeom>
              <a:avLst/>
              <a:gdLst>
                <a:gd name="T0" fmla="*/ 2 w 4"/>
                <a:gd name="T1" fmla="*/ 2 h 3"/>
                <a:gd name="T2" fmla="*/ 3 w 4"/>
                <a:gd name="T3" fmla="*/ 3 h 3"/>
                <a:gd name="T4" fmla="*/ 4 w 4"/>
                <a:gd name="T5" fmla="*/ 2 h 3"/>
                <a:gd name="T6" fmla="*/ 4 w 4"/>
                <a:gd name="T7" fmla="*/ 1 h 3"/>
                <a:gd name="T8" fmla="*/ 3 w 4"/>
                <a:gd name="T9" fmla="*/ 1 h 3"/>
                <a:gd name="T10" fmla="*/ 2 w 4"/>
                <a:gd name="T11" fmla="*/ 0 h 3"/>
                <a:gd name="T12" fmla="*/ 1 w 4"/>
                <a:gd name="T13" fmla="*/ 1 h 3"/>
                <a:gd name="T14" fmla="*/ 0 w 4"/>
                <a:gd name="T15" fmla="*/ 1 h 3"/>
                <a:gd name="T16" fmla="*/ 2 w 4"/>
                <a:gd name="T1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3">
                  <a:moveTo>
                    <a:pt x="2" y="2"/>
                  </a:moveTo>
                  <a:cubicBezTo>
                    <a:pt x="2" y="2"/>
                    <a:pt x="3" y="3"/>
                    <a:pt x="3" y="3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1" y="2"/>
                    <a:pt x="1" y="2"/>
                    <a:pt x="2" y="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62" name="Freeform 304">
              <a:extLst>
                <a:ext uri="{FF2B5EF4-FFF2-40B4-BE49-F238E27FC236}">
                  <a16:creationId xmlns:a16="http://schemas.microsoft.com/office/drawing/2014/main" id="{915BD30A-C882-481F-A8F7-593705AA0E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4" y="1749"/>
              <a:ext cx="14" cy="9"/>
            </a:xfrm>
            <a:custGeom>
              <a:avLst/>
              <a:gdLst>
                <a:gd name="T0" fmla="*/ 6 w 6"/>
                <a:gd name="T1" fmla="*/ 0 h 4"/>
                <a:gd name="T2" fmla="*/ 5 w 6"/>
                <a:gd name="T3" fmla="*/ 0 h 4"/>
                <a:gd name="T4" fmla="*/ 5 w 6"/>
                <a:gd name="T5" fmla="*/ 1 h 4"/>
                <a:gd name="T6" fmla="*/ 3 w 6"/>
                <a:gd name="T7" fmla="*/ 2 h 4"/>
                <a:gd name="T8" fmla="*/ 3 w 6"/>
                <a:gd name="T9" fmla="*/ 2 h 4"/>
                <a:gd name="T10" fmla="*/ 1 w 6"/>
                <a:gd name="T11" fmla="*/ 3 h 4"/>
                <a:gd name="T12" fmla="*/ 0 w 6"/>
                <a:gd name="T13" fmla="*/ 3 h 4"/>
                <a:gd name="T14" fmla="*/ 0 w 6"/>
                <a:gd name="T15" fmla="*/ 4 h 4"/>
                <a:gd name="T16" fmla="*/ 1 w 6"/>
                <a:gd name="T17" fmla="*/ 4 h 4"/>
                <a:gd name="T18" fmla="*/ 2 w 6"/>
                <a:gd name="T19" fmla="*/ 4 h 4"/>
                <a:gd name="T20" fmla="*/ 4 w 6"/>
                <a:gd name="T21" fmla="*/ 4 h 4"/>
                <a:gd name="T22" fmla="*/ 4 w 6"/>
                <a:gd name="T23" fmla="*/ 4 h 4"/>
                <a:gd name="T24" fmla="*/ 5 w 6"/>
                <a:gd name="T25" fmla="*/ 2 h 4"/>
                <a:gd name="T26" fmla="*/ 5 w 6"/>
                <a:gd name="T27" fmla="*/ 2 h 4"/>
                <a:gd name="T28" fmla="*/ 6 w 6"/>
                <a:gd name="T2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4" y="1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1" y="3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3"/>
                    <a:pt x="5" y="3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1"/>
                    <a:pt x="6" y="1"/>
                    <a:pt x="6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63" name="Freeform 305">
              <a:extLst>
                <a:ext uri="{FF2B5EF4-FFF2-40B4-BE49-F238E27FC236}">
                  <a16:creationId xmlns:a16="http://schemas.microsoft.com/office/drawing/2014/main" id="{0CF0C535-A1D8-44D7-ABFD-6B9FF07BF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8" y="1727"/>
              <a:ext cx="56" cy="26"/>
            </a:xfrm>
            <a:custGeom>
              <a:avLst/>
              <a:gdLst>
                <a:gd name="T0" fmla="*/ 0 w 24"/>
                <a:gd name="T1" fmla="*/ 10 h 11"/>
                <a:gd name="T2" fmla="*/ 1 w 24"/>
                <a:gd name="T3" fmla="*/ 11 h 11"/>
                <a:gd name="T4" fmla="*/ 2 w 24"/>
                <a:gd name="T5" fmla="*/ 11 h 11"/>
                <a:gd name="T6" fmla="*/ 5 w 24"/>
                <a:gd name="T7" fmla="*/ 10 h 11"/>
                <a:gd name="T8" fmla="*/ 5 w 24"/>
                <a:gd name="T9" fmla="*/ 11 h 11"/>
                <a:gd name="T10" fmla="*/ 6 w 24"/>
                <a:gd name="T11" fmla="*/ 10 h 11"/>
                <a:gd name="T12" fmla="*/ 5 w 24"/>
                <a:gd name="T13" fmla="*/ 9 h 11"/>
                <a:gd name="T14" fmla="*/ 5 w 24"/>
                <a:gd name="T15" fmla="*/ 9 h 11"/>
                <a:gd name="T16" fmla="*/ 7 w 24"/>
                <a:gd name="T17" fmla="*/ 11 h 11"/>
                <a:gd name="T18" fmla="*/ 8 w 24"/>
                <a:gd name="T19" fmla="*/ 11 h 11"/>
                <a:gd name="T20" fmla="*/ 9 w 24"/>
                <a:gd name="T21" fmla="*/ 11 h 11"/>
                <a:gd name="T22" fmla="*/ 11 w 24"/>
                <a:gd name="T23" fmla="*/ 10 h 11"/>
                <a:gd name="T24" fmla="*/ 10 w 24"/>
                <a:gd name="T25" fmla="*/ 8 h 11"/>
                <a:gd name="T26" fmla="*/ 9 w 24"/>
                <a:gd name="T27" fmla="*/ 7 h 11"/>
                <a:gd name="T28" fmla="*/ 11 w 24"/>
                <a:gd name="T29" fmla="*/ 9 h 11"/>
                <a:gd name="T30" fmla="*/ 12 w 24"/>
                <a:gd name="T31" fmla="*/ 10 h 11"/>
                <a:gd name="T32" fmla="*/ 13 w 24"/>
                <a:gd name="T33" fmla="*/ 9 h 11"/>
                <a:gd name="T34" fmla="*/ 13 w 24"/>
                <a:gd name="T35" fmla="*/ 8 h 11"/>
                <a:gd name="T36" fmla="*/ 13 w 24"/>
                <a:gd name="T37" fmla="*/ 7 h 11"/>
                <a:gd name="T38" fmla="*/ 14 w 24"/>
                <a:gd name="T39" fmla="*/ 7 h 11"/>
                <a:gd name="T40" fmla="*/ 14 w 24"/>
                <a:gd name="T41" fmla="*/ 6 h 11"/>
                <a:gd name="T42" fmla="*/ 15 w 24"/>
                <a:gd name="T43" fmla="*/ 5 h 11"/>
                <a:gd name="T44" fmla="*/ 16 w 24"/>
                <a:gd name="T45" fmla="*/ 6 h 11"/>
                <a:gd name="T46" fmla="*/ 16 w 24"/>
                <a:gd name="T47" fmla="*/ 8 h 11"/>
                <a:gd name="T48" fmla="*/ 17 w 24"/>
                <a:gd name="T49" fmla="*/ 8 h 11"/>
                <a:gd name="T50" fmla="*/ 19 w 24"/>
                <a:gd name="T51" fmla="*/ 8 h 11"/>
                <a:gd name="T52" fmla="*/ 19 w 24"/>
                <a:gd name="T53" fmla="*/ 7 h 11"/>
                <a:gd name="T54" fmla="*/ 21 w 24"/>
                <a:gd name="T55" fmla="*/ 7 h 11"/>
                <a:gd name="T56" fmla="*/ 22 w 24"/>
                <a:gd name="T57" fmla="*/ 6 h 11"/>
                <a:gd name="T58" fmla="*/ 22 w 24"/>
                <a:gd name="T59" fmla="*/ 6 h 11"/>
                <a:gd name="T60" fmla="*/ 22 w 24"/>
                <a:gd name="T61" fmla="*/ 4 h 11"/>
                <a:gd name="T62" fmla="*/ 22 w 24"/>
                <a:gd name="T63" fmla="*/ 4 h 11"/>
                <a:gd name="T64" fmla="*/ 22 w 24"/>
                <a:gd name="T65" fmla="*/ 4 h 11"/>
                <a:gd name="T66" fmla="*/ 23 w 24"/>
                <a:gd name="T67" fmla="*/ 2 h 11"/>
                <a:gd name="T68" fmla="*/ 24 w 24"/>
                <a:gd name="T69" fmla="*/ 2 h 11"/>
                <a:gd name="T70" fmla="*/ 24 w 24"/>
                <a:gd name="T71" fmla="*/ 2 h 11"/>
                <a:gd name="T72" fmla="*/ 21 w 24"/>
                <a:gd name="T73" fmla="*/ 1 h 11"/>
                <a:gd name="T74" fmla="*/ 21 w 24"/>
                <a:gd name="T75" fmla="*/ 0 h 11"/>
                <a:gd name="T76" fmla="*/ 19 w 24"/>
                <a:gd name="T77" fmla="*/ 1 h 11"/>
                <a:gd name="T78" fmla="*/ 19 w 24"/>
                <a:gd name="T79" fmla="*/ 2 h 11"/>
                <a:gd name="T80" fmla="*/ 17 w 24"/>
                <a:gd name="T81" fmla="*/ 2 h 11"/>
                <a:gd name="T82" fmla="*/ 16 w 24"/>
                <a:gd name="T83" fmla="*/ 2 h 11"/>
                <a:gd name="T84" fmla="*/ 17 w 24"/>
                <a:gd name="T85" fmla="*/ 1 h 11"/>
                <a:gd name="T86" fmla="*/ 13 w 24"/>
                <a:gd name="T87" fmla="*/ 1 h 11"/>
                <a:gd name="T88" fmla="*/ 12 w 24"/>
                <a:gd name="T89" fmla="*/ 2 h 11"/>
                <a:gd name="T90" fmla="*/ 11 w 24"/>
                <a:gd name="T91" fmla="*/ 3 h 11"/>
                <a:gd name="T92" fmla="*/ 10 w 24"/>
                <a:gd name="T93" fmla="*/ 4 h 11"/>
                <a:gd name="T94" fmla="*/ 9 w 24"/>
                <a:gd name="T95" fmla="*/ 4 h 11"/>
                <a:gd name="T96" fmla="*/ 8 w 24"/>
                <a:gd name="T97" fmla="*/ 5 h 11"/>
                <a:gd name="T98" fmla="*/ 5 w 24"/>
                <a:gd name="T99" fmla="*/ 6 h 11"/>
                <a:gd name="T100" fmla="*/ 5 w 24"/>
                <a:gd name="T101" fmla="*/ 7 h 11"/>
                <a:gd name="T102" fmla="*/ 2 w 24"/>
                <a:gd name="T103" fmla="*/ 7 h 11"/>
                <a:gd name="T104" fmla="*/ 0 w 24"/>
                <a:gd name="T105" fmla="*/ 9 h 11"/>
                <a:gd name="T106" fmla="*/ 0 w 24"/>
                <a:gd name="T107" fmla="*/ 9 h 11"/>
                <a:gd name="T108" fmla="*/ 0 w 24"/>
                <a:gd name="T109" fmla="*/ 10 h 11"/>
                <a:gd name="T110" fmla="*/ 0 w 24"/>
                <a:gd name="T1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" h="11">
                  <a:moveTo>
                    <a:pt x="0" y="10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2" y="11"/>
                    <a:pt x="2" y="11"/>
                  </a:cubicBezTo>
                  <a:cubicBezTo>
                    <a:pt x="3" y="10"/>
                    <a:pt x="4" y="10"/>
                    <a:pt x="5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7" y="10"/>
                    <a:pt x="7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9" y="11"/>
                    <a:pt x="9" y="11"/>
                  </a:cubicBezTo>
                  <a:cubicBezTo>
                    <a:pt x="10" y="11"/>
                    <a:pt x="10" y="11"/>
                    <a:pt x="11" y="10"/>
                  </a:cubicBezTo>
                  <a:cubicBezTo>
                    <a:pt x="11" y="10"/>
                    <a:pt x="10" y="10"/>
                    <a:pt x="10" y="8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7"/>
                    <a:pt x="11" y="9"/>
                    <a:pt x="11" y="9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9"/>
                    <a:pt x="13" y="9"/>
                  </a:cubicBezTo>
                  <a:cubicBezTo>
                    <a:pt x="13" y="9"/>
                    <a:pt x="13" y="8"/>
                    <a:pt x="13" y="8"/>
                  </a:cubicBezTo>
                  <a:cubicBezTo>
                    <a:pt x="12" y="7"/>
                    <a:pt x="12" y="7"/>
                    <a:pt x="13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6" y="5"/>
                    <a:pt x="16" y="5"/>
                    <a:pt x="16" y="6"/>
                  </a:cubicBezTo>
                  <a:cubicBezTo>
                    <a:pt x="16" y="6"/>
                    <a:pt x="16" y="7"/>
                    <a:pt x="16" y="8"/>
                  </a:cubicBezTo>
                  <a:cubicBezTo>
                    <a:pt x="16" y="8"/>
                    <a:pt x="17" y="8"/>
                    <a:pt x="17" y="8"/>
                  </a:cubicBezTo>
                  <a:cubicBezTo>
                    <a:pt x="18" y="8"/>
                    <a:pt x="19" y="8"/>
                    <a:pt x="19" y="8"/>
                  </a:cubicBezTo>
                  <a:cubicBezTo>
                    <a:pt x="19" y="8"/>
                    <a:pt x="18" y="7"/>
                    <a:pt x="19" y="7"/>
                  </a:cubicBezTo>
                  <a:cubicBezTo>
                    <a:pt x="19" y="7"/>
                    <a:pt x="20" y="7"/>
                    <a:pt x="21" y="7"/>
                  </a:cubicBezTo>
                  <a:cubicBezTo>
                    <a:pt x="21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5"/>
                    <a:pt x="22" y="5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3"/>
                    <a:pt x="22" y="3"/>
                    <a:pt x="23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22" y="1"/>
                    <a:pt x="21" y="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19" y="1"/>
                    <a:pt x="19" y="1"/>
                  </a:cubicBezTo>
                  <a:cubicBezTo>
                    <a:pt x="19" y="1"/>
                    <a:pt x="18" y="1"/>
                    <a:pt x="19" y="2"/>
                  </a:cubicBezTo>
                  <a:cubicBezTo>
                    <a:pt x="20" y="3"/>
                    <a:pt x="17" y="2"/>
                    <a:pt x="17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6" y="1"/>
                    <a:pt x="17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0" y="1"/>
                    <a:pt x="12" y="2"/>
                    <a:pt x="12" y="2"/>
                  </a:cubicBezTo>
                  <a:cubicBezTo>
                    <a:pt x="11" y="2"/>
                    <a:pt x="11" y="3"/>
                    <a:pt x="11" y="3"/>
                  </a:cubicBezTo>
                  <a:cubicBezTo>
                    <a:pt x="10" y="3"/>
                    <a:pt x="10" y="3"/>
                    <a:pt x="10" y="4"/>
                  </a:cubicBezTo>
                  <a:cubicBezTo>
                    <a:pt x="9" y="4"/>
                    <a:pt x="10" y="4"/>
                    <a:pt x="9" y="4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8" y="6"/>
                    <a:pt x="7" y="6"/>
                    <a:pt x="5" y="6"/>
                  </a:cubicBezTo>
                  <a:cubicBezTo>
                    <a:pt x="4" y="6"/>
                    <a:pt x="5" y="6"/>
                    <a:pt x="5" y="7"/>
                  </a:cubicBezTo>
                  <a:cubicBezTo>
                    <a:pt x="4" y="8"/>
                    <a:pt x="4" y="7"/>
                    <a:pt x="2" y="7"/>
                  </a:cubicBezTo>
                  <a:cubicBezTo>
                    <a:pt x="1" y="8"/>
                    <a:pt x="1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64" name="Freeform 306">
              <a:extLst>
                <a:ext uri="{FF2B5EF4-FFF2-40B4-BE49-F238E27FC236}">
                  <a16:creationId xmlns:a16="http://schemas.microsoft.com/office/drawing/2014/main" id="{3EA173E0-FDD4-4346-94D4-5C737C8F0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1" y="1718"/>
              <a:ext cx="26" cy="14"/>
            </a:xfrm>
            <a:custGeom>
              <a:avLst/>
              <a:gdLst>
                <a:gd name="T0" fmla="*/ 11 w 11"/>
                <a:gd name="T1" fmla="*/ 2 h 6"/>
                <a:gd name="T2" fmla="*/ 11 w 11"/>
                <a:gd name="T3" fmla="*/ 1 h 6"/>
                <a:gd name="T4" fmla="*/ 10 w 11"/>
                <a:gd name="T5" fmla="*/ 1 h 6"/>
                <a:gd name="T6" fmla="*/ 8 w 11"/>
                <a:gd name="T7" fmla="*/ 1 h 6"/>
                <a:gd name="T8" fmla="*/ 6 w 11"/>
                <a:gd name="T9" fmla="*/ 1 h 6"/>
                <a:gd name="T10" fmla="*/ 3 w 11"/>
                <a:gd name="T11" fmla="*/ 1 h 6"/>
                <a:gd name="T12" fmla="*/ 0 w 11"/>
                <a:gd name="T13" fmla="*/ 3 h 6"/>
                <a:gd name="T14" fmla="*/ 0 w 11"/>
                <a:gd name="T15" fmla="*/ 4 h 6"/>
                <a:gd name="T16" fmla="*/ 1 w 11"/>
                <a:gd name="T17" fmla="*/ 5 h 6"/>
                <a:gd name="T18" fmla="*/ 2 w 11"/>
                <a:gd name="T19" fmla="*/ 5 h 6"/>
                <a:gd name="T20" fmla="*/ 3 w 11"/>
                <a:gd name="T21" fmla="*/ 6 h 6"/>
                <a:gd name="T22" fmla="*/ 6 w 11"/>
                <a:gd name="T23" fmla="*/ 6 h 6"/>
                <a:gd name="T24" fmla="*/ 6 w 11"/>
                <a:gd name="T25" fmla="*/ 6 h 6"/>
                <a:gd name="T26" fmla="*/ 7 w 11"/>
                <a:gd name="T27" fmla="*/ 6 h 6"/>
                <a:gd name="T28" fmla="*/ 10 w 11"/>
                <a:gd name="T29" fmla="*/ 3 h 6"/>
                <a:gd name="T30" fmla="*/ 9 w 11"/>
                <a:gd name="T31" fmla="*/ 3 h 6"/>
                <a:gd name="T32" fmla="*/ 7 w 11"/>
                <a:gd name="T33" fmla="*/ 3 h 6"/>
                <a:gd name="T34" fmla="*/ 7 w 11"/>
                <a:gd name="T35" fmla="*/ 3 h 6"/>
                <a:gd name="T36" fmla="*/ 10 w 11"/>
                <a:gd name="T37" fmla="*/ 2 h 6"/>
                <a:gd name="T38" fmla="*/ 11 w 11"/>
                <a:gd name="T3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6">
                  <a:moveTo>
                    <a:pt x="11" y="2"/>
                  </a:moveTo>
                  <a:cubicBezTo>
                    <a:pt x="11" y="3"/>
                    <a:pt x="11" y="2"/>
                    <a:pt x="11" y="1"/>
                  </a:cubicBezTo>
                  <a:cubicBezTo>
                    <a:pt x="11" y="0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8" y="1"/>
                    <a:pt x="7" y="1"/>
                    <a:pt x="6" y="1"/>
                  </a:cubicBezTo>
                  <a:cubicBezTo>
                    <a:pt x="5" y="1"/>
                    <a:pt x="4" y="1"/>
                    <a:pt x="3" y="1"/>
                  </a:cubicBezTo>
                  <a:cubicBezTo>
                    <a:pt x="3" y="2"/>
                    <a:pt x="2" y="3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4"/>
                    <a:pt x="0" y="4"/>
                    <a:pt x="1" y="5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4" y="6"/>
                    <a:pt x="5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5"/>
                    <a:pt x="10" y="4"/>
                    <a:pt x="10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8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9" y="2"/>
                    <a:pt x="10" y="2"/>
                  </a:cubicBezTo>
                  <a:lnTo>
                    <a:pt x="11" y="2"/>
                  </a:ln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65" name="Freeform 307">
              <a:extLst>
                <a:ext uri="{FF2B5EF4-FFF2-40B4-BE49-F238E27FC236}">
                  <a16:creationId xmlns:a16="http://schemas.microsoft.com/office/drawing/2014/main" id="{B3F769C9-5890-426B-ADB7-5A30AAA42C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9" y="1711"/>
              <a:ext cx="30" cy="7"/>
            </a:xfrm>
            <a:custGeom>
              <a:avLst/>
              <a:gdLst>
                <a:gd name="T0" fmla="*/ 1 w 13"/>
                <a:gd name="T1" fmla="*/ 3 h 3"/>
                <a:gd name="T2" fmla="*/ 3 w 13"/>
                <a:gd name="T3" fmla="*/ 2 h 3"/>
                <a:gd name="T4" fmla="*/ 5 w 13"/>
                <a:gd name="T5" fmla="*/ 2 h 3"/>
                <a:gd name="T6" fmla="*/ 5 w 13"/>
                <a:gd name="T7" fmla="*/ 2 h 3"/>
                <a:gd name="T8" fmla="*/ 7 w 13"/>
                <a:gd name="T9" fmla="*/ 3 h 3"/>
                <a:gd name="T10" fmla="*/ 7 w 13"/>
                <a:gd name="T11" fmla="*/ 3 h 3"/>
                <a:gd name="T12" fmla="*/ 9 w 13"/>
                <a:gd name="T13" fmla="*/ 2 h 3"/>
                <a:gd name="T14" fmla="*/ 11 w 13"/>
                <a:gd name="T15" fmla="*/ 3 h 3"/>
                <a:gd name="T16" fmla="*/ 13 w 13"/>
                <a:gd name="T17" fmla="*/ 2 h 3"/>
                <a:gd name="T18" fmla="*/ 13 w 13"/>
                <a:gd name="T19" fmla="*/ 2 h 3"/>
                <a:gd name="T20" fmla="*/ 12 w 13"/>
                <a:gd name="T21" fmla="*/ 0 h 3"/>
                <a:gd name="T22" fmla="*/ 11 w 13"/>
                <a:gd name="T23" fmla="*/ 0 h 3"/>
                <a:gd name="T24" fmla="*/ 9 w 13"/>
                <a:gd name="T25" fmla="*/ 0 h 3"/>
                <a:gd name="T26" fmla="*/ 6 w 13"/>
                <a:gd name="T27" fmla="*/ 1 h 3"/>
                <a:gd name="T28" fmla="*/ 4 w 13"/>
                <a:gd name="T29" fmla="*/ 1 h 3"/>
                <a:gd name="T30" fmla="*/ 2 w 13"/>
                <a:gd name="T31" fmla="*/ 2 h 3"/>
                <a:gd name="T32" fmla="*/ 1 w 13"/>
                <a:gd name="T33" fmla="*/ 2 h 3"/>
                <a:gd name="T34" fmla="*/ 0 w 13"/>
                <a:gd name="T35" fmla="*/ 2 h 3"/>
                <a:gd name="T36" fmla="*/ 1 w 13"/>
                <a:gd name="T3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" h="3">
                  <a:moveTo>
                    <a:pt x="1" y="3"/>
                  </a:moveTo>
                  <a:cubicBezTo>
                    <a:pt x="2" y="3"/>
                    <a:pt x="3" y="3"/>
                    <a:pt x="3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8" y="2"/>
                    <a:pt x="9" y="2"/>
                  </a:cubicBezTo>
                  <a:cubicBezTo>
                    <a:pt x="9" y="2"/>
                    <a:pt x="10" y="2"/>
                    <a:pt x="11" y="3"/>
                  </a:cubicBezTo>
                  <a:cubicBezTo>
                    <a:pt x="12" y="3"/>
                    <a:pt x="12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1"/>
                    <a:pt x="12" y="1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8" y="0"/>
                    <a:pt x="8" y="0"/>
                    <a:pt x="6" y="1"/>
                  </a:cubicBezTo>
                  <a:cubicBezTo>
                    <a:pt x="4" y="1"/>
                    <a:pt x="5" y="1"/>
                    <a:pt x="4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66" name="Freeform 308">
              <a:extLst>
                <a:ext uri="{FF2B5EF4-FFF2-40B4-BE49-F238E27FC236}">
                  <a16:creationId xmlns:a16="http://schemas.microsoft.com/office/drawing/2014/main" id="{DF9ED0D1-5AB3-43D8-8619-32CCD4CFCF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5" y="1725"/>
              <a:ext cx="12" cy="10"/>
            </a:xfrm>
            <a:custGeom>
              <a:avLst/>
              <a:gdLst>
                <a:gd name="T0" fmla="*/ 0 w 5"/>
                <a:gd name="T1" fmla="*/ 1 h 4"/>
                <a:gd name="T2" fmla="*/ 0 w 5"/>
                <a:gd name="T3" fmla="*/ 1 h 4"/>
                <a:gd name="T4" fmla="*/ 1 w 5"/>
                <a:gd name="T5" fmla="*/ 2 h 4"/>
                <a:gd name="T6" fmla="*/ 1 w 5"/>
                <a:gd name="T7" fmla="*/ 2 h 4"/>
                <a:gd name="T8" fmla="*/ 2 w 5"/>
                <a:gd name="T9" fmla="*/ 4 h 4"/>
                <a:gd name="T10" fmla="*/ 4 w 5"/>
                <a:gd name="T11" fmla="*/ 4 h 4"/>
                <a:gd name="T12" fmla="*/ 5 w 5"/>
                <a:gd name="T13" fmla="*/ 4 h 4"/>
                <a:gd name="T14" fmla="*/ 5 w 5"/>
                <a:gd name="T15" fmla="*/ 3 h 4"/>
                <a:gd name="T16" fmla="*/ 4 w 5"/>
                <a:gd name="T17" fmla="*/ 3 h 4"/>
                <a:gd name="T18" fmla="*/ 4 w 5"/>
                <a:gd name="T19" fmla="*/ 2 h 4"/>
                <a:gd name="T20" fmla="*/ 3 w 5"/>
                <a:gd name="T21" fmla="*/ 2 h 4"/>
                <a:gd name="T22" fmla="*/ 3 w 5"/>
                <a:gd name="T23" fmla="*/ 1 h 4"/>
                <a:gd name="T24" fmla="*/ 2 w 5"/>
                <a:gd name="T25" fmla="*/ 1 h 4"/>
                <a:gd name="T26" fmla="*/ 1 w 5"/>
                <a:gd name="T27" fmla="*/ 0 h 4"/>
                <a:gd name="T28" fmla="*/ 0 w 5"/>
                <a:gd name="T29" fmla="*/ 0 h 4"/>
                <a:gd name="T30" fmla="*/ 0 w 5"/>
                <a:gd name="T31" fmla="*/ 0 h 4"/>
                <a:gd name="T32" fmla="*/ 0 w 5"/>
                <a:gd name="T3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" h="4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2" y="4"/>
                    <a:pt x="2" y="4"/>
                  </a:cubicBezTo>
                  <a:cubicBezTo>
                    <a:pt x="3" y="4"/>
                    <a:pt x="3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67" name="Freeform 309">
              <a:extLst>
                <a:ext uri="{FF2B5EF4-FFF2-40B4-BE49-F238E27FC236}">
                  <a16:creationId xmlns:a16="http://schemas.microsoft.com/office/drawing/2014/main" id="{C5FCF69D-3D0A-4539-AF90-4386C5E0E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7" y="1735"/>
              <a:ext cx="3" cy="2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  <a:gd name="T8" fmla="*/ 1 w 1"/>
                <a:gd name="T9" fmla="*/ 1 h 1"/>
                <a:gd name="T10" fmla="*/ 1 w 1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68" name="Freeform 310">
              <a:extLst>
                <a:ext uri="{FF2B5EF4-FFF2-40B4-BE49-F238E27FC236}">
                  <a16:creationId xmlns:a16="http://schemas.microsoft.com/office/drawing/2014/main" id="{C0AFAB93-C897-48D9-96DE-1F78DCE58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1" y="1723"/>
              <a:ext cx="12" cy="4"/>
            </a:xfrm>
            <a:custGeom>
              <a:avLst/>
              <a:gdLst>
                <a:gd name="T0" fmla="*/ 4 w 5"/>
                <a:gd name="T1" fmla="*/ 1 h 2"/>
                <a:gd name="T2" fmla="*/ 2 w 5"/>
                <a:gd name="T3" fmla="*/ 0 h 2"/>
                <a:gd name="T4" fmla="*/ 0 w 5"/>
                <a:gd name="T5" fmla="*/ 0 h 2"/>
                <a:gd name="T6" fmla="*/ 0 w 5"/>
                <a:gd name="T7" fmla="*/ 1 h 2"/>
                <a:gd name="T8" fmla="*/ 1 w 5"/>
                <a:gd name="T9" fmla="*/ 2 h 2"/>
                <a:gd name="T10" fmla="*/ 2 w 5"/>
                <a:gd name="T11" fmla="*/ 2 h 2"/>
                <a:gd name="T12" fmla="*/ 3 w 5"/>
                <a:gd name="T13" fmla="*/ 2 h 2"/>
                <a:gd name="T14" fmla="*/ 5 w 5"/>
                <a:gd name="T15" fmla="*/ 2 h 2"/>
                <a:gd name="T16" fmla="*/ 4 w 5"/>
                <a:gd name="T1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2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5" y="2"/>
                  </a:cubicBezTo>
                  <a:cubicBezTo>
                    <a:pt x="5" y="2"/>
                    <a:pt x="5" y="1"/>
                    <a:pt x="4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69" name="Freeform 311">
              <a:extLst>
                <a:ext uri="{FF2B5EF4-FFF2-40B4-BE49-F238E27FC236}">
                  <a16:creationId xmlns:a16="http://schemas.microsoft.com/office/drawing/2014/main" id="{E1784607-A309-402C-9E6E-8D8EBA4D4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0" y="1689"/>
              <a:ext cx="10" cy="8"/>
            </a:xfrm>
            <a:custGeom>
              <a:avLst/>
              <a:gdLst>
                <a:gd name="T0" fmla="*/ 0 w 4"/>
                <a:gd name="T1" fmla="*/ 2 h 3"/>
                <a:gd name="T2" fmla="*/ 0 w 4"/>
                <a:gd name="T3" fmla="*/ 2 h 3"/>
                <a:gd name="T4" fmla="*/ 1 w 4"/>
                <a:gd name="T5" fmla="*/ 2 h 3"/>
                <a:gd name="T6" fmla="*/ 2 w 4"/>
                <a:gd name="T7" fmla="*/ 2 h 3"/>
                <a:gd name="T8" fmla="*/ 3 w 4"/>
                <a:gd name="T9" fmla="*/ 2 h 3"/>
                <a:gd name="T10" fmla="*/ 3 w 4"/>
                <a:gd name="T11" fmla="*/ 2 h 3"/>
                <a:gd name="T12" fmla="*/ 4 w 4"/>
                <a:gd name="T13" fmla="*/ 2 h 3"/>
                <a:gd name="T14" fmla="*/ 4 w 4"/>
                <a:gd name="T15" fmla="*/ 2 h 3"/>
                <a:gd name="T16" fmla="*/ 4 w 4"/>
                <a:gd name="T17" fmla="*/ 1 h 3"/>
                <a:gd name="T18" fmla="*/ 4 w 4"/>
                <a:gd name="T19" fmla="*/ 1 h 3"/>
                <a:gd name="T20" fmla="*/ 3 w 4"/>
                <a:gd name="T21" fmla="*/ 0 h 3"/>
                <a:gd name="T22" fmla="*/ 2 w 4"/>
                <a:gd name="T23" fmla="*/ 0 h 3"/>
                <a:gd name="T24" fmla="*/ 1 w 4"/>
                <a:gd name="T25" fmla="*/ 0 h 3"/>
                <a:gd name="T26" fmla="*/ 0 w 4"/>
                <a:gd name="T27" fmla="*/ 0 h 3"/>
                <a:gd name="T28" fmla="*/ 0 w 4"/>
                <a:gd name="T29" fmla="*/ 0 h 3"/>
                <a:gd name="T30" fmla="*/ 0 w 4"/>
                <a:gd name="T31" fmla="*/ 1 h 3"/>
                <a:gd name="T32" fmla="*/ 0 w 4"/>
                <a:gd name="T33" fmla="*/ 1 h 3"/>
                <a:gd name="T34" fmla="*/ 0 w 4"/>
                <a:gd name="T3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3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70" name="Freeform 312">
              <a:extLst>
                <a:ext uri="{FF2B5EF4-FFF2-40B4-BE49-F238E27FC236}">
                  <a16:creationId xmlns:a16="http://schemas.microsoft.com/office/drawing/2014/main" id="{64B6B5C1-B8E2-4E53-BEA8-63D78E0E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" y="1701"/>
              <a:ext cx="50" cy="24"/>
            </a:xfrm>
            <a:custGeom>
              <a:avLst/>
              <a:gdLst>
                <a:gd name="T0" fmla="*/ 2 w 21"/>
                <a:gd name="T1" fmla="*/ 2 h 10"/>
                <a:gd name="T2" fmla="*/ 2 w 21"/>
                <a:gd name="T3" fmla="*/ 2 h 10"/>
                <a:gd name="T4" fmla="*/ 3 w 21"/>
                <a:gd name="T5" fmla="*/ 2 h 10"/>
                <a:gd name="T6" fmla="*/ 3 w 21"/>
                <a:gd name="T7" fmla="*/ 3 h 10"/>
                <a:gd name="T8" fmla="*/ 3 w 21"/>
                <a:gd name="T9" fmla="*/ 3 h 10"/>
                <a:gd name="T10" fmla="*/ 4 w 21"/>
                <a:gd name="T11" fmla="*/ 2 h 10"/>
                <a:gd name="T12" fmla="*/ 4 w 21"/>
                <a:gd name="T13" fmla="*/ 2 h 10"/>
                <a:gd name="T14" fmla="*/ 5 w 21"/>
                <a:gd name="T15" fmla="*/ 2 h 10"/>
                <a:gd name="T16" fmla="*/ 6 w 21"/>
                <a:gd name="T17" fmla="*/ 4 h 10"/>
                <a:gd name="T18" fmla="*/ 6 w 21"/>
                <a:gd name="T19" fmla="*/ 4 h 10"/>
                <a:gd name="T20" fmla="*/ 7 w 21"/>
                <a:gd name="T21" fmla="*/ 5 h 10"/>
                <a:gd name="T22" fmla="*/ 6 w 21"/>
                <a:gd name="T23" fmla="*/ 5 h 10"/>
                <a:gd name="T24" fmla="*/ 6 w 21"/>
                <a:gd name="T25" fmla="*/ 5 h 10"/>
                <a:gd name="T26" fmla="*/ 2 w 21"/>
                <a:gd name="T27" fmla="*/ 6 h 10"/>
                <a:gd name="T28" fmla="*/ 2 w 21"/>
                <a:gd name="T29" fmla="*/ 6 h 10"/>
                <a:gd name="T30" fmla="*/ 4 w 21"/>
                <a:gd name="T31" fmla="*/ 7 h 10"/>
                <a:gd name="T32" fmla="*/ 6 w 21"/>
                <a:gd name="T33" fmla="*/ 7 h 10"/>
                <a:gd name="T34" fmla="*/ 8 w 21"/>
                <a:gd name="T35" fmla="*/ 6 h 10"/>
                <a:gd name="T36" fmla="*/ 8 w 21"/>
                <a:gd name="T37" fmla="*/ 6 h 10"/>
                <a:gd name="T38" fmla="*/ 9 w 21"/>
                <a:gd name="T39" fmla="*/ 7 h 10"/>
                <a:gd name="T40" fmla="*/ 11 w 21"/>
                <a:gd name="T41" fmla="*/ 7 h 10"/>
                <a:gd name="T42" fmla="*/ 11 w 21"/>
                <a:gd name="T43" fmla="*/ 7 h 10"/>
                <a:gd name="T44" fmla="*/ 11 w 21"/>
                <a:gd name="T45" fmla="*/ 7 h 10"/>
                <a:gd name="T46" fmla="*/ 14 w 21"/>
                <a:gd name="T47" fmla="*/ 7 h 10"/>
                <a:gd name="T48" fmla="*/ 15 w 21"/>
                <a:gd name="T49" fmla="*/ 8 h 10"/>
                <a:gd name="T50" fmla="*/ 16 w 21"/>
                <a:gd name="T51" fmla="*/ 9 h 10"/>
                <a:gd name="T52" fmla="*/ 17 w 21"/>
                <a:gd name="T53" fmla="*/ 9 h 10"/>
                <a:gd name="T54" fmla="*/ 18 w 21"/>
                <a:gd name="T55" fmla="*/ 10 h 10"/>
                <a:gd name="T56" fmla="*/ 21 w 21"/>
                <a:gd name="T57" fmla="*/ 10 h 10"/>
                <a:gd name="T58" fmla="*/ 21 w 21"/>
                <a:gd name="T59" fmla="*/ 8 h 10"/>
                <a:gd name="T60" fmla="*/ 21 w 21"/>
                <a:gd name="T61" fmla="*/ 7 h 10"/>
                <a:gd name="T62" fmla="*/ 19 w 21"/>
                <a:gd name="T63" fmla="*/ 7 h 10"/>
                <a:gd name="T64" fmla="*/ 19 w 21"/>
                <a:gd name="T65" fmla="*/ 6 h 10"/>
                <a:gd name="T66" fmla="*/ 18 w 21"/>
                <a:gd name="T67" fmla="*/ 6 h 10"/>
                <a:gd name="T68" fmla="*/ 18 w 21"/>
                <a:gd name="T69" fmla="*/ 6 h 10"/>
                <a:gd name="T70" fmla="*/ 18 w 21"/>
                <a:gd name="T71" fmla="*/ 6 h 10"/>
                <a:gd name="T72" fmla="*/ 19 w 21"/>
                <a:gd name="T73" fmla="*/ 5 h 10"/>
                <a:gd name="T74" fmla="*/ 17 w 21"/>
                <a:gd name="T75" fmla="*/ 4 h 10"/>
                <a:gd name="T76" fmla="*/ 17 w 21"/>
                <a:gd name="T77" fmla="*/ 3 h 10"/>
                <a:gd name="T78" fmla="*/ 16 w 21"/>
                <a:gd name="T79" fmla="*/ 3 h 10"/>
                <a:gd name="T80" fmla="*/ 14 w 21"/>
                <a:gd name="T81" fmla="*/ 3 h 10"/>
                <a:gd name="T82" fmla="*/ 15 w 21"/>
                <a:gd name="T83" fmla="*/ 3 h 10"/>
                <a:gd name="T84" fmla="*/ 14 w 21"/>
                <a:gd name="T85" fmla="*/ 3 h 10"/>
                <a:gd name="T86" fmla="*/ 13 w 21"/>
                <a:gd name="T87" fmla="*/ 2 h 10"/>
                <a:gd name="T88" fmla="*/ 12 w 21"/>
                <a:gd name="T89" fmla="*/ 2 h 10"/>
                <a:gd name="T90" fmla="*/ 12 w 21"/>
                <a:gd name="T91" fmla="*/ 2 h 10"/>
                <a:gd name="T92" fmla="*/ 10 w 21"/>
                <a:gd name="T93" fmla="*/ 3 h 10"/>
                <a:gd name="T94" fmla="*/ 10 w 21"/>
                <a:gd name="T95" fmla="*/ 3 h 10"/>
                <a:gd name="T96" fmla="*/ 9 w 21"/>
                <a:gd name="T97" fmla="*/ 3 h 10"/>
                <a:gd name="T98" fmla="*/ 9 w 21"/>
                <a:gd name="T99" fmla="*/ 2 h 10"/>
                <a:gd name="T100" fmla="*/ 9 w 21"/>
                <a:gd name="T101" fmla="*/ 1 h 10"/>
                <a:gd name="T102" fmla="*/ 9 w 21"/>
                <a:gd name="T103" fmla="*/ 1 h 10"/>
                <a:gd name="T104" fmla="*/ 7 w 21"/>
                <a:gd name="T105" fmla="*/ 0 h 10"/>
                <a:gd name="T106" fmla="*/ 4 w 21"/>
                <a:gd name="T107" fmla="*/ 0 h 10"/>
                <a:gd name="T108" fmla="*/ 2 w 21"/>
                <a:gd name="T109" fmla="*/ 0 h 10"/>
                <a:gd name="T110" fmla="*/ 2 w 21"/>
                <a:gd name="T111" fmla="*/ 0 h 10"/>
                <a:gd name="T112" fmla="*/ 1 w 21"/>
                <a:gd name="T113" fmla="*/ 0 h 10"/>
                <a:gd name="T114" fmla="*/ 0 w 21"/>
                <a:gd name="T115" fmla="*/ 1 h 10"/>
                <a:gd name="T116" fmla="*/ 0 w 21"/>
                <a:gd name="T117" fmla="*/ 2 h 10"/>
                <a:gd name="T118" fmla="*/ 0 w 21"/>
                <a:gd name="T119" fmla="*/ 2 h 10"/>
                <a:gd name="T120" fmla="*/ 2 w 21"/>
                <a:gd name="T12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" h="10"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6" y="3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7" y="5"/>
                    <a:pt x="7" y="5"/>
                  </a:cubicBezTo>
                  <a:cubicBezTo>
                    <a:pt x="8" y="6"/>
                    <a:pt x="7" y="6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3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3" y="7"/>
                    <a:pt x="4" y="7"/>
                  </a:cubicBezTo>
                  <a:cubicBezTo>
                    <a:pt x="4" y="7"/>
                    <a:pt x="5" y="7"/>
                    <a:pt x="6" y="7"/>
                  </a:cubicBezTo>
                  <a:cubicBezTo>
                    <a:pt x="7" y="6"/>
                    <a:pt x="7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7"/>
                  </a:cubicBezTo>
                  <a:cubicBezTo>
                    <a:pt x="9" y="7"/>
                    <a:pt x="10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7"/>
                    <a:pt x="13" y="7"/>
                    <a:pt x="14" y="7"/>
                  </a:cubicBezTo>
                  <a:cubicBezTo>
                    <a:pt x="14" y="8"/>
                    <a:pt x="15" y="8"/>
                    <a:pt x="15" y="8"/>
                  </a:cubicBezTo>
                  <a:cubicBezTo>
                    <a:pt x="15" y="8"/>
                    <a:pt x="16" y="9"/>
                    <a:pt x="16" y="9"/>
                  </a:cubicBezTo>
                  <a:cubicBezTo>
                    <a:pt x="16" y="9"/>
                    <a:pt x="16" y="9"/>
                    <a:pt x="17" y="9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0"/>
                    <a:pt x="21" y="10"/>
                    <a:pt x="21" y="10"/>
                  </a:cubicBezTo>
                  <a:cubicBezTo>
                    <a:pt x="21" y="10"/>
                    <a:pt x="21" y="9"/>
                    <a:pt x="21" y="8"/>
                  </a:cubicBezTo>
                  <a:cubicBezTo>
                    <a:pt x="21" y="8"/>
                    <a:pt x="21" y="8"/>
                    <a:pt x="21" y="7"/>
                  </a:cubicBezTo>
                  <a:cubicBezTo>
                    <a:pt x="20" y="7"/>
                    <a:pt x="20" y="7"/>
                    <a:pt x="19" y="7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6"/>
                    <a:pt x="19" y="6"/>
                    <a:pt x="18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9" y="5"/>
                    <a:pt x="19" y="5"/>
                  </a:cubicBezTo>
                  <a:cubicBezTo>
                    <a:pt x="19" y="4"/>
                    <a:pt x="18" y="4"/>
                    <a:pt x="17" y="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4"/>
                    <a:pt x="16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4" y="3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0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9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2"/>
                    <a:pt x="2" y="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71" name="Freeform 313">
              <a:extLst>
                <a:ext uri="{FF2B5EF4-FFF2-40B4-BE49-F238E27FC236}">
                  <a16:creationId xmlns:a16="http://schemas.microsoft.com/office/drawing/2014/main" id="{83F66915-AF15-4D6E-8571-6E9A5D450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1" y="1742"/>
              <a:ext cx="41" cy="26"/>
            </a:xfrm>
            <a:custGeom>
              <a:avLst/>
              <a:gdLst>
                <a:gd name="T0" fmla="*/ 11 w 17"/>
                <a:gd name="T1" fmla="*/ 1 h 11"/>
                <a:gd name="T2" fmla="*/ 11 w 17"/>
                <a:gd name="T3" fmla="*/ 2 h 11"/>
                <a:gd name="T4" fmla="*/ 9 w 17"/>
                <a:gd name="T5" fmla="*/ 1 h 11"/>
                <a:gd name="T6" fmla="*/ 5 w 17"/>
                <a:gd name="T7" fmla="*/ 1 h 11"/>
                <a:gd name="T8" fmla="*/ 7 w 17"/>
                <a:gd name="T9" fmla="*/ 2 h 11"/>
                <a:gd name="T10" fmla="*/ 9 w 17"/>
                <a:gd name="T11" fmla="*/ 3 h 11"/>
                <a:gd name="T12" fmla="*/ 8 w 17"/>
                <a:gd name="T13" fmla="*/ 4 h 11"/>
                <a:gd name="T14" fmla="*/ 5 w 17"/>
                <a:gd name="T15" fmla="*/ 3 h 11"/>
                <a:gd name="T16" fmla="*/ 2 w 17"/>
                <a:gd name="T17" fmla="*/ 2 h 11"/>
                <a:gd name="T18" fmla="*/ 2 w 17"/>
                <a:gd name="T19" fmla="*/ 3 h 11"/>
                <a:gd name="T20" fmla="*/ 3 w 17"/>
                <a:gd name="T21" fmla="*/ 5 h 11"/>
                <a:gd name="T22" fmla="*/ 1 w 17"/>
                <a:gd name="T23" fmla="*/ 5 h 11"/>
                <a:gd name="T24" fmla="*/ 0 w 17"/>
                <a:gd name="T25" fmla="*/ 6 h 11"/>
                <a:gd name="T26" fmla="*/ 0 w 17"/>
                <a:gd name="T27" fmla="*/ 7 h 11"/>
                <a:gd name="T28" fmla="*/ 6 w 17"/>
                <a:gd name="T29" fmla="*/ 6 h 11"/>
                <a:gd name="T30" fmla="*/ 10 w 17"/>
                <a:gd name="T31" fmla="*/ 6 h 11"/>
                <a:gd name="T32" fmla="*/ 8 w 17"/>
                <a:gd name="T33" fmla="*/ 8 h 11"/>
                <a:gd name="T34" fmla="*/ 6 w 17"/>
                <a:gd name="T35" fmla="*/ 9 h 11"/>
                <a:gd name="T36" fmla="*/ 7 w 17"/>
                <a:gd name="T37" fmla="*/ 10 h 11"/>
                <a:gd name="T38" fmla="*/ 11 w 17"/>
                <a:gd name="T39" fmla="*/ 11 h 11"/>
                <a:gd name="T40" fmla="*/ 14 w 17"/>
                <a:gd name="T41" fmla="*/ 10 h 11"/>
                <a:gd name="T42" fmla="*/ 16 w 17"/>
                <a:gd name="T43" fmla="*/ 9 h 11"/>
                <a:gd name="T44" fmla="*/ 15 w 17"/>
                <a:gd name="T45" fmla="*/ 8 h 11"/>
                <a:gd name="T46" fmla="*/ 15 w 17"/>
                <a:gd name="T47" fmla="*/ 7 h 11"/>
                <a:gd name="T48" fmla="*/ 17 w 17"/>
                <a:gd name="T49" fmla="*/ 8 h 11"/>
                <a:gd name="T50" fmla="*/ 16 w 17"/>
                <a:gd name="T51" fmla="*/ 6 h 11"/>
                <a:gd name="T52" fmla="*/ 15 w 17"/>
                <a:gd name="T53" fmla="*/ 6 h 11"/>
                <a:gd name="T54" fmla="*/ 16 w 17"/>
                <a:gd name="T55" fmla="*/ 4 h 11"/>
                <a:gd name="T56" fmla="*/ 16 w 17"/>
                <a:gd name="T57" fmla="*/ 3 h 11"/>
                <a:gd name="T58" fmla="*/ 16 w 17"/>
                <a:gd name="T59" fmla="*/ 2 h 11"/>
                <a:gd name="T60" fmla="*/ 15 w 17"/>
                <a:gd name="T61" fmla="*/ 1 h 11"/>
                <a:gd name="T62" fmla="*/ 13 w 17"/>
                <a:gd name="T63" fmla="*/ 0 h 11"/>
                <a:gd name="T64" fmla="*/ 12 w 17"/>
                <a:gd name="T6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" h="11">
                  <a:moveTo>
                    <a:pt x="12" y="0"/>
                  </a:moveTo>
                  <a:cubicBezTo>
                    <a:pt x="12" y="0"/>
                    <a:pt x="12" y="0"/>
                    <a:pt x="11" y="1"/>
                  </a:cubicBezTo>
                  <a:cubicBezTo>
                    <a:pt x="11" y="1"/>
                    <a:pt x="11" y="1"/>
                    <a:pt x="12" y="1"/>
                  </a:cubicBezTo>
                  <a:cubicBezTo>
                    <a:pt x="12" y="2"/>
                    <a:pt x="11" y="2"/>
                    <a:pt x="11" y="2"/>
                  </a:cubicBezTo>
                  <a:cubicBezTo>
                    <a:pt x="11" y="2"/>
                    <a:pt x="11" y="2"/>
                    <a:pt x="10" y="1"/>
                  </a:cubicBezTo>
                  <a:cubicBezTo>
                    <a:pt x="9" y="0"/>
                    <a:pt x="10" y="1"/>
                    <a:pt x="9" y="1"/>
                  </a:cubicBezTo>
                  <a:cubicBezTo>
                    <a:pt x="8" y="0"/>
                    <a:pt x="7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2"/>
                    <a:pt x="6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1" y="4"/>
                    <a:pt x="9" y="4"/>
                    <a:pt x="9" y="4"/>
                  </a:cubicBezTo>
                  <a:cubicBezTo>
                    <a:pt x="9" y="4"/>
                    <a:pt x="8" y="5"/>
                    <a:pt x="8" y="4"/>
                  </a:cubicBezTo>
                  <a:cubicBezTo>
                    <a:pt x="7" y="4"/>
                    <a:pt x="7" y="4"/>
                    <a:pt x="6" y="4"/>
                  </a:cubicBezTo>
                  <a:cubicBezTo>
                    <a:pt x="5" y="4"/>
                    <a:pt x="5" y="3"/>
                    <a:pt x="5" y="3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1" y="3"/>
                    <a:pt x="2" y="3"/>
                  </a:cubicBezTo>
                  <a:cubicBezTo>
                    <a:pt x="2" y="3"/>
                    <a:pt x="3" y="4"/>
                    <a:pt x="3" y="4"/>
                  </a:cubicBezTo>
                  <a:cubicBezTo>
                    <a:pt x="3" y="4"/>
                    <a:pt x="3" y="5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5"/>
                    <a:pt x="2" y="5"/>
                    <a:pt x="1" y="5"/>
                  </a:cubicBezTo>
                  <a:cubicBezTo>
                    <a:pt x="0" y="5"/>
                    <a:pt x="1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4" y="7"/>
                    <a:pt x="4" y="7"/>
                  </a:cubicBezTo>
                  <a:cubicBezTo>
                    <a:pt x="4" y="7"/>
                    <a:pt x="6" y="6"/>
                    <a:pt x="6" y="6"/>
                  </a:cubicBezTo>
                  <a:cubicBezTo>
                    <a:pt x="7" y="6"/>
                    <a:pt x="8" y="6"/>
                    <a:pt x="9" y="6"/>
                  </a:cubicBezTo>
                  <a:cubicBezTo>
                    <a:pt x="10" y="6"/>
                    <a:pt x="9" y="6"/>
                    <a:pt x="10" y="6"/>
                  </a:cubicBezTo>
                  <a:cubicBezTo>
                    <a:pt x="10" y="6"/>
                    <a:pt x="9" y="6"/>
                    <a:pt x="9" y="7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8" y="8"/>
                    <a:pt x="7" y="8"/>
                    <a:pt x="6" y="8"/>
                  </a:cubicBezTo>
                  <a:cubicBezTo>
                    <a:pt x="5" y="8"/>
                    <a:pt x="6" y="8"/>
                    <a:pt x="6" y="9"/>
                  </a:cubicBezTo>
                  <a:cubicBezTo>
                    <a:pt x="6" y="9"/>
                    <a:pt x="7" y="9"/>
                    <a:pt x="7" y="9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8" y="10"/>
                    <a:pt x="9" y="11"/>
                    <a:pt x="10" y="11"/>
                  </a:cubicBezTo>
                  <a:cubicBezTo>
                    <a:pt x="10" y="11"/>
                    <a:pt x="11" y="11"/>
                    <a:pt x="11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4" y="10"/>
                    <a:pt x="14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9"/>
                    <a:pt x="16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8"/>
                    <a:pt x="15" y="8"/>
                  </a:cubicBezTo>
                  <a:cubicBezTo>
                    <a:pt x="15" y="8"/>
                    <a:pt x="15" y="8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6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7"/>
                    <a:pt x="17" y="7"/>
                  </a:cubicBezTo>
                  <a:cubicBezTo>
                    <a:pt x="17" y="7"/>
                    <a:pt x="16" y="6"/>
                    <a:pt x="16" y="6"/>
                  </a:cubicBezTo>
                  <a:cubicBezTo>
                    <a:pt x="16" y="6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5" y="4"/>
                    <a:pt x="16" y="4"/>
                    <a:pt x="16" y="4"/>
                  </a:cubicBezTo>
                  <a:cubicBezTo>
                    <a:pt x="16" y="4"/>
                    <a:pt x="16" y="3"/>
                    <a:pt x="16" y="3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6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3" y="1"/>
                    <a:pt x="13" y="0"/>
                  </a:cubicBezTo>
                  <a:cubicBezTo>
                    <a:pt x="13" y="0"/>
                    <a:pt x="13" y="0"/>
                    <a:pt x="12" y="1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72" name="Freeform 314">
              <a:extLst>
                <a:ext uri="{FF2B5EF4-FFF2-40B4-BE49-F238E27FC236}">
                  <a16:creationId xmlns:a16="http://schemas.microsoft.com/office/drawing/2014/main" id="{1A0F354B-F6BE-4AAE-AD7D-475F38AD8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0" y="1751"/>
              <a:ext cx="14" cy="5"/>
            </a:xfrm>
            <a:custGeom>
              <a:avLst/>
              <a:gdLst>
                <a:gd name="T0" fmla="*/ 6 w 6"/>
                <a:gd name="T1" fmla="*/ 0 h 2"/>
                <a:gd name="T2" fmla="*/ 6 w 6"/>
                <a:gd name="T3" fmla="*/ 0 h 2"/>
                <a:gd name="T4" fmla="*/ 3 w 6"/>
                <a:gd name="T5" fmla="*/ 0 h 2"/>
                <a:gd name="T6" fmla="*/ 2 w 6"/>
                <a:gd name="T7" fmla="*/ 0 h 2"/>
                <a:gd name="T8" fmla="*/ 1 w 6"/>
                <a:gd name="T9" fmla="*/ 1 h 2"/>
                <a:gd name="T10" fmla="*/ 1 w 6"/>
                <a:gd name="T11" fmla="*/ 1 h 2"/>
                <a:gd name="T12" fmla="*/ 3 w 6"/>
                <a:gd name="T13" fmla="*/ 1 h 2"/>
                <a:gd name="T14" fmla="*/ 5 w 6"/>
                <a:gd name="T15" fmla="*/ 0 h 2"/>
                <a:gd name="T16" fmla="*/ 6 w 6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2"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4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73" name="Freeform 315">
              <a:extLst>
                <a:ext uri="{FF2B5EF4-FFF2-40B4-BE49-F238E27FC236}">
                  <a16:creationId xmlns:a16="http://schemas.microsoft.com/office/drawing/2014/main" id="{751FF075-9905-44B4-A6F6-CE2E40BA6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4" y="1753"/>
              <a:ext cx="7" cy="3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1 w 3"/>
                <a:gd name="T5" fmla="*/ 1 h 1"/>
                <a:gd name="T6" fmla="*/ 2 w 3"/>
                <a:gd name="T7" fmla="*/ 1 h 1"/>
                <a:gd name="T8" fmla="*/ 3 w 3"/>
                <a:gd name="T9" fmla="*/ 0 h 1"/>
                <a:gd name="T10" fmla="*/ 3 w 3"/>
                <a:gd name="T11" fmla="*/ 0 h 1"/>
                <a:gd name="T12" fmla="*/ 3 w 3"/>
                <a:gd name="T13" fmla="*/ 0 h 1"/>
                <a:gd name="T14" fmla="*/ 1 w 3"/>
                <a:gd name="T15" fmla="*/ 0 h 1"/>
                <a:gd name="T16" fmla="*/ 0 w 3"/>
                <a:gd name="T1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74" name="Freeform 316">
              <a:extLst>
                <a:ext uri="{FF2B5EF4-FFF2-40B4-BE49-F238E27FC236}">
                  <a16:creationId xmlns:a16="http://schemas.microsoft.com/office/drawing/2014/main" id="{A1A9F37D-C07D-44FB-8279-CD6F5B627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7" y="1746"/>
              <a:ext cx="14" cy="5"/>
            </a:xfrm>
            <a:custGeom>
              <a:avLst/>
              <a:gdLst>
                <a:gd name="T0" fmla="*/ 5 w 6"/>
                <a:gd name="T1" fmla="*/ 0 h 2"/>
                <a:gd name="T2" fmla="*/ 3 w 6"/>
                <a:gd name="T3" fmla="*/ 1 h 2"/>
                <a:gd name="T4" fmla="*/ 2 w 6"/>
                <a:gd name="T5" fmla="*/ 1 h 2"/>
                <a:gd name="T6" fmla="*/ 0 w 6"/>
                <a:gd name="T7" fmla="*/ 1 h 2"/>
                <a:gd name="T8" fmla="*/ 1 w 6"/>
                <a:gd name="T9" fmla="*/ 2 h 2"/>
                <a:gd name="T10" fmla="*/ 2 w 6"/>
                <a:gd name="T11" fmla="*/ 2 h 2"/>
                <a:gd name="T12" fmla="*/ 4 w 6"/>
                <a:gd name="T13" fmla="*/ 2 h 2"/>
                <a:gd name="T14" fmla="*/ 6 w 6"/>
                <a:gd name="T15" fmla="*/ 1 h 2"/>
                <a:gd name="T16" fmla="*/ 6 w 6"/>
                <a:gd name="T17" fmla="*/ 1 h 2"/>
                <a:gd name="T18" fmla="*/ 6 w 6"/>
                <a:gd name="T19" fmla="*/ 0 h 2"/>
                <a:gd name="T20" fmla="*/ 6 w 6"/>
                <a:gd name="T21" fmla="*/ 0 h 2"/>
                <a:gd name="T22" fmla="*/ 5 w 6"/>
                <a:gd name="T2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2">
                  <a:moveTo>
                    <a:pt x="5" y="0"/>
                  </a:moveTo>
                  <a:cubicBezTo>
                    <a:pt x="4" y="0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75" name="Freeform 317">
              <a:extLst>
                <a:ext uri="{FF2B5EF4-FFF2-40B4-BE49-F238E27FC236}">
                  <a16:creationId xmlns:a16="http://schemas.microsoft.com/office/drawing/2014/main" id="{9128C315-2F7A-48F8-8B9F-18F305FE0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5" y="1742"/>
              <a:ext cx="12" cy="4"/>
            </a:xfrm>
            <a:custGeom>
              <a:avLst/>
              <a:gdLst>
                <a:gd name="T0" fmla="*/ 1 w 5"/>
                <a:gd name="T1" fmla="*/ 2 h 2"/>
                <a:gd name="T2" fmla="*/ 1 w 5"/>
                <a:gd name="T3" fmla="*/ 2 h 2"/>
                <a:gd name="T4" fmla="*/ 1 w 5"/>
                <a:gd name="T5" fmla="*/ 2 h 2"/>
                <a:gd name="T6" fmla="*/ 3 w 5"/>
                <a:gd name="T7" fmla="*/ 2 h 2"/>
                <a:gd name="T8" fmla="*/ 3 w 5"/>
                <a:gd name="T9" fmla="*/ 2 h 2"/>
                <a:gd name="T10" fmla="*/ 5 w 5"/>
                <a:gd name="T11" fmla="*/ 2 h 2"/>
                <a:gd name="T12" fmla="*/ 4 w 5"/>
                <a:gd name="T13" fmla="*/ 1 h 2"/>
                <a:gd name="T14" fmla="*/ 4 w 5"/>
                <a:gd name="T15" fmla="*/ 1 h 2"/>
                <a:gd name="T16" fmla="*/ 4 w 5"/>
                <a:gd name="T17" fmla="*/ 1 h 2"/>
                <a:gd name="T18" fmla="*/ 3 w 5"/>
                <a:gd name="T19" fmla="*/ 0 h 2"/>
                <a:gd name="T20" fmla="*/ 2 w 5"/>
                <a:gd name="T21" fmla="*/ 0 h 2"/>
                <a:gd name="T22" fmla="*/ 2 w 5"/>
                <a:gd name="T23" fmla="*/ 0 h 2"/>
                <a:gd name="T24" fmla="*/ 0 w 5"/>
                <a:gd name="T25" fmla="*/ 1 h 2"/>
                <a:gd name="T26" fmla="*/ 1 w 5"/>
                <a:gd name="T2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" h="2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4" y="2"/>
                    <a:pt x="5" y="2"/>
                  </a:cubicBezTo>
                  <a:cubicBezTo>
                    <a:pt x="5" y="2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0" y="1"/>
                    <a:pt x="0" y="1"/>
                    <a:pt x="1" y="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76" name="Freeform 318">
              <a:extLst>
                <a:ext uri="{FF2B5EF4-FFF2-40B4-BE49-F238E27FC236}">
                  <a16:creationId xmlns:a16="http://schemas.microsoft.com/office/drawing/2014/main" id="{DDB946B9-1D49-4833-BD9A-F78DAAECD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9" y="1739"/>
              <a:ext cx="11" cy="5"/>
            </a:xfrm>
            <a:custGeom>
              <a:avLst/>
              <a:gdLst>
                <a:gd name="T0" fmla="*/ 0 w 5"/>
                <a:gd name="T1" fmla="*/ 1 h 2"/>
                <a:gd name="T2" fmla="*/ 0 w 5"/>
                <a:gd name="T3" fmla="*/ 1 h 2"/>
                <a:gd name="T4" fmla="*/ 0 w 5"/>
                <a:gd name="T5" fmla="*/ 1 h 2"/>
                <a:gd name="T6" fmla="*/ 0 w 5"/>
                <a:gd name="T7" fmla="*/ 2 h 2"/>
                <a:gd name="T8" fmla="*/ 1 w 5"/>
                <a:gd name="T9" fmla="*/ 2 h 2"/>
                <a:gd name="T10" fmla="*/ 3 w 5"/>
                <a:gd name="T11" fmla="*/ 1 h 2"/>
                <a:gd name="T12" fmla="*/ 4 w 5"/>
                <a:gd name="T13" fmla="*/ 1 h 2"/>
                <a:gd name="T14" fmla="*/ 5 w 5"/>
                <a:gd name="T15" fmla="*/ 0 h 2"/>
                <a:gd name="T16" fmla="*/ 3 w 5"/>
                <a:gd name="T17" fmla="*/ 0 h 2"/>
                <a:gd name="T18" fmla="*/ 2 w 5"/>
                <a:gd name="T19" fmla="*/ 0 h 2"/>
                <a:gd name="T20" fmla="*/ 1 w 5"/>
                <a:gd name="T21" fmla="*/ 1 h 2"/>
                <a:gd name="T22" fmla="*/ 0 w 5"/>
                <a:gd name="T2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4" y="1"/>
                    <a:pt x="5" y="0"/>
                    <a:pt x="5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77" name="Freeform 319">
              <a:extLst>
                <a:ext uri="{FF2B5EF4-FFF2-40B4-BE49-F238E27FC236}">
                  <a16:creationId xmlns:a16="http://schemas.microsoft.com/office/drawing/2014/main" id="{B346E2A0-D028-47A7-B9A7-2CCBA2DC1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2" y="1708"/>
              <a:ext cx="29" cy="17"/>
            </a:xfrm>
            <a:custGeom>
              <a:avLst/>
              <a:gdLst>
                <a:gd name="T0" fmla="*/ 1 w 12"/>
                <a:gd name="T1" fmla="*/ 3 h 7"/>
                <a:gd name="T2" fmla="*/ 2 w 12"/>
                <a:gd name="T3" fmla="*/ 4 h 7"/>
                <a:gd name="T4" fmla="*/ 3 w 12"/>
                <a:gd name="T5" fmla="*/ 4 h 7"/>
                <a:gd name="T6" fmla="*/ 5 w 12"/>
                <a:gd name="T7" fmla="*/ 5 h 7"/>
                <a:gd name="T8" fmla="*/ 5 w 12"/>
                <a:gd name="T9" fmla="*/ 5 h 7"/>
                <a:gd name="T10" fmla="*/ 3 w 12"/>
                <a:gd name="T11" fmla="*/ 5 h 7"/>
                <a:gd name="T12" fmla="*/ 3 w 12"/>
                <a:gd name="T13" fmla="*/ 6 h 7"/>
                <a:gd name="T14" fmla="*/ 3 w 12"/>
                <a:gd name="T15" fmla="*/ 6 h 7"/>
                <a:gd name="T16" fmla="*/ 4 w 12"/>
                <a:gd name="T17" fmla="*/ 6 h 7"/>
                <a:gd name="T18" fmla="*/ 4 w 12"/>
                <a:gd name="T19" fmla="*/ 6 h 7"/>
                <a:gd name="T20" fmla="*/ 5 w 12"/>
                <a:gd name="T21" fmla="*/ 7 h 7"/>
                <a:gd name="T22" fmla="*/ 6 w 12"/>
                <a:gd name="T23" fmla="*/ 7 h 7"/>
                <a:gd name="T24" fmla="*/ 8 w 12"/>
                <a:gd name="T25" fmla="*/ 6 h 7"/>
                <a:gd name="T26" fmla="*/ 9 w 12"/>
                <a:gd name="T27" fmla="*/ 6 h 7"/>
                <a:gd name="T28" fmla="*/ 11 w 12"/>
                <a:gd name="T29" fmla="*/ 6 h 7"/>
                <a:gd name="T30" fmla="*/ 11 w 12"/>
                <a:gd name="T31" fmla="*/ 5 h 7"/>
                <a:gd name="T32" fmla="*/ 11 w 12"/>
                <a:gd name="T33" fmla="*/ 5 h 7"/>
                <a:gd name="T34" fmla="*/ 10 w 12"/>
                <a:gd name="T35" fmla="*/ 5 h 7"/>
                <a:gd name="T36" fmla="*/ 10 w 12"/>
                <a:gd name="T37" fmla="*/ 4 h 7"/>
                <a:gd name="T38" fmla="*/ 11 w 12"/>
                <a:gd name="T39" fmla="*/ 4 h 7"/>
                <a:gd name="T40" fmla="*/ 11 w 12"/>
                <a:gd name="T41" fmla="*/ 4 h 7"/>
                <a:gd name="T42" fmla="*/ 11 w 12"/>
                <a:gd name="T43" fmla="*/ 4 h 7"/>
                <a:gd name="T44" fmla="*/ 11 w 12"/>
                <a:gd name="T45" fmla="*/ 3 h 7"/>
                <a:gd name="T46" fmla="*/ 11 w 12"/>
                <a:gd name="T47" fmla="*/ 3 h 7"/>
                <a:gd name="T48" fmla="*/ 9 w 12"/>
                <a:gd name="T49" fmla="*/ 2 h 7"/>
                <a:gd name="T50" fmla="*/ 8 w 12"/>
                <a:gd name="T51" fmla="*/ 2 h 7"/>
                <a:gd name="T52" fmla="*/ 7 w 12"/>
                <a:gd name="T53" fmla="*/ 2 h 7"/>
                <a:gd name="T54" fmla="*/ 8 w 12"/>
                <a:gd name="T55" fmla="*/ 2 h 7"/>
                <a:gd name="T56" fmla="*/ 7 w 12"/>
                <a:gd name="T57" fmla="*/ 2 h 7"/>
                <a:gd name="T58" fmla="*/ 7 w 12"/>
                <a:gd name="T59" fmla="*/ 2 h 7"/>
                <a:gd name="T60" fmla="*/ 5 w 12"/>
                <a:gd name="T61" fmla="*/ 1 h 7"/>
                <a:gd name="T62" fmla="*/ 3 w 12"/>
                <a:gd name="T63" fmla="*/ 1 h 7"/>
                <a:gd name="T64" fmla="*/ 2 w 12"/>
                <a:gd name="T65" fmla="*/ 0 h 7"/>
                <a:gd name="T66" fmla="*/ 1 w 12"/>
                <a:gd name="T67" fmla="*/ 1 h 7"/>
                <a:gd name="T68" fmla="*/ 0 w 12"/>
                <a:gd name="T69" fmla="*/ 1 h 7"/>
                <a:gd name="T70" fmla="*/ 0 w 12"/>
                <a:gd name="T71" fmla="*/ 1 h 7"/>
                <a:gd name="T72" fmla="*/ 1 w 12"/>
                <a:gd name="T73" fmla="*/ 2 h 7"/>
                <a:gd name="T74" fmla="*/ 1 w 12"/>
                <a:gd name="T75" fmla="*/ 2 h 7"/>
                <a:gd name="T76" fmla="*/ 1 w 12"/>
                <a:gd name="T77" fmla="*/ 2 h 7"/>
                <a:gd name="T78" fmla="*/ 0 w 12"/>
                <a:gd name="T79" fmla="*/ 3 h 7"/>
                <a:gd name="T80" fmla="*/ 1 w 12"/>
                <a:gd name="T8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" h="7">
                  <a:moveTo>
                    <a:pt x="1" y="3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4"/>
                    <a:pt x="3" y="4"/>
                  </a:cubicBezTo>
                  <a:cubicBezTo>
                    <a:pt x="3" y="4"/>
                    <a:pt x="4" y="4"/>
                    <a:pt x="5" y="5"/>
                  </a:cubicBezTo>
                  <a:cubicBezTo>
                    <a:pt x="6" y="5"/>
                    <a:pt x="5" y="5"/>
                    <a:pt x="5" y="5"/>
                  </a:cubicBezTo>
                  <a:cubicBezTo>
                    <a:pt x="4" y="5"/>
                    <a:pt x="4" y="5"/>
                    <a:pt x="3" y="5"/>
                  </a:cubicBezTo>
                  <a:cubicBezTo>
                    <a:pt x="2" y="5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5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5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7" y="6"/>
                    <a:pt x="8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6"/>
                    <a:pt x="10" y="6"/>
                    <a:pt x="11" y="6"/>
                  </a:cubicBezTo>
                  <a:cubicBezTo>
                    <a:pt x="11" y="6"/>
                    <a:pt x="11" y="6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0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2" y="4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2"/>
                    <a:pt x="10" y="2"/>
                    <a:pt x="9" y="2"/>
                  </a:cubicBezTo>
                  <a:cubicBezTo>
                    <a:pt x="9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8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6" y="2"/>
                    <a:pt x="5" y="1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78" name="Freeform 320">
              <a:extLst>
                <a:ext uri="{FF2B5EF4-FFF2-40B4-BE49-F238E27FC236}">
                  <a16:creationId xmlns:a16="http://schemas.microsoft.com/office/drawing/2014/main" id="{170428AF-7E84-41F4-96AA-58C2C43B3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9" y="1725"/>
              <a:ext cx="24" cy="7"/>
            </a:xfrm>
            <a:custGeom>
              <a:avLst/>
              <a:gdLst>
                <a:gd name="T0" fmla="*/ 1 w 10"/>
                <a:gd name="T1" fmla="*/ 2 h 3"/>
                <a:gd name="T2" fmla="*/ 4 w 10"/>
                <a:gd name="T3" fmla="*/ 2 h 3"/>
                <a:gd name="T4" fmla="*/ 7 w 10"/>
                <a:gd name="T5" fmla="*/ 2 h 3"/>
                <a:gd name="T6" fmla="*/ 8 w 10"/>
                <a:gd name="T7" fmla="*/ 2 h 3"/>
                <a:gd name="T8" fmla="*/ 9 w 10"/>
                <a:gd name="T9" fmla="*/ 2 h 3"/>
                <a:gd name="T10" fmla="*/ 9 w 10"/>
                <a:gd name="T11" fmla="*/ 1 h 3"/>
                <a:gd name="T12" fmla="*/ 10 w 10"/>
                <a:gd name="T13" fmla="*/ 1 h 3"/>
                <a:gd name="T14" fmla="*/ 10 w 10"/>
                <a:gd name="T15" fmla="*/ 0 h 3"/>
                <a:gd name="T16" fmla="*/ 8 w 10"/>
                <a:gd name="T17" fmla="*/ 0 h 3"/>
                <a:gd name="T18" fmla="*/ 7 w 10"/>
                <a:gd name="T19" fmla="*/ 1 h 3"/>
                <a:gd name="T20" fmla="*/ 5 w 10"/>
                <a:gd name="T21" fmla="*/ 0 h 3"/>
                <a:gd name="T22" fmla="*/ 3 w 10"/>
                <a:gd name="T23" fmla="*/ 0 h 3"/>
                <a:gd name="T24" fmla="*/ 3 w 10"/>
                <a:gd name="T25" fmla="*/ 0 h 3"/>
                <a:gd name="T26" fmla="*/ 2 w 10"/>
                <a:gd name="T27" fmla="*/ 0 h 3"/>
                <a:gd name="T28" fmla="*/ 1 w 10"/>
                <a:gd name="T29" fmla="*/ 0 h 3"/>
                <a:gd name="T30" fmla="*/ 0 w 10"/>
                <a:gd name="T31" fmla="*/ 1 h 3"/>
                <a:gd name="T32" fmla="*/ 0 w 10"/>
                <a:gd name="T33" fmla="*/ 1 h 3"/>
                <a:gd name="T34" fmla="*/ 0 w 10"/>
                <a:gd name="T35" fmla="*/ 2 h 3"/>
                <a:gd name="T36" fmla="*/ 1 w 10"/>
                <a:gd name="T3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" h="3">
                  <a:moveTo>
                    <a:pt x="1" y="2"/>
                  </a:moveTo>
                  <a:cubicBezTo>
                    <a:pt x="2" y="2"/>
                    <a:pt x="2" y="2"/>
                    <a:pt x="4" y="2"/>
                  </a:cubicBezTo>
                  <a:cubicBezTo>
                    <a:pt x="5" y="2"/>
                    <a:pt x="6" y="2"/>
                    <a:pt x="7" y="2"/>
                  </a:cubicBezTo>
                  <a:cubicBezTo>
                    <a:pt x="7" y="2"/>
                    <a:pt x="7" y="2"/>
                    <a:pt x="8" y="2"/>
                  </a:cubicBezTo>
                  <a:cubicBezTo>
                    <a:pt x="8" y="2"/>
                    <a:pt x="9" y="3"/>
                    <a:pt x="9" y="2"/>
                  </a:cubicBezTo>
                  <a:cubicBezTo>
                    <a:pt x="9" y="2"/>
                    <a:pt x="9" y="1"/>
                    <a:pt x="9" y="1"/>
                  </a:cubicBezTo>
                  <a:cubicBezTo>
                    <a:pt x="9" y="1"/>
                    <a:pt x="10" y="1"/>
                    <a:pt x="10" y="1"/>
                  </a:cubicBezTo>
                  <a:cubicBezTo>
                    <a:pt x="10" y="1"/>
                    <a:pt x="10" y="0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7" y="1"/>
                    <a:pt x="7" y="1"/>
                  </a:cubicBezTo>
                  <a:cubicBezTo>
                    <a:pt x="7" y="0"/>
                    <a:pt x="5" y="0"/>
                    <a:pt x="5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lnTo>
                    <a:pt x="1" y="2"/>
                  </a:ln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79" name="Freeform 321">
              <a:extLst>
                <a:ext uri="{FF2B5EF4-FFF2-40B4-BE49-F238E27FC236}">
                  <a16:creationId xmlns:a16="http://schemas.microsoft.com/office/drawing/2014/main" id="{A3D2420F-1162-48DB-BA83-E599FE9C63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7" y="1727"/>
              <a:ext cx="12" cy="8"/>
            </a:xfrm>
            <a:custGeom>
              <a:avLst/>
              <a:gdLst>
                <a:gd name="T0" fmla="*/ 3 w 5"/>
                <a:gd name="T1" fmla="*/ 3 h 3"/>
                <a:gd name="T2" fmla="*/ 4 w 5"/>
                <a:gd name="T3" fmla="*/ 3 h 3"/>
                <a:gd name="T4" fmla="*/ 5 w 5"/>
                <a:gd name="T5" fmla="*/ 2 h 3"/>
                <a:gd name="T6" fmla="*/ 5 w 5"/>
                <a:gd name="T7" fmla="*/ 1 h 3"/>
                <a:gd name="T8" fmla="*/ 2 w 5"/>
                <a:gd name="T9" fmla="*/ 0 h 3"/>
                <a:gd name="T10" fmla="*/ 2 w 5"/>
                <a:gd name="T11" fmla="*/ 0 h 3"/>
                <a:gd name="T12" fmla="*/ 0 w 5"/>
                <a:gd name="T13" fmla="*/ 1 h 3"/>
                <a:gd name="T14" fmla="*/ 0 w 5"/>
                <a:gd name="T15" fmla="*/ 2 h 3"/>
                <a:gd name="T16" fmla="*/ 1 w 5"/>
                <a:gd name="T17" fmla="*/ 2 h 3"/>
                <a:gd name="T18" fmla="*/ 3 w 5"/>
                <a:gd name="T1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4" y="3"/>
                    <a:pt x="3" y="3"/>
                    <a:pt x="4" y="3"/>
                  </a:cubicBezTo>
                  <a:cubicBezTo>
                    <a:pt x="5" y="3"/>
                    <a:pt x="5" y="3"/>
                    <a:pt x="5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5" y="1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2" y="2"/>
                    <a:pt x="3" y="3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80" name="Freeform 322">
              <a:extLst>
                <a:ext uri="{FF2B5EF4-FFF2-40B4-BE49-F238E27FC236}">
                  <a16:creationId xmlns:a16="http://schemas.microsoft.com/office/drawing/2014/main" id="{83C1ABD7-F903-4232-A84F-3C1BA69BD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4" y="1737"/>
              <a:ext cx="135" cy="38"/>
            </a:xfrm>
            <a:custGeom>
              <a:avLst/>
              <a:gdLst>
                <a:gd name="T0" fmla="*/ 25 w 57"/>
                <a:gd name="T1" fmla="*/ 14 h 16"/>
                <a:gd name="T2" fmla="*/ 26 w 57"/>
                <a:gd name="T3" fmla="*/ 14 h 16"/>
                <a:gd name="T4" fmla="*/ 27 w 57"/>
                <a:gd name="T5" fmla="*/ 15 h 16"/>
                <a:gd name="T6" fmla="*/ 32 w 57"/>
                <a:gd name="T7" fmla="*/ 16 h 16"/>
                <a:gd name="T8" fmla="*/ 35 w 57"/>
                <a:gd name="T9" fmla="*/ 15 h 16"/>
                <a:gd name="T10" fmla="*/ 36 w 57"/>
                <a:gd name="T11" fmla="*/ 16 h 16"/>
                <a:gd name="T12" fmla="*/ 38 w 57"/>
                <a:gd name="T13" fmla="*/ 16 h 16"/>
                <a:gd name="T14" fmla="*/ 39 w 57"/>
                <a:gd name="T15" fmla="*/ 15 h 16"/>
                <a:gd name="T16" fmla="*/ 43 w 57"/>
                <a:gd name="T17" fmla="*/ 13 h 16"/>
                <a:gd name="T18" fmla="*/ 45 w 57"/>
                <a:gd name="T19" fmla="*/ 15 h 16"/>
                <a:gd name="T20" fmla="*/ 49 w 57"/>
                <a:gd name="T21" fmla="*/ 16 h 16"/>
                <a:gd name="T22" fmla="*/ 53 w 57"/>
                <a:gd name="T23" fmla="*/ 14 h 16"/>
                <a:gd name="T24" fmla="*/ 56 w 57"/>
                <a:gd name="T25" fmla="*/ 12 h 16"/>
                <a:gd name="T26" fmla="*/ 54 w 57"/>
                <a:gd name="T27" fmla="*/ 12 h 16"/>
                <a:gd name="T28" fmla="*/ 54 w 57"/>
                <a:gd name="T29" fmla="*/ 9 h 16"/>
                <a:gd name="T30" fmla="*/ 50 w 57"/>
                <a:gd name="T31" fmla="*/ 8 h 16"/>
                <a:gd name="T32" fmla="*/ 47 w 57"/>
                <a:gd name="T33" fmla="*/ 7 h 16"/>
                <a:gd name="T34" fmla="*/ 40 w 57"/>
                <a:gd name="T35" fmla="*/ 8 h 16"/>
                <a:gd name="T36" fmla="*/ 37 w 57"/>
                <a:gd name="T37" fmla="*/ 9 h 16"/>
                <a:gd name="T38" fmla="*/ 34 w 57"/>
                <a:gd name="T39" fmla="*/ 10 h 16"/>
                <a:gd name="T40" fmla="*/ 30 w 57"/>
                <a:gd name="T41" fmla="*/ 9 h 16"/>
                <a:gd name="T42" fmla="*/ 29 w 57"/>
                <a:gd name="T43" fmla="*/ 9 h 16"/>
                <a:gd name="T44" fmla="*/ 27 w 57"/>
                <a:gd name="T45" fmla="*/ 8 h 16"/>
                <a:gd name="T46" fmla="*/ 26 w 57"/>
                <a:gd name="T47" fmla="*/ 10 h 16"/>
                <a:gd name="T48" fmla="*/ 25 w 57"/>
                <a:gd name="T49" fmla="*/ 9 h 16"/>
                <a:gd name="T50" fmla="*/ 24 w 57"/>
                <a:gd name="T51" fmla="*/ 7 h 16"/>
                <a:gd name="T52" fmla="*/ 22 w 57"/>
                <a:gd name="T53" fmla="*/ 6 h 16"/>
                <a:gd name="T54" fmla="*/ 21 w 57"/>
                <a:gd name="T55" fmla="*/ 6 h 16"/>
                <a:gd name="T56" fmla="*/ 25 w 57"/>
                <a:gd name="T57" fmla="*/ 5 h 16"/>
                <a:gd name="T58" fmla="*/ 18 w 57"/>
                <a:gd name="T59" fmla="*/ 4 h 16"/>
                <a:gd name="T60" fmla="*/ 19 w 57"/>
                <a:gd name="T61" fmla="*/ 3 h 16"/>
                <a:gd name="T62" fmla="*/ 17 w 57"/>
                <a:gd name="T63" fmla="*/ 2 h 16"/>
                <a:gd name="T64" fmla="*/ 12 w 57"/>
                <a:gd name="T65" fmla="*/ 2 h 16"/>
                <a:gd name="T66" fmla="*/ 11 w 57"/>
                <a:gd name="T67" fmla="*/ 3 h 16"/>
                <a:gd name="T68" fmla="*/ 9 w 57"/>
                <a:gd name="T69" fmla="*/ 0 h 16"/>
                <a:gd name="T70" fmla="*/ 4 w 57"/>
                <a:gd name="T71" fmla="*/ 0 h 16"/>
                <a:gd name="T72" fmla="*/ 2 w 57"/>
                <a:gd name="T73" fmla="*/ 0 h 16"/>
                <a:gd name="T74" fmla="*/ 1 w 57"/>
                <a:gd name="T75" fmla="*/ 1 h 16"/>
                <a:gd name="T76" fmla="*/ 0 w 57"/>
                <a:gd name="T77" fmla="*/ 2 h 16"/>
                <a:gd name="T78" fmla="*/ 3 w 57"/>
                <a:gd name="T79" fmla="*/ 3 h 16"/>
                <a:gd name="T80" fmla="*/ 5 w 57"/>
                <a:gd name="T81" fmla="*/ 4 h 16"/>
                <a:gd name="T82" fmla="*/ 5 w 57"/>
                <a:gd name="T83" fmla="*/ 5 h 16"/>
                <a:gd name="T84" fmla="*/ 8 w 57"/>
                <a:gd name="T85" fmla="*/ 5 h 16"/>
                <a:gd name="T86" fmla="*/ 11 w 57"/>
                <a:gd name="T87" fmla="*/ 5 h 16"/>
                <a:gd name="T88" fmla="*/ 13 w 57"/>
                <a:gd name="T89" fmla="*/ 5 h 16"/>
                <a:gd name="T90" fmla="*/ 15 w 57"/>
                <a:gd name="T91" fmla="*/ 8 h 16"/>
                <a:gd name="T92" fmla="*/ 15 w 57"/>
                <a:gd name="T93" fmla="*/ 12 h 16"/>
                <a:gd name="T94" fmla="*/ 16 w 57"/>
                <a:gd name="T95" fmla="*/ 15 h 16"/>
                <a:gd name="T96" fmla="*/ 20 w 57"/>
                <a:gd name="T97" fmla="*/ 13 h 16"/>
                <a:gd name="T98" fmla="*/ 23 w 57"/>
                <a:gd name="T9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7" h="16">
                  <a:moveTo>
                    <a:pt x="24" y="15"/>
                  </a:moveTo>
                  <a:cubicBezTo>
                    <a:pt x="24" y="15"/>
                    <a:pt x="25" y="15"/>
                    <a:pt x="25" y="15"/>
                  </a:cubicBezTo>
                  <a:cubicBezTo>
                    <a:pt x="25" y="15"/>
                    <a:pt x="24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6" y="13"/>
                    <a:pt x="26" y="13"/>
                  </a:cubicBezTo>
                  <a:cubicBezTo>
                    <a:pt x="26" y="14"/>
                    <a:pt x="25" y="14"/>
                    <a:pt x="26" y="15"/>
                  </a:cubicBezTo>
                  <a:cubicBezTo>
                    <a:pt x="26" y="15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4"/>
                    <a:pt x="27" y="14"/>
                    <a:pt x="27" y="14"/>
                  </a:cubicBezTo>
                  <a:cubicBezTo>
                    <a:pt x="27" y="15"/>
                    <a:pt x="26" y="15"/>
                    <a:pt x="27" y="15"/>
                  </a:cubicBezTo>
                  <a:cubicBezTo>
                    <a:pt x="27" y="16"/>
                    <a:pt x="27" y="15"/>
                    <a:pt x="28" y="16"/>
                  </a:cubicBezTo>
                  <a:cubicBezTo>
                    <a:pt x="29" y="16"/>
                    <a:pt x="30" y="16"/>
                    <a:pt x="31" y="16"/>
                  </a:cubicBezTo>
                  <a:cubicBezTo>
                    <a:pt x="31" y="16"/>
                    <a:pt x="31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4" y="15"/>
                    <a:pt x="35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6"/>
                    <a:pt x="36" y="15"/>
                    <a:pt x="36" y="15"/>
                  </a:cubicBezTo>
                  <a:cubicBezTo>
                    <a:pt x="36" y="15"/>
                    <a:pt x="36" y="13"/>
                    <a:pt x="37" y="14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8" y="16"/>
                    <a:pt x="38" y="16"/>
                  </a:cubicBezTo>
                  <a:cubicBezTo>
                    <a:pt x="38" y="15"/>
                    <a:pt x="38" y="15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8" y="14"/>
                    <a:pt x="38" y="15"/>
                  </a:cubicBezTo>
                  <a:cubicBezTo>
                    <a:pt x="39" y="16"/>
                    <a:pt x="39" y="15"/>
                    <a:pt x="39" y="15"/>
                  </a:cubicBezTo>
                  <a:cubicBezTo>
                    <a:pt x="39" y="16"/>
                    <a:pt x="41" y="16"/>
                    <a:pt x="42" y="15"/>
                  </a:cubicBezTo>
                  <a:cubicBezTo>
                    <a:pt x="43" y="15"/>
                    <a:pt x="43" y="16"/>
                    <a:pt x="43" y="15"/>
                  </a:cubicBezTo>
                  <a:cubicBezTo>
                    <a:pt x="43" y="14"/>
                    <a:pt x="44" y="14"/>
                    <a:pt x="43" y="14"/>
                  </a:cubicBezTo>
                  <a:cubicBezTo>
                    <a:pt x="43" y="13"/>
                    <a:pt x="42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4" y="14"/>
                    <a:pt x="44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4" y="14"/>
                    <a:pt x="44" y="14"/>
                    <a:pt x="45" y="15"/>
                  </a:cubicBezTo>
                  <a:cubicBezTo>
                    <a:pt x="45" y="15"/>
                    <a:pt x="46" y="15"/>
                    <a:pt x="46" y="15"/>
                  </a:cubicBezTo>
                  <a:cubicBezTo>
                    <a:pt x="46" y="16"/>
                    <a:pt x="46" y="15"/>
                    <a:pt x="47" y="15"/>
                  </a:cubicBezTo>
                  <a:cubicBezTo>
                    <a:pt x="47" y="15"/>
                    <a:pt x="48" y="16"/>
                    <a:pt x="48" y="16"/>
                  </a:cubicBezTo>
                  <a:cubicBezTo>
                    <a:pt x="48" y="16"/>
                    <a:pt x="49" y="16"/>
                    <a:pt x="49" y="16"/>
                  </a:cubicBezTo>
                  <a:cubicBezTo>
                    <a:pt x="50" y="15"/>
                    <a:pt x="49" y="15"/>
                    <a:pt x="50" y="15"/>
                  </a:cubicBezTo>
                  <a:cubicBezTo>
                    <a:pt x="51" y="15"/>
                    <a:pt x="51" y="15"/>
                    <a:pt x="52" y="15"/>
                  </a:cubicBezTo>
                  <a:cubicBezTo>
                    <a:pt x="52" y="15"/>
                    <a:pt x="52" y="15"/>
                    <a:pt x="53" y="15"/>
                  </a:cubicBezTo>
                  <a:cubicBezTo>
                    <a:pt x="53" y="15"/>
                    <a:pt x="53" y="15"/>
                    <a:pt x="53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14"/>
                    <a:pt x="56" y="14"/>
                    <a:pt x="56" y="14"/>
                  </a:cubicBezTo>
                  <a:cubicBezTo>
                    <a:pt x="56" y="13"/>
                    <a:pt x="57" y="13"/>
                    <a:pt x="56" y="13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3"/>
                    <a:pt x="54" y="12"/>
                    <a:pt x="54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2"/>
                    <a:pt x="55" y="12"/>
                    <a:pt x="55" y="11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56" y="10"/>
                    <a:pt x="56" y="10"/>
                    <a:pt x="55" y="10"/>
                  </a:cubicBezTo>
                  <a:cubicBezTo>
                    <a:pt x="54" y="9"/>
                    <a:pt x="54" y="10"/>
                    <a:pt x="54" y="9"/>
                  </a:cubicBezTo>
                  <a:cubicBezTo>
                    <a:pt x="53" y="9"/>
                    <a:pt x="53" y="9"/>
                    <a:pt x="53" y="8"/>
                  </a:cubicBezTo>
                  <a:cubicBezTo>
                    <a:pt x="52" y="8"/>
                    <a:pt x="51" y="8"/>
                    <a:pt x="5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0" y="8"/>
                    <a:pt x="50" y="7"/>
                    <a:pt x="50" y="7"/>
                  </a:cubicBezTo>
                  <a:cubicBezTo>
                    <a:pt x="50" y="7"/>
                    <a:pt x="50" y="7"/>
                    <a:pt x="49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6" y="7"/>
                    <a:pt x="46" y="7"/>
                    <a:pt x="45" y="8"/>
                  </a:cubicBezTo>
                  <a:cubicBezTo>
                    <a:pt x="44" y="8"/>
                    <a:pt x="44" y="8"/>
                    <a:pt x="43" y="8"/>
                  </a:cubicBezTo>
                  <a:cubicBezTo>
                    <a:pt x="42" y="7"/>
                    <a:pt x="43" y="7"/>
                    <a:pt x="42" y="7"/>
                  </a:cubicBezTo>
                  <a:cubicBezTo>
                    <a:pt x="41" y="7"/>
                    <a:pt x="41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7" y="9"/>
                    <a:pt x="38" y="9"/>
                    <a:pt x="37" y="9"/>
                  </a:cubicBezTo>
                  <a:cubicBezTo>
                    <a:pt x="36" y="9"/>
                    <a:pt x="36" y="9"/>
                    <a:pt x="35" y="9"/>
                  </a:cubicBezTo>
                  <a:cubicBezTo>
                    <a:pt x="35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5" y="10"/>
                    <a:pt x="35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9"/>
                    <a:pt x="31" y="9"/>
                    <a:pt x="31" y="9"/>
                  </a:cubicBezTo>
                  <a:cubicBezTo>
                    <a:pt x="31" y="9"/>
                    <a:pt x="31" y="9"/>
                    <a:pt x="30" y="9"/>
                  </a:cubicBezTo>
                  <a:cubicBezTo>
                    <a:pt x="30" y="9"/>
                    <a:pt x="31" y="9"/>
                    <a:pt x="30" y="10"/>
                  </a:cubicBezTo>
                  <a:cubicBezTo>
                    <a:pt x="30" y="10"/>
                    <a:pt x="30" y="9"/>
                    <a:pt x="30" y="9"/>
                  </a:cubicBezTo>
                  <a:cubicBezTo>
                    <a:pt x="30" y="9"/>
                    <a:pt x="30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8" y="9"/>
                    <a:pt x="28" y="10"/>
                    <a:pt x="28" y="10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5" y="10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1" y="6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2" y="5"/>
                    <a:pt x="22" y="5"/>
                    <a:pt x="23" y="5"/>
                  </a:cubicBezTo>
                  <a:cubicBezTo>
                    <a:pt x="23" y="5"/>
                    <a:pt x="23" y="5"/>
                    <a:pt x="24" y="5"/>
                  </a:cubicBezTo>
                  <a:cubicBezTo>
                    <a:pt x="24" y="5"/>
                    <a:pt x="25" y="5"/>
                    <a:pt x="25" y="5"/>
                  </a:cubicBezTo>
                  <a:cubicBezTo>
                    <a:pt x="25" y="5"/>
                    <a:pt x="25" y="4"/>
                    <a:pt x="24" y="4"/>
                  </a:cubicBezTo>
                  <a:cubicBezTo>
                    <a:pt x="23" y="4"/>
                    <a:pt x="22" y="4"/>
                    <a:pt x="21" y="4"/>
                  </a:cubicBezTo>
                  <a:cubicBezTo>
                    <a:pt x="20" y="4"/>
                    <a:pt x="20" y="4"/>
                    <a:pt x="19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7" y="3"/>
                    <a:pt x="17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3"/>
                    <a:pt x="21" y="3"/>
                    <a:pt x="21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2"/>
                    <a:pt x="18" y="2"/>
                    <a:pt x="18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2"/>
                    <a:pt x="14" y="3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2" y="2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1" y="1"/>
                    <a:pt x="11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4" y="5"/>
                    <a:pt x="14" y="6"/>
                    <a:pt x="14" y="6"/>
                  </a:cubicBezTo>
                  <a:cubicBezTo>
                    <a:pt x="14" y="6"/>
                    <a:pt x="13" y="6"/>
                    <a:pt x="14" y="7"/>
                  </a:cubicBezTo>
                  <a:cubicBezTo>
                    <a:pt x="15" y="7"/>
                    <a:pt x="16" y="7"/>
                    <a:pt x="16" y="7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6" y="9"/>
                    <a:pt x="16" y="9"/>
                    <a:pt x="15" y="9"/>
                  </a:cubicBezTo>
                  <a:cubicBezTo>
                    <a:pt x="15" y="9"/>
                    <a:pt x="15" y="10"/>
                    <a:pt x="15" y="10"/>
                  </a:cubicBezTo>
                  <a:cubicBezTo>
                    <a:pt x="14" y="10"/>
                    <a:pt x="14" y="11"/>
                    <a:pt x="14" y="11"/>
                  </a:cubicBezTo>
                  <a:cubicBezTo>
                    <a:pt x="14" y="11"/>
                    <a:pt x="14" y="11"/>
                    <a:pt x="15" y="12"/>
                  </a:cubicBezTo>
                  <a:cubicBezTo>
                    <a:pt x="15" y="12"/>
                    <a:pt x="16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3"/>
                    <a:pt x="16" y="13"/>
                    <a:pt x="16" y="14"/>
                  </a:cubicBezTo>
                  <a:cubicBezTo>
                    <a:pt x="16" y="14"/>
                    <a:pt x="16" y="14"/>
                    <a:pt x="16" y="15"/>
                  </a:cubicBezTo>
                  <a:cubicBezTo>
                    <a:pt x="17" y="15"/>
                    <a:pt x="18" y="15"/>
                    <a:pt x="19" y="15"/>
                  </a:cubicBezTo>
                  <a:cubicBezTo>
                    <a:pt x="19" y="15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4"/>
                    <a:pt x="20" y="14"/>
                    <a:pt x="19" y="14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1" y="15"/>
                  </a:cubicBezTo>
                  <a:cubicBezTo>
                    <a:pt x="22" y="15"/>
                    <a:pt x="22" y="15"/>
                    <a:pt x="23" y="15"/>
                  </a:cubicBezTo>
                  <a:cubicBezTo>
                    <a:pt x="23" y="15"/>
                    <a:pt x="24" y="15"/>
                    <a:pt x="24" y="15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81" name="Freeform 323">
              <a:extLst>
                <a:ext uri="{FF2B5EF4-FFF2-40B4-BE49-F238E27FC236}">
                  <a16:creationId xmlns:a16="http://schemas.microsoft.com/office/drawing/2014/main" id="{FF321030-0445-4C5A-89BF-95C6D8015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4" y="1668"/>
              <a:ext cx="90" cy="52"/>
            </a:xfrm>
            <a:custGeom>
              <a:avLst/>
              <a:gdLst>
                <a:gd name="T0" fmla="*/ 3 w 38"/>
                <a:gd name="T1" fmla="*/ 12 h 22"/>
                <a:gd name="T2" fmla="*/ 8 w 38"/>
                <a:gd name="T3" fmla="*/ 11 h 22"/>
                <a:gd name="T4" fmla="*/ 7 w 38"/>
                <a:gd name="T5" fmla="*/ 13 h 22"/>
                <a:gd name="T6" fmla="*/ 4 w 38"/>
                <a:gd name="T7" fmla="*/ 14 h 22"/>
                <a:gd name="T8" fmla="*/ 6 w 38"/>
                <a:gd name="T9" fmla="*/ 15 h 22"/>
                <a:gd name="T10" fmla="*/ 8 w 38"/>
                <a:gd name="T11" fmla="*/ 13 h 22"/>
                <a:gd name="T12" fmla="*/ 9 w 38"/>
                <a:gd name="T13" fmla="*/ 15 h 22"/>
                <a:gd name="T14" fmla="*/ 13 w 38"/>
                <a:gd name="T15" fmla="*/ 14 h 22"/>
                <a:gd name="T16" fmla="*/ 14 w 38"/>
                <a:gd name="T17" fmla="*/ 13 h 22"/>
                <a:gd name="T18" fmla="*/ 16 w 38"/>
                <a:gd name="T19" fmla="*/ 14 h 22"/>
                <a:gd name="T20" fmla="*/ 19 w 38"/>
                <a:gd name="T21" fmla="*/ 14 h 22"/>
                <a:gd name="T22" fmla="*/ 21 w 38"/>
                <a:gd name="T23" fmla="*/ 14 h 22"/>
                <a:gd name="T24" fmla="*/ 12 w 38"/>
                <a:gd name="T25" fmla="*/ 15 h 22"/>
                <a:gd name="T26" fmla="*/ 10 w 38"/>
                <a:gd name="T27" fmla="*/ 17 h 22"/>
                <a:gd name="T28" fmla="*/ 14 w 38"/>
                <a:gd name="T29" fmla="*/ 19 h 22"/>
                <a:gd name="T30" fmla="*/ 14 w 38"/>
                <a:gd name="T31" fmla="*/ 20 h 22"/>
                <a:gd name="T32" fmla="*/ 15 w 38"/>
                <a:gd name="T33" fmla="*/ 21 h 22"/>
                <a:gd name="T34" fmla="*/ 21 w 38"/>
                <a:gd name="T35" fmla="*/ 21 h 22"/>
                <a:gd name="T36" fmla="*/ 23 w 38"/>
                <a:gd name="T37" fmla="*/ 21 h 22"/>
                <a:gd name="T38" fmla="*/ 22 w 38"/>
                <a:gd name="T39" fmla="*/ 20 h 22"/>
                <a:gd name="T40" fmla="*/ 26 w 38"/>
                <a:gd name="T41" fmla="*/ 22 h 22"/>
                <a:gd name="T42" fmla="*/ 26 w 38"/>
                <a:gd name="T43" fmla="*/ 19 h 22"/>
                <a:gd name="T44" fmla="*/ 29 w 38"/>
                <a:gd name="T45" fmla="*/ 19 h 22"/>
                <a:gd name="T46" fmla="*/ 28 w 38"/>
                <a:gd name="T47" fmla="*/ 17 h 22"/>
                <a:gd name="T48" fmla="*/ 29 w 38"/>
                <a:gd name="T49" fmla="*/ 18 h 22"/>
                <a:gd name="T50" fmla="*/ 31 w 38"/>
                <a:gd name="T51" fmla="*/ 17 h 22"/>
                <a:gd name="T52" fmla="*/ 33 w 38"/>
                <a:gd name="T53" fmla="*/ 16 h 22"/>
                <a:gd name="T54" fmla="*/ 36 w 38"/>
                <a:gd name="T55" fmla="*/ 15 h 22"/>
                <a:gd name="T56" fmla="*/ 37 w 38"/>
                <a:gd name="T57" fmla="*/ 14 h 22"/>
                <a:gd name="T58" fmla="*/ 35 w 38"/>
                <a:gd name="T59" fmla="*/ 13 h 22"/>
                <a:gd name="T60" fmla="*/ 34 w 38"/>
                <a:gd name="T61" fmla="*/ 12 h 22"/>
                <a:gd name="T62" fmla="*/ 31 w 38"/>
                <a:gd name="T63" fmla="*/ 13 h 22"/>
                <a:gd name="T64" fmla="*/ 31 w 38"/>
                <a:gd name="T65" fmla="*/ 12 h 22"/>
                <a:gd name="T66" fmla="*/ 30 w 38"/>
                <a:gd name="T67" fmla="*/ 9 h 22"/>
                <a:gd name="T68" fmla="*/ 30 w 38"/>
                <a:gd name="T69" fmla="*/ 9 h 22"/>
                <a:gd name="T70" fmla="*/ 27 w 38"/>
                <a:gd name="T71" fmla="*/ 7 h 22"/>
                <a:gd name="T72" fmla="*/ 27 w 38"/>
                <a:gd name="T73" fmla="*/ 9 h 22"/>
                <a:gd name="T74" fmla="*/ 25 w 38"/>
                <a:gd name="T75" fmla="*/ 8 h 22"/>
                <a:gd name="T76" fmla="*/ 23 w 38"/>
                <a:gd name="T77" fmla="*/ 6 h 22"/>
                <a:gd name="T78" fmla="*/ 20 w 38"/>
                <a:gd name="T79" fmla="*/ 6 h 22"/>
                <a:gd name="T80" fmla="*/ 18 w 38"/>
                <a:gd name="T81" fmla="*/ 5 h 22"/>
                <a:gd name="T82" fmla="*/ 16 w 38"/>
                <a:gd name="T83" fmla="*/ 2 h 22"/>
                <a:gd name="T84" fmla="*/ 14 w 38"/>
                <a:gd name="T85" fmla="*/ 1 h 22"/>
                <a:gd name="T86" fmla="*/ 10 w 38"/>
                <a:gd name="T87" fmla="*/ 1 h 22"/>
                <a:gd name="T88" fmla="*/ 11 w 38"/>
                <a:gd name="T89" fmla="*/ 1 h 22"/>
                <a:gd name="T90" fmla="*/ 10 w 38"/>
                <a:gd name="T91" fmla="*/ 3 h 22"/>
                <a:gd name="T92" fmla="*/ 8 w 38"/>
                <a:gd name="T93" fmla="*/ 3 h 22"/>
                <a:gd name="T94" fmla="*/ 5 w 38"/>
                <a:gd name="T95" fmla="*/ 3 h 22"/>
                <a:gd name="T96" fmla="*/ 7 w 38"/>
                <a:gd name="T97" fmla="*/ 4 h 22"/>
                <a:gd name="T98" fmla="*/ 8 w 38"/>
                <a:gd name="T99" fmla="*/ 5 h 22"/>
                <a:gd name="T100" fmla="*/ 10 w 38"/>
                <a:gd name="T101" fmla="*/ 6 h 22"/>
                <a:gd name="T102" fmla="*/ 6 w 38"/>
                <a:gd name="T103" fmla="*/ 6 h 22"/>
                <a:gd name="T104" fmla="*/ 3 w 38"/>
                <a:gd name="T105" fmla="*/ 6 h 22"/>
                <a:gd name="T106" fmla="*/ 4 w 38"/>
                <a:gd name="T107" fmla="*/ 7 h 22"/>
                <a:gd name="T108" fmla="*/ 1 w 38"/>
                <a:gd name="T109" fmla="*/ 8 h 22"/>
                <a:gd name="T110" fmla="*/ 6 w 38"/>
                <a:gd name="T111" fmla="*/ 9 h 22"/>
                <a:gd name="T112" fmla="*/ 8 w 38"/>
                <a:gd name="T113" fmla="*/ 9 h 22"/>
                <a:gd name="T114" fmla="*/ 4 w 38"/>
                <a:gd name="T115" fmla="*/ 10 h 22"/>
                <a:gd name="T116" fmla="*/ 1 w 38"/>
                <a:gd name="T11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" h="22">
                  <a:moveTo>
                    <a:pt x="1" y="10"/>
                  </a:moveTo>
                  <a:cubicBezTo>
                    <a:pt x="1" y="10"/>
                    <a:pt x="2" y="11"/>
                    <a:pt x="2" y="11"/>
                  </a:cubicBezTo>
                  <a:cubicBezTo>
                    <a:pt x="2" y="11"/>
                    <a:pt x="3" y="12"/>
                    <a:pt x="3" y="12"/>
                  </a:cubicBezTo>
                  <a:cubicBezTo>
                    <a:pt x="3" y="12"/>
                    <a:pt x="5" y="12"/>
                    <a:pt x="6" y="12"/>
                  </a:cubicBezTo>
                  <a:cubicBezTo>
                    <a:pt x="6" y="12"/>
                    <a:pt x="7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2"/>
                    <a:pt x="8" y="12"/>
                    <a:pt x="8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5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4"/>
                    <a:pt x="7" y="14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5"/>
                  </a:cubicBezTo>
                  <a:cubicBezTo>
                    <a:pt x="9" y="15"/>
                    <a:pt x="9" y="15"/>
                    <a:pt x="10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2" y="14"/>
                    <a:pt x="13" y="14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6" y="13"/>
                    <a:pt x="16" y="13"/>
                    <a:pt x="16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1" y="1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4"/>
                    <a:pt x="19" y="15"/>
                    <a:pt x="17" y="15"/>
                  </a:cubicBezTo>
                  <a:cubicBezTo>
                    <a:pt x="17" y="15"/>
                    <a:pt x="15" y="15"/>
                    <a:pt x="14" y="15"/>
                  </a:cubicBezTo>
                  <a:cubicBezTo>
                    <a:pt x="14" y="15"/>
                    <a:pt x="13" y="15"/>
                    <a:pt x="12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1" y="16"/>
                    <a:pt x="9" y="16"/>
                    <a:pt x="9" y="16"/>
                  </a:cubicBezTo>
                  <a:cubicBezTo>
                    <a:pt x="8" y="17"/>
                    <a:pt x="9" y="17"/>
                    <a:pt x="10" y="17"/>
                  </a:cubicBezTo>
                  <a:cubicBezTo>
                    <a:pt x="10" y="18"/>
                    <a:pt x="10" y="17"/>
                    <a:pt x="10" y="18"/>
                  </a:cubicBezTo>
                  <a:cubicBezTo>
                    <a:pt x="10" y="18"/>
                    <a:pt x="11" y="19"/>
                    <a:pt x="12" y="19"/>
                  </a:cubicBezTo>
                  <a:cubicBezTo>
                    <a:pt x="13" y="19"/>
                    <a:pt x="13" y="19"/>
                    <a:pt x="14" y="19"/>
                  </a:cubicBezTo>
                  <a:cubicBezTo>
                    <a:pt x="14" y="19"/>
                    <a:pt x="15" y="19"/>
                    <a:pt x="16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9"/>
                    <a:pt x="15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4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7" y="21"/>
                    <a:pt x="18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0" y="21"/>
                    <a:pt x="20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0"/>
                    <a:pt x="22" y="21"/>
                    <a:pt x="22" y="21"/>
                  </a:cubicBezTo>
                  <a:cubicBezTo>
                    <a:pt x="22" y="21"/>
                    <a:pt x="23" y="21"/>
                    <a:pt x="23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1"/>
                    <a:pt x="23" y="21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1" y="19"/>
                    <a:pt x="22" y="19"/>
                    <a:pt x="22" y="18"/>
                  </a:cubicBezTo>
                  <a:cubicBezTo>
                    <a:pt x="22" y="18"/>
                    <a:pt x="22" y="18"/>
                    <a:pt x="23" y="20"/>
                  </a:cubicBezTo>
                  <a:cubicBezTo>
                    <a:pt x="24" y="21"/>
                    <a:pt x="25" y="21"/>
                    <a:pt x="26" y="22"/>
                  </a:cubicBezTo>
                  <a:cubicBezTo>
                    <a:pt x="26" y="22"/>
                    <a:pt x="26" y="21"/>
                    <a:pt x="26" y="21"/>
                  </a:cubicBezTo>
                  <a:cubicBezTo>
                    <a:pt x="27" y="20"/>
                    <a:pt x="27" y="20"/>
                    <a:pt x="26" y="20"/>
                  </a:cubicBezTo>
                  <a:cubicBezTo>
                    <a:pt x="26" y="20"/>
                    <a:pt x="26" y="19"/>
                    <a:pt x="26" y="19"/>
                  </a:cubicBezTo>
                  <a:cubicBezTo>
                    <a:pt x="26" y="18"/>
                    <a:pt x="26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8" y="20"/>
                    <a:pt x="29" y="20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8" y="19"/>
                    <a:pt x="28" y="18"/>
                  </a:cubicBezTo>
                  <a:cubicBezTo>
                    <a:pt x="28" y="18"/>
                    <a:pt x="28" y="18"/>
                    <a:pt x="28" y="17"/>
                  </a:cubicBezTo>
                  <a:cubicBezTo>
                    <a:pt x="27" y="16"/>
                    <a:pt x="28" y="17"/>
                    <a:pt x="28" y="16"/>
                  </a:cubicBezTo>
                  <a:cubicBezTo>
                    <a:pt x="28" y="16"/>
                    <a:pt x="29" y="17"/>
                    <a:pt x="29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9" y="18"/>
                    <a:pt x="29" y="18"/>
                    <a:pt x="30" y="18"/>
                  </a:cubicBezTo>
                  <a:cubicBezTo>
                    <a:pt x="30" y="19"/>
                    <a:pt x="30" y="18"/>
                    <a:pt x="30" y="18"/>
                  </a:cubicBezTo>
                  <a:cubicBezTo>
                    <a:pt x="30" y="18"/>
                    <a:pt x="31" y="17"/>
                    <a:pt x="31" y="17"/>
                  </a:cubicBezTo>
                  <a:cubicBezTo>
                    <a:pt x="32" y="17"/>
                    <a:pt x="32" y="17"/>
                    <a:pt x="32" y="16"/>
                  </a:cubicBezTo>
                  <a:cubicBezTo>
                    <a:pt x="31" y="16"/>
                    <a:pt x="32" y="16"/>
                    <a:pt x="32" y="16"/>
                  </a:cubicBezTo>
                  <a:cubicBezTo>
                    <a:pt x="32" y="16"/>
                    <a:pt x="32" y="16"/>
                    <a:pt x="33" y="16"/>
                  </a:cubicBezTo>
                  <a:cubicBezTo>
                    <a:pt x="33" y="17"/>
                    <a:pt x="33" y="16"/>
                    <a:pt x="33" y="16"/>
                  </a:cubicBezTo>
                  <a:cubicBezTo>
                    <a:pt x="33" y="16"/>
                    <a:pt x="34" y="16"/>
                    <a:pt x="34" y="15"/>
                  </a:cubicBezTo>
                  <a:cubicBezTo>
                    <a:pt x="34" y="15"/>
                    <a:pt x="36" y="15"/>
                    <a:pt x="36" y="15"/>
                  </a:cubicBezTo>
                  <a:cubicBezTo>
                    <a:pt x="37" y="15"/>
                    <a:pt x="38" y="15"/>
                    <a:pt x="38" y="15"/>
                  </a:cubicBezTo>
                  <a:cubicBezTo>
                    <a:pt x="38" y="15"/>
                    <a:pt x="38" y="14"/>
                    <a:pt x="38" y="14"/>
                  </a:cubicBezTo>
                  <a:cubicBezTo>
                    <a:pt x="38" y="14"/>
                    <a:pt x="38" y="14"/>
                    <a:pt x="37" y="14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2"/>
                    <a:pt x="36" y="12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3"/>
                    <a:pt x="35" y="14"/>
                    <a:pt x="35" y="13"/>
                  </a:cubicBezTo>
                  <a:cubicBezTo>
                    <a:pt x="34" y="13"/>
                    <a:pt x="35" y="13"/>
                    <a:pt x="35" y="13"/>
                  </a:cubicBezTo>
                  <a:cubicBezTo>
                    <a:pt x="35" y="13"/>
                    <a:pt x="34" y="13"/>
                    <a:pt x="34" y="12"/>
                  </a:cubicBezTo>
                  <a:cubicBezTo>
                    <a:pt x="34" y="12"/>
                    <a:pt x="34" y="12"/>
                    <a:pt x="33" y="12"/>
                  </a:cubicBezTo>
                  <a:cubicBezTo>
                    <a:pt x="33" y="12"/>
                    <a:pt x="33" y="12"/>
                    <a:pt x="32" y="12"/>
                  </a:cubicBezTo>
                  <a:cubicBezTo>
                    <a:pt x="32" y="12"/>
                    <a:pt x="32" y="13"/>
                    <a:pt x="31" y="13"/>
                  </a:cubicBezTo>
                  <a:cubicBezTo>
                    <a:pt x="31" y="13"/>
                    <a:pt x="31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31" y="12"/>
                    <a:pt x="31" y="12"/>
                  </a:cubicBezTo>
                  <a:cubicBezTo>
                    <a:pt x="31" y="12"/>
                    <a:pt x="32" y="11"/>
                    <a:pt x="32" y="11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1" y="9"/>
                    <a:pt x="31" y="9"/>
                    <a:pt x="30" y="9"/>
                  </a:cubicBezTo>
                  <a:cubicBezTo>
                    <a:pt x="29" y="9"/>
                    <a:pt x="29" y="10"/>
                    <a:pt x="29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9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7"/>
                  </a:cubicBezTo>
                  <a:cubicBezTo>
                    <a:pt x="30" y="7"/>
                    <a:pt x="29" y="7"/>
                    <a:pt x="27" y="7"/>
                  </a:cubicBezTo>
                  <a:cubicBezTo>
                    <a:pt x="26" y="7"/>
                    <a:pt x="27" y="7"/>
                    <a:pt x="26" y="7"/>
                  </a:cubicBezTo>
                  <a:cubicBezTo>
                    <a:pt x="26" y="8"/>
                    <a:pt x="27" y="8"/>
                    <a:pt x="27" y="8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4" y="8"/>
                    <a:pt x="25" y="7"/>
                    <a:pt x="25" y="7"/>
                  </a:cubicBezTo>
                  <a:cubicBezTo>
                    <a:pt x="25" y="6"/>
                    <a:pt x="25" y="7"/>
                    <a:pt x="24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6"/>
                    <a:pt x="23" y="7"/>
                    <a:pt x="22" y="6"/>
                  </a:cubicBezTo>
                  <a:cubicBezTo>
                    <a:pt x="22" y="6"/>
                    <a:pt x="22" y="6"/>
                    <a:pt x="21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4"/>
                    <a:pt x="17" y="4"/>
                    <a:pt x="17" y="3"/>
                  </a:cubicBezTo>
                  <a:cubicBezTo>
                    <a:pt x="17" y="3"/>
                    <a:pt x="16" y="3"/>
                    <a:pt x="16" y="3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5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1"/>
                  </a:cubicBezTo>
                  <a:cubicBezTo>
                    <a:pt x="10" y="0"/>
                    <a:pt x="9" y="1"/>
                    <a:pt x="8" y="1"/>
                  </a:cubicBezTo>
                  <a:cubicBezTo>
                    <a:pt x="8" y="1"/>
                    <a:pt x="9" y="2"/>
                    <a:pt x="10" y="2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2" y="3"/>
                    <a:pt x="12" y="3"/>
                  </a:cubicBezTo>
                  <a:cubicBezTo>
                    <a:pt x="12" y="3"/>
                    <a:pt x="11" y="3"/>
                    <a:pt x="11" y="2"/>
                  </a:cubicBezTo>
                  <a:cubicBezTo>
                    <a:pt x="10" y="2"/>
                    <a:pt x="9" y="2"/>
                    <a:pt x="10" y="3"/>
                  </a:cubicBezTo>
                  <a:cubicBezTo>
                    <a:pt x="11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7" y="3"/>
                    <a:pt x="7" y="3"/>
                  </a:cubicBezTo>
                  <a:cubicBezTo>
                    <a:pt x="6" y="3"/>
                    <a:pt x="6" y="3"/>
                    <a:pt x="5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5" y="4"/>
                    <a:pt x="6" y="5"/>
                    <a:pt x="6" y="5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9" y="6"/>
                    <a:pt x="8" y="6"/>
                    <a:pt x="7" y="6"/>
                  </a:cubicBezTo>
                  <a:cubicBezTo>
                    <a:pt x="7" y="6"/>
                    <a:pt x="6" y="6"/>
                    <a:pt x="6" y="6"/>
                  </a:cubicBezTo>
                  <a:cubicBezTo>
                    <a:pt x="6" y="6"/>
                    <a:pt x="4" y="6"/>
                    <a:pt x="4" y="6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2" y="8"/>
                    <a:pt x="3" y="8"/>
                  </a:cubicBezTo>
                  <a:cubicBezTo>
                    <a:pt x="4" y="8"/>
                    <a:pt x="4" y="8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10"/>
                    <a:pt x="8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9"/>
                    <a:pt x="5" y="10"/>
                    <a:pt x="4" y="10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2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9"/>
                    <a:pt x="1" y="10"/>
                    <a:pt x="1" y="10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82" name="Freeform 324">
              <a:extLst>
                <a:ext uri="{FF2B5EF4-FFF2-40B4-BE49-F238E27FC236}">
                  <a16:creationId xmlns:a16="http://schemas.microsoft.com/office/drawing/2014/main" id="{CAB06487-B314-4EC4-A3C1-E19A4C866F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1640"/>
              <a:ext cx="232" cy="111"/>
            </a:xfrm>
            <a:custGeom>
              <a:avLst/>
              <a:gdLst>
                <a:gd name="T0" fmla="*/ 6 w 98"/>
                <a:gd name="T1" fmla="*/ 12 h 47"/>
                <a:gd name="T2" fmla="*/ 4 w 98"/>
                <a:gd name="T3" fmla="*/ 13 h 47"/>
                <a:gd name="T4" fmla="*/ 21 w 98"/>
                <a:gd name="T5" fmla="*/ 13 h 47"/>
                <a:gd name="T6" fmla="*/ 9 w 98"/>
                <a:gd name="T7" fmla="*/ 17 h 47"/>
                <a:gd name="T8" fmla="*/ 24 w 98"/>
                <a:gd name="T9" fmla="*/ 14 h 47"/>
                <a:gd name="T10" fmla="*/ 20 w 98"/>
                <a:gd name="T11" fmla="*/ 15 h 47"/>
                <a:gd name="T12" fmla="*/ 24 w 98"/>
                <a:gd name="T13" fmla="*/ 18 h 47"/>
                <a:gd name="T14" fmla="*/ 27 w 98"/>
                <a:gd name="T15" fmla="*/ 18 h 47"/>
                <a:gd name="T16" fmla="*/ 41 w 98"/>
                <a:gd name="T17" fmla="*/ 14 h 47"/>
                <a:gd name="T18" fmla="*/ 41 w 98"/>
                <a:gd name="T19" fmla="*/ 16 h 47"/>
                <a:gd name="T20" fmla="*/ 41 w 98"/>
                <a:gd name="T21" fmla="*/ 17 h 47"/>
                <a:gd name="T22" fmla="*/ 34 w 98"/>
                <a:gd name="T23" fmla="*/ 19 h 47"/>
                <a:gd name="T24" fmla="*/ 33 w 98"/>
                <a:gd name="T25" fmla="*/ 24 h 47"/>
                <a:gd name="T26" fmla="*/ 28 w 98"/>
                <a:gd name="T27" fmla="*/ 22 h 47"/>
                <a:gd name="T28" fmla="*/ 16 w 98"/>
                <a:gd name="T29" fmla="*/ 20 h 47"/>
                <a:gd name="T30" fmla="*/ 22 w 98"/>
                <a:gd name="T31" fmla="*/ 25 h 47"/>
                <a:gd name="T32" fmla="*/ 29 w 98"/>
                <a:gd name="T33" fmla="*/ 29 h 47"/>
                <a:gd name="T34" fmla="*/ 30 w 98"/>
                <a:gd name="T35" fmla="*/ 30 h 47"/>
                <a:gd name="T36" fmla="*/ 25 w 98"/>
                <a:gd name="T37" fmla="*/ 29 h 47"/>
                <a:gd name="T38" fmla="*/ 13 w 98"/>
                <a:gd name="T39" fmla="*/ 32 h 47"/>
                <a:gd name="T40" fmla="*/ 18 w 98"/>
                <a:gd name="T41" fmla="*/ 33 h 47"/>
                <a:gd name="T42" fmla="*/ 19 w 98"/>
                <a:gd name="T43" fmla="*/ 34 h 47"/>
                <a:gd name="T44" fmla="*/ 23 w 98"/>
                <a:gd name="T45" fmla="*/ 33 h 47"/>
                <a:gd name="T46" fmla="*/ 20 w 98"/>
                <a:gd name="T47" fmla="*/ 36 h 47"/>
                <a:gd name="T48" fmla="*/ 23 w 98"/>
                <a:gd name="T49" fmla="*/ 37 h 47"/>
                <a:gd name="T50" fmla="*/ 28 w 98"/>
                <a:gd name="T51" fmla="*/ 35 h 47"/>
                <a:gd name="T52" fmla="*/ 24 w 98"/>
                <a:gd name="T53" fmla="*/ 39 h 47"/>
                <a:gd name="T54" fmla="*/ 18 w 98"/>
                <a:gd name="T55" fmla="*/ 36 h 47"/>
                <a:gd name="T56" fmla="*/ 13 w 98"/>
                <a:gd name="T57" fmla="*/ 38 h 47"/>
                <a:gd name="T58" fmla="*/ 15 w 98"/>
                <a:gd name="T59" fmla="*/ 40 h 47"/>
                <a:gd name="T60" fmla="*/ 7 w 98"/>
                <a:gd name="T61" fmla="*/ 43 h 47"/>
                <a:gd name="T62" fmla="*/ 9 w 98"/>
                <a:gd name="T63" fmla="*/ 44 h 47"/>
                <a:gd name="T64" fmla="*/ 17 w 98"/>
                <a:gd name="T65" fmla="*/ 44 h 47"/>
                <a:gd name="T66" fmla="*/ 21 w 98"/>
                <a:gd name="T67" fmla="*/ 44 h 47"/>
                <a:gd name="T68" fmla="*/ 27 w 98"/>
                <a:gd name="T69" fmla="*/ 44 h 47"/>
                <a:gd name="T70" fmla="*/ 31 w 98"/>
                <a:gd name="T71" fmla="*/ 43 h 47"/>
                <a:gd name="T72" fmla="*/ 35 w 98"/>
                <a:gd name="T73" fmla="*/ 46 h 47"/>
                <a:gd name="T74" fmla="*/ 44 w 98"/>
                <a:gd name="T75" fmla="*/ 43 h 47"/>
                <a:gd name="T76" fmla="*/ 40 w 98"/>
                <a:gd name="T77" fmla="*/ 39 h 47"/>
                <a:gd name="T78" fmla="*/ 48 w 98"/>
                <a:gd name="T79" fmla="*/ 35 h 47"/>
                <a:gd name="T80" fmla="*/ 51 w 98"/>
                <a:gd name="T81" fmla="*/ 33 h 47"/>
                <a:gd name="T82" fmla="*/ 54 w 98"/>
                <a:gd name="T83" fmla="*/ 30 h 47"/>
                <a:gd name="T84" fmla="*/ 52 w 98"/>
                <a:gd name="T85" fmla="*/ 26 h 47"/>
                <a:gd name="T86" fmla="*/ 57 w 98"/>
                <a:gd name="T87" fmla="*/ 23 h 47"/>
                <a:gd name="T88" fmla="*/ 63 w 98"/>
                <a:gd name="T89" fmla="*/ 24 h 47"/>
                <a:gd name="T90" fmla="*/ 66 w 98"/>
                <a:gd name="T91" fmla="*/ 21 h 47"/>
                <a:gd name="T92" fmla="*/ 84 w 98"/>
                <a:gd name="T93" fmla="*/ 13 h 47"/>
                <a:gd name="T94" fmla="*/ 72 w 98"/>
                <a:gd name="T95" fmla="*/ 13 h 47"/>
                <a:gd name="T96" fmla="*/ 84 w 98"/>
                <a:gd name="T97" fmla="*/ 11 h 47"/>
                <a:gd name="T98" fmla="*/ 91 w 98"/>
                <a:gd name="T99" fmla="*/ 4 h 47"/>
                <a:gd name="T100" fmla="*/ 80 w 98"/>
                <a:gd name="T101" fmla="*/ 3 h 47"/>
                <a:gd name="T102" fmla="*/ 69 w 98"/>
                <a:gd name="T103" fmla="*/ 1 h 47"/>
                <a:gd name="T104" fmla="*/ 58 w 98"/>
                <a:gd name="T105" fmla="*/ 3 h 47"/>
                <a:gd name="T106" fmla="*/ 50 w 98"/>
                <a:gd name="T107" fmla="*/ 3 h 47"/>
                <a:gd name="T108" fmla="*/ 37 w 98"/>
                <a:gd name="T109" fmla="*/ 3 h 47"/>
                <a:gd name="T110" fmla="*/ 30 w 98"/>
                <a:gd name="T111" fmla="*/ 4 h 47"/>
                <a:gd name="T112" fmla="*/ 21 w 98"/>
                <a:gd name="T113" fmla="*/ 5 h 47"/>
                <a:gd name="T114" fmla="*/ 16 w 98"/>
                <a:gd name="T115" fmla="*/ 8 h 47"/>
                <a:gd name="T116" fmla="*/ 0 w 98"/>
                <a:gd name="T117" fmla="*/ 1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8" h="47">
                  <a:moveTo>
                    <a:pt x="1" y="12"/>
                  </a:moveTo>
                  <a:cubicBezTo>
                    <a:pt x="1" y="12"/>
                    <a:pt x="1" y="11"/>
                    <a:pt x="2" y="11"/>
                  </a:cubicBezTo>
                  <a:cubicBezTo>
                    <a:pt x="2" y="11"/>
                    <a:pt x="1" y="11"/>
                    <a:pt x="3" y="11"/>
                  </a:cubicBezTo>
                  <a:cubicBezTo>
                    <a:pt x="5" y="11"/>
                    <a:pt x="6" y="10"/>
                    <a:pt x="6" y="11"/>
                  </a:cubicBezTo>
                  <a:cubicBezTo>
                    <a:pt x="5" y="11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6" y="12"/>
                  </a:cubicBezTo>
                  <a:cubicBezTo>
                    <a:pt x="8" y="11"/>
                    <a:pt x="7" y="11"/>
                    <a:pt x="10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9" y="12"/>
                    <a:pt x="8" y="12"/>
                    <a:pt x="7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5" y="13"/>
                    <a:pt x="4" y="13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4" y="15"/>
                    <a:pt x="5" y="15"/>
                  </a:cubicBezTo>
                  <a:cubicBezTo>
                    <a:pt x="6" y="15"/>
                    <a:pt x="6" y="14"/>
                    <a:pt x="7" y="14"/>
                  </a:cubicBezTo>
                  <a:cubicBezTo>
                    <a:pt x="8" y="14"/>
                    <a:pt x="10" y="14"/>
                    <a:pt x="11" y="14"/>
                  </a:cubicBezTo>
                  <a:cubicBezTo>
                    <a:pt x="11" y="15"/>
                    <a:pt x="14" y="15"/>
                    <a:pt x="14" y="15"/>
                  </a:cubicBezTo>
                  <a:cubicBezTo>
                    <a:pt x="14" y="15"/>
                    <a:pt x="17" y="13"/>
                    <a:pt x="17" y="13"/>
                  </a:cubicBezTo>
                  <a:cubicBezTo>
                    <a:pt x="18" y="13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2" y="14"/>
                    <a:pt x="20" y="14"/>
                  </a:cubicBezTo>
                  <a:cubicBezTo>
                    <a:pt x="19" y="14"/>
                    <a:pt x="18" y="15"/>
                    <a:pt x="17" y="15"/>
                  </a:cubicBezTo>
                  <a:cubicBezTo>
                    <a:pt x="16" y="15"/>
                    <a:pt x="12" y="15"/>
                    <a:pt x="11" y="15"/>
                  </a:cubicBezTo>
                  <a:cubicBezTo>
                    <a:pt x="11" y="16"/>
                    <a:pt x="8" y="15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8" y="17"/>
                    <a:pt x="9" y="17"/>
                  </a:cubicBezTo>
                  <a:cubicBezTo>
                    <a:pt x="10" y="17"/>
                    <a:pt x="11" y="17"/>
                    <a:pt x="12" y="17"/>
                  </a:cubicBezTo>
                  <a:cubicBezTo>
                    <a:pt x="12" y="18"/>
                    <a:pt x="12" y="18"/>
                    <a:pt x="13" y="17"/>
                  </a:cubicBezTo>
                  <a:cubicBezTo>
                    <a:pt x="14" y="17"/>
                    <a:pt x="15" y="17"/>
                    <a:pt x="15" y="17"/>
                  </a:cubicBezTo>
                  <a:cubicBezTo>
                    <a:pt x="16" y="16"/>
                    <a:pt x="17" y="16"/>
                    <a:pt x="17" y="16"/>
                  </a:cubicBezTo>
                  <a:cubicBezTo>
                    <a:pt x="17" y="15"/>
                    <a:pt x="18" y="15"/>
                    <a:pt x="18" y="15"/>
                  </a:cubicBezTo>
                  <a:cubicBezTo>
                    <a:pt x="19" y="15"/>
                    <a:pt x="21" y="15"/>
                    <a:pt x="21" y="15"/>
                  </a:cubicBezTo>
                  <a:cubicBezTo>
                    <a:pt x="21" y="15"/>
                    <a:pt x="23" y="14"/>
                    <a:pt x="24" y="14"/>
                  </a:cubicBezTo>
                  <a:cubicBezTo>
                    <a:pt x="24" y="14"/>
                    <a:pt x="26" y="14"/>
                    <a:pt x="27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4"/>
                    <a:pt x="28" y="15"/>
                    <a:pt x="27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5"/>
                    <a:pt x="22" y="15"/>
                    <a:pt x="21" y="15"/>
                  </a:cubicBezTo>
                  <a:cubicBezTo>
                    <a:pt x="21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19" y="16"/>
                    <a:pt x="18" y="16"/>
                    <a:pt x="17" y="16"/>
                  </a:cubicBezTo>
                  <a:cubicBezTo>
                    <a:pt x="17" y="17"/>
                    <a:pt x="16" y="17"/>
                    <a:pt x="16" y="17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17" y="18"/>
                    <a:pt x="17" y="18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2" y="18"/>
                    <a:pt x="23" y="18"/>
                    <a:pt x="24" y="18"/>
                  </a:cubicBezTo>
                  <a:cubicBezTo>
                    <a:pt x="24" y="18"/>
                    <a:pt x="24" y="18"/>
                    <a:pt x="25" y="18"/>
                  </a:cubicBezTo>
                  <a:cubicBezTo>
                    <a:pt x="25" y="18"/>
                    <a:pt x="25" y="18"/>
                    <a:pt x="25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8" y="18"/>
                    <a:pt x="28" y="18"/>
                    <a:pt x="29" y="18"/>
                  </a:cubicBezTo>
                  <a:cubicBezTo>
                    <a:pt x="29" y="18"/>
                    <a:pt x="37" y="17"/>
                    <a:pt x="37" y="17"/>
                  </a:cubicBezTo>
                  <a:cubicBezTo>
                    <a:pt x="38" y="17"/>
                    <a:pt x="38" y="16"/>
                    <a:pt x="39" y="16"/>
                  </a:cubicBezTo>
                  <a:cubicBezTo>
                    <a:pt x="39" y="16"/>
                    <a:pt x="39" y="15"/>
                    <a:pt x="40" y="15"/>
                  </a:cubicBezTo>
                  <a:cubicBezTo>
                    <a:pt x="40" y="14"/>
                    <a:pt x="40" y="14"/>
                    <a:pt x="41" y="14"/>
                  </a:cubicBezTo>
                  <a:cubicBezTo>
                    <a:pt x="42" y="14"/>
                    <a:pt x="45" y="13"/>
                    <a:pt x="45" y="13"/>
                  </a:cubicBezTo>
                  <a:cubicBezTo>
                    <a:pt x="46" y="13"/>
                    <a:pt x="48" y="11"/>
                    <a:pt x="48" y="12"/>
                  </a:cubicBezTo>
                  <a:cubicBezTo>
                    <a:pt x="47" y="13"/>
                    <a:pt x="47" y="13"/>
                    <a:pt x="46" y="13"/>
                  </a:cubicBezTo>
                  <a:cubicBezTo>
                    <a:pt x="44" y="14"/>
                    <a:pt x="43" y="14"/>
                    <a:pt x="42" y="14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15"/>
                    <a:pt x="41" y="15"/>
                    <a:pt x="41" y="15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6"/>
                    <a:pt x="40" y="16"/>
                    <a:pt x="41" y="16"/>
                  </a:cubicBezTo>
                  <a:cubicBezTo>
                    <a:pt x="43" y="16"/>
                    <a:pt x="44" y="15"/>
                    <a:pt x="45" y="15"/>
                  </a:cubicBezTo>
                  <a:cubicBezTo>
                    <a:pt x="46" y="16"/>
                    <a:pt x="47" y="16"/>
                    <a:pt x="47" y="16"/>
                  </a:cubicBezTo>
                  <a:cubicBezTo>
                    <a:pt x="47" y="16"/>
                    <a:pt x="48" y="15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7"/>
                    <a:pt x="45" y="16"/>
                    <a:pt x="45" y="16"/>
                  </a:cubicBezTo>
                  <a:cubicBezTo>
                    <a:pt x="45" y="16"/>
                    <a:pt x="41" y="17"/>
                    <a:pt x="41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39" y="17"/>
                    <a:pt x="39" y="17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40" y="18"/>
                    <a:pt x="43" y="18"/>
                    <a:pt x="43" y="18"/>
                  </a:cubicBezTo>
                  <a:cubicBezTo>
                    <a:pt x="43" y="18"/>
                    <a:pt x="44" y="18"/>
                    <a:pt x="43" y="18"/>
                  </a:cubicBezTo>
                  <a:cubicBezTo>
                    <a:pt x="42" y="18"/>
                    <a:pt x="40" y="19"/>
                    <a:pt x="39" y="19"/>
                  </a:cubicBezTo>
                  <a:cubicBezTo>
                    <a:pt x="37" y="19"/>
                    <a:pt x="35" y="19"/>
                    <a:pt x="34" y="19"/>
                  </a:cubicBezTo>
                  <a:cubicBezTo>
                    <a:pt x="34" y="19"/>
                    <a:pt x="30" y="19"/>
                    <a:pt x="30" y="19"/>
                  </a:cubicBezTo>
                  <a:cubicBezTo>
                    <a:pt x="29" y="19"/>
                    <a:pt x="27" y="19"/>
                    <a:pt x="27" y="20"/>
                  </a:cubicBezTo>
                  <a:cubicBezTo>
                    <a:pt x="27" y="20"/>
                    <a:pt x="27" y="20"/>
                    <a:pt x="28" y="20"/>
                  </a:cubicBezTo>
                  <a:cubicBezTo>
                    <a:pt x="28" y="20"/>
                    <a:pt x="29" y="21"/>
                    <a:pt x="30" y="21"/>
                  </a:cubicBezTo>
                  <a:cubicBezTo>
                    <a:pt x="31" y="22"/>
                    <a:pt x="31" y="22"/>
                    <a:pt x="32" y="22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32" y="23"/>
                    <a:pt x="33" y="23"/>
                    <a:pt x="33" y="24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4" y="24"/>
                    <a:pt x="36" y="24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4"/>
                    <a:pt x="36" y="24"/>
                    <a:pt x="36" y="25"/>
                  </a:cubicBezTo>
                  <a:cubicBezTo>
                    <a:pt x="36" y="25"/>
                    <a:pt x="34" y="24"/>
                    <a:pt x="33" y="24"/>
                  </a:cubicBezTo>
                  <a:cubicBezTo>
                    <a:pt x="33" y="24"/>
                    <a:pt x="31" y="24"/>
                    <a:pt x="31" y="24"/>
                  </a:cubicBezTo>
                  <a:cubicBezTo>
                    <a:pt x="31" y="24"/>
                    <a:pt x="29" y="22"/>
                    <a:pt x="28" y="22"/>
                  </a:cubicBezTo>
                  <a:cubicBezTo>
                    <a:pt x="28" y="22"/>
                    <a:pt x="27" y="21"/>
                    <a:pt x="26" y="21"/>
                  </a:cubicBezTo>
                  <a:cubicBezTo>
                    <a:pt x="25" y="21"/>
                    <a:pt x="23" y="20"/>
                    <a:pt x="22" y="20"/>
                  </a:cubicBezTo>
                  <a:cubicBezTo>
                    <a:pt x="22" y="20"/>
                    <a:pt x="22" y="20"/>
                    <a:pt x="21" y="20"/>
                  </a:cubicBezTo>
                  <a:cubicBezTo>
                    <a:pt x="20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8" y="20"/>
                    <a:pt x="16" y="19"/>
                    <a:pt x="16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1"/>
                    <a:pt x="16" y="21"/>
                  </a:cubicBezTo>
                  <a:cubicBezTo>
                    <a:pt x="16" y="21"/>
                    <a:pt x="17" y="22"/>
                    <a:pt x="17" y="23"/>
                  </a:cubicBezTo>
                  <a:cubicBezTo>
                    <a:pt x="17" y="23"/>
                    <a:pt x="16" y="23"/>
                    <a:pt x="17" y="23"/>
                  </a:cubicBezTo>
                  <a:cubicBezTo>
                    <a:pt x="18" y="23"/>
                    <a:pt x="20" y="24"/>
                    <a:pt x="20" y="24"/>
                  </a:cubicBezTo>
                  <a:cubicBezTo>
                    <a:pt x="20" y="24"/>
                    <a:pt x="20" y="24"/>
                    <a:pt x="21" y="24"/>
                  </a:cubicBezTo>
                  <a:cubicBezTo>
                    <a:pt x="21" y="24"/>
                    <a:pt x="21" y="25"/>
                    <a:pt x="21" y="25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2" y="25"/>
                    <a:pt x="23" y="25"/>
                    <a:pt x="23" y="26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27"/>
                    <a:pt x="24" y="27"/>
                    <a:pt x="24" y="27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3" y="28"/>
                    <a:pt x="23" y="28"/>
                  </a:cubicBezTo>
                  <a:cubicBezTo>
                    <a:pt x="24" y="29"/>
                    <a:pt x="23" y="28"/>
                    <a:pt x="25" y="29"/>
                  </a:cubicBezTo>
                  <a:cubicBezTo>
                    <a:pt x="26" y="29"/>
                    <a:pt x="28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29"/>
                    <a:pt x="30" y="29"/>
                    <a:pt x="31" y="28"/>
                  </a:cubicBezTo>
                  <a:cubicBezTo>
                    <a:pt x="32" y="28"/>
                    <a:pt x="33" y="27"/>
                    <a:pt x="32" y="28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1" y="29"/>
                    <a:pt x="31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0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1"/>
                    <a:pt x="30" y="31"/>
                  </a:cubicBezTo>
                  <a:cubicBezTo>
                    <a:pt x="30" y="31"/>
                    <a:pt x="29" y="31"/>
                    <a:pt x="29" y="31"/>
                  </a:cubicBezTo>
                  <a:cubicBezTo>
                    <a:pt x="28" y="30"/>
                    <a:pt x="27" y="30"/>
                    <a:pt x="26" y="30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24" y="29"/>
                    <a:pt x="22" y="29"/>
                    <a:pt x="22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0" y="29"/>
                    <a:pt x="19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7" y="30"/>
                    <a:pt x="16" y="30"/>
                  </a:cubicBezTo>
                  <a:cubicBezTo>
                    <a:pt x="16" y="30"/>
                    <a:pt x="15" y="30"/>
                    <a:pt x="14" y="31"/>
                  </a:cubicBezTo>
                  <a:cubicBezTo>
                    <a:pt x="14" y="31"/>
                    <a:pt x="13" y="32"/>
                    <a:pt x="13" y="32"/>
                  </a:cubicBezTo>
                  <a:cubicBezTo>
                    <a:pt x="13" y="32"/>
                    <a:pt x="13" y="32"/>
                    <a:pt x="13" y="33"/>
                  </a:cubicBezTo>
                  <a:cubicBezTo>
                    <a:pt x="13" y="34"/>
                    <a:pt x="12" y="34"/>
                    <a:pt x="13" y="34"/>
                  </a:cubicBezTo>
                  <a:cubicBezTo>
                    <a:pt x="15" y="34"/>
                    <a:pt x="16" y="34"/>
                    <a:pt x="16" y="34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3"/>
                    <a:pt x="18" y="33"/>
                    <a:pt x="18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1" y="33"/>
                    <a:pt x="21" y="33"/>
                  </a:cubicBezTo>
                  <a:cubicBezTo>
                    <a:pt x="21" y="33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2" y="33"/>
                    <a:pt x="22" y="33"/>
                    <a:pt x="23" y="33"/>
                  </a:cubicBezTo>
                  <a:cubicBezTo>
                    <a:pt x="23" y="34"/>
                    <a:pt x="23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1" y="34"/>
                    <a:pt x="21" y="35"/>
                    <a:pt x="21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1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3" y="37"/>
                    <a:pt x="23" y="37"/>
                  </a:cubicBezTo>
                  <a:cubicBezTo>
                    <a:pt x="23" y="37"/>
                    <a:pt x="23" y="37"/>
                    <a:pt x="22" y="37"/>
                  </a:cubicBezTo>
                  <a:cubicBezTo>
                    <a:pt x="22" y="37"/>
                    <a:pt x="23" y="37"/>
                    <a:pt x="23" y="37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5" y="38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6"/>
                    <a:pt x="28" y="35"/>
                    <a:pt x="28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4"/>
                    <a:pt x="29" y="34"/>
                    <a:pt x="29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8" y="36"/>
                  </a:cubicBezTo>
                  <a:cubicBezTo>
                    <a:pt x="28" y="37"/>
                    <a:pt x="27" y="38"/>
                    <a:pt x="26" y="38"/>
                  </a:cubicBezTo>
                  <a:cubicBezTo>
                    <a:pt x="26" y="38"/>
                    <a:pt x="25" y="38"/>
                    <a:pt x="25" y="38"/>
                  </a:cubicBezTo>
                  <a:cubicBezTo>
                    <a:pt x="25" y="39"/>
                    <a:pt x="25" y="39"/>
                    <a:pt x="24" y="39"/>
                  </a:cubicBezTo>
                  <a:cubicBezTo>
                    <a:pt x="24" y="39"/>
                    <a:pt x="23" y="39"/>
                    <a:pt x="23" y="39"/>
                  </a:cubicBezTo>
                  <a:cubicBezTo>
                    <a:pt x="23" y="39"/>
                    <a:pt x="22" y="39"/>
                    <a:pt x="22" y="39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0" y="39"/>
                    <a:pt x="19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8" y="37"/>
                    <a:pt x="18" y="36"/>
                  </a:cubicBezTo>
                  <a:cubicBezTo>
                    <a:pt x="17" y="36"/>
                    <a:pt x="16" y="36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4" y="36"/>
                    <a:pt x="12" y="36"/>
                    <a:pt x="12" y="36"/>
                  </a:cubicBezTo>
                  <a:cubicBezTo>
                    <a:pt x="12" y="36"/>
                    <a:pt x="11" y="36"/>
                    <a:pt x="11" y="36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1" y="37"/>
                    <a:pt x="12" y="37"/>
                  </a:cubicBezTo>
                  <a:cubicBezTo>
                    <a:pt x="12" y="37"/>
                    <a:pt x="13" y="38"/>
                    <a:pt x="13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9"/>
                    <a:pt x="12" y="39"/>
                    <a:pt x="13" y="39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5" y="39"/>
                    <a:pt x="15" y="39"/>
                    <a:pt x="15" y="40"/>
                  </a:cubicBezTo>
                  <a:cubicBezTo>
                    <a:pt x="14" y="40"/>
                    <a:pt x="14" y="40"/>
                    <a:pt x="15" y="40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3" y="40"/>
                    <a:pt x="12" y="40"/>
                    <a:pt x="12" y="40"/>
                  </a:cubicBezTo>
                  <a:cubicBezTo>
                    <a:pt x="11" y="40"/>
                    <a:pt x="11" y="40"/>
                    <a:pt x="10" y="40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8" y="41"/>
                    <a:pt x="7" y="42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7" y="44"/>
                    <a:pt x="8" y="44"/>
                    <a:pt x="8" y="44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0" y="45"/>
                    <a:pt x="10" y="45"/>
                    <a:pt x="11" y="45"/>
                  </a:cubicBezTo>
                  <a:cubicBezTo>
                    <a:pt x="11" y="45"/>
                    <a:pt x="11" y="45"/>
                    <a:pt x="13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5"/>
                    <a:pt x="15" y="45"/>
                    <a:pt x="15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4"/>
                    <a:pt x="17" y="43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6" y="45"/>
                    <a:pt x="16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7" y="45"/>
                    <a:pt x="17" y="45"/>
                    <a:pt x="18" y="45"/>
                  </a:cubicBezTo>
                  <a:cubicBezTo>
                    <a:pt x="20" y="46"/>
                    <a:pt x="22" y="46"/>
                    <a:pt x="23" y="46"/>
                  </a:cubicBezTo>
                  <a:cubicBezTo>
                    <a:pt x="23" y="46"/>
                    <a:pt x="23" y="45"/>
                    <a:pt x="22" y="45"/>
                  </a:cubicBezTo>
                  <a:cubicBezTo>
                    <a:pt x="21" y="44"/>
                    <a:pt x="20" y="44"/>
                    <a:pt x="21" y="44"/>
                  </a:cubicBezTo>
                  <a:cubicBezTo>
                    <a:pt x="21" y="44"/>
                    <a:pt x="21" y="43"/>
                    <a:pt x="21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2" y="44"/>
                    <a:pt x="23" y="45"/>
                    <a:pt x="23" y="45"/>
                  </a:cubicBezTo>
                  <a:cubicBezTo>
                    <a:pt x="23" y="44"/>
                    <a:pt x="24" y="44"/>
                    <a:pt x="24" y="44"/>
                  </a:cubicBezTo>
                  <a:cubicBezTo>
                    <a:pt x="24" y="43"/>
                    <a:pt x="24" y="43"/>
                    <a:pt x="24" y="44"/>
                  </a:cubicBezTo>
                  <a:cubicBezTo>
                    <a:pt x="25" y="44"/>
                    <a:pt x="24" y="44"/>
                    <a:pt x="25" y="45"/>
                  </a:cubicBezTo>
                  <a:cubicBezTo>
                    <a:pt x="26" y="45"/>
                    <a:pt x="27" y="45"/>
                    <a:pt x="27" y="44"/>
                  </a:cubicBezTo>
                  <a:cubicBezTo>
                    <a:pt x="27" y="44"/>
                    <a:pt x="26" y="44"/>
                    <a:pt x="26" y="43"/>
                  </a:cubicBezTo>
                  <a:cubicBezTo>
                    <a:pt x="26" y="43"/>
                    <a:pt x="26" y="42"/>
                    <a:pt x="27" y="43"/>
                  </a:cubicBezTo>
                  <a:cubicBezTo>
                    <a:pt x="27" y="43"/>
                    <a:pt x="27" y="44"/>
                    <a:pt x="27" y="44"/>
                  </a:cubicBezTo>
                  <a:cubicBezTo>
                    <a:pt x="28" y="44"/>
                    <a:pt x="27" y="44"/>
                    <a:pt x="28" y="45"/>
                  </a:cubicBezTo>
                  <a:cubicBezTo>
                    <a:pt x="28" y="45"/>
                    <a:pt x="29" y="45"/>
                    <a:pt x="30" y="45"/>
                  </a:cubicBezTo>
                  <a:cubicBezTo>
                    <a:pt x="30" y="45"/>
                    <a:pt x="30" y="44"/>
                    <a:pt x="30" y="44"/>
                  </a:cubicBezTo>
                  <a:cubicBezTo>
                    <a:pt x="30" y="44"/>
                    <a:pt x="31" y="43"/>
                    <a:pt x="31" y="43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2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4" y="44"/>
                    <a:pt x="35" y="44"/>
                    <a:pt x="35" y="44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5" y="47"/>
                    <a:pt x="34" y="46"/>
                    <a:pt x="35" y="46"/>
                  </a:cubicBezTo>
                  <a:cubicBezTo>
                    <a:pt x="37" y="46"/>
                    <a:pt x="36" y="46"/>
                    <a:pt x="38" y="46"/>
                  </a:cubicBezTo>
                  <a:cubicBezTo>
                    <a:pt x="39" y="46"/>
                    <a:pt x="39" y="46"/>
                    <a:pt x="40" y="45"/>
                  </a:cubicBezTo>
                  <a:cubicBezTo>
                    <a:pt x="41" y="44"/>
                    <a:pt x="41" y="45"/>
                    <a:pt x="41" y="44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2" y="44"/>
                    <a:pt x="43" y="44"/>
                    <a:pt x="43" y="44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4" y="44"/>
                    <a:pt x="44" y="43"/>
                    <a:pt x="44" y="43"/>
                  </a:cubicBezTo>
                  <a:cubicBezTo>
                    <a:pt x="44" y="43"/>
                    <a:pt x="44" y="41"/>
                    <a:pt x="44" y="41"/>
                  </a:cubicBezTo>
                  <a:cubicBezTo>
                    <a:pt x="43" y="41"/>
                    <a:pt x="42" y="42"/>
                    <a:pt x="42" y="42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2"/>
                    <a:pt x="40" y="41"/>
                    <a:pt x="40" y="41"/>
                  </a:cubicBezTo>
                  <a:cubicBezTo>
                    <a:pt x="40" y="41"/>
                    <a:pt x="41" y="40"/>
                    <a:pt x="41" y="40"/>
                  </a:cubicBezTo>
                  <a:cubicBezTo>
                    <a:pt x="40" y="40"/>
                    <a:pt x="39" y="40"/>
                    <a:pt x="40" y="40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1" y="39"/>
                    <a:pt x="42" y="39"/>
                    <a:pt x="42" y="39"/>
                  </a:cubicBezTo>
                  <a:cubicBezTo>
                    <a:pt x="43" y="39"/>
                    <a:pt x="44" y="38"/>
                    <a:pt x="44" y="38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5"/>
                    <a:pt x="42" y="34"/>
                    <a:pt x="43" y="35"/>
                  </a:cubicBezTo>
                  <a:cubicBezTo>
                    <a:pt x="44" y="35"/>
                    <a:pt x="45" y="35"/>
                    <a:pt x="46" y="35"/>
                  </a:cubicBezTo>
                  <a:cubicBezTo>
                    <a:pt x="47" y="35"/>
                    <a:pt x="48" y="35"/>
                    <a:pt x="48" y="35"/>
                  </a:cubicBezTo>
                  <a:cubicBezTo>
                    <a:pt x="49" y="35"/>
                    <a:pt x="49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1" y="35"/>
                    <a:pt x="50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7" y="33"/>
                    <a:pt x="46" y="33"/>
                    <a:pt x="47" y="33"/>
                  </a:cubicBezTo>
                  <a:cubicBezTo>
                    <a:pt x="48" y="33"/>
                    <a:pt x="48" y="33"/>
                    <a:pt x="49" y="33"/>
                  </a:cubicBezTo>
                  <a:cubicBezTo>
                    <a:pt x="50" y="33"/>
                    <a:pt x="50" y="33"/>
                    <a:pt x="51" y="33"/>
                  </a:cubicBezTo>
                  <a:cubicBezTo>
                    <a:pt x="51" y="33"/>
                    <a:pt x="51" y="32"/>
                    <a:pt x="52" y="32"/>
                  </a:cubicBezTo>
                  <a:cubicBezTo>
                    <a:pt x="51" y="32"/>
                    <a:pt x="49" y="32"/>
                    <a:pt x="49" y="32"/>
                  </a:cubicBezTo>
                  <a:cubicBezTo>
                    <a:pt x="49" y="32"/>
                    <a:pt x="48" y="31"/>
                    <a:pt x="48" y="31"/>
                  </a:cubicBezTo>
                  <a:cubicBezTo>
                    <a:pt x="48" y="31"/>
                    <a:pt x="48" y="30"/>
                    <a:pt x="48" y="30"/>
                  </a:cubicBezTo>
                  <a:cubicBezTo>
                    <a:pt x="49" y="31"/>
                    <a:pt x="49" y="31"/>
                    <a:pt x="51" y="31"/>
                  </a:cubicBezTo>
                  <a:cubicBezTo>
                    <a:pt x="52" y="31"/>
                    <a:pt x="52" y="31"/>
                    <a:pt x="53" y="31"/>
                  </a:cubicBezTo>
                  <a:cubicBezTo>
                    <a:pt x="54" y="31"/>
                    <a:pt x="54" y="30"/>
                    <a:pt x="54" y="30"/>
                  </a:cubicBezTo>
                  <a:cubicBezTo>
                    <a:pt x="54" y="30"/>
                    <a:pt x="53" y="29"/>
                    <a:pt x="52" y="29"/>
                  </a:cubicBezTo>
                  <a:cubicBezTo>
                    <a:pt x="51" y="29"/>
                    <a:pt x="50" y="29"/>
                    <a:pt x="49" y="29"/>
                  </a:cubicBezTo>
                  <a:cubicBezTo>
                    <a:pt x="49" y="29"/>
                    <a:pt x="49" y="28"/>
                    <a:pt x="48" y="28"/>
                  </a:cubicBezTo>
                  <a:cubicBezTo>
                    <a:pt x="48" y="28"/>
                    <a:pt x="46" y="28"/>
                    <a:pt x="46" y="28"/>
                  </a:cubicBezTo>
                  <a:cubicBezTo>
                    <a:pt x="45" y="28"/>
                    <a:pt x="47" y="27"/>
                    <a:pt x="47" y="26"/>
                  </a:cubicBezTo>
                  <a:cubicBezTo>
                    <a:pt x="47" y="26"/>
                    <a:pt x="48" y="25"/>
                    <a:pt x="49" y="25"/>
                  </a:cubicBezTo>
                  <a:cubicBezTo>
                    <a:pt x="51" y="26"/>
                    <a:pt x="51" y="26"/>
                    <a:pt x="52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4" y="26"/>
                    <a:pt x="55" y="25"/>
                    <a:pt x="54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7" y="25"/>
                    <a:pt x="57" y="25"/>
                    <a:pt x="58" y="25"/>
                  </a:cubicBezTo>
                  <a:cubicBezTo>
                    <a:pt x="59" y="25"/>
                    <a:pt x="60" y="25"/>
                    <a:pt x="59" y="25"/>
                  </a:cubicBezTo>
                  <a:cubicBezTo>
                    <a:pt x="58" y="24"/>
                    <a:pt x="58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5" y="23"/>
                    <a:pt x="54" y="23"/>
                    <a:pt x="54" y="23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6" y="22"/>
                    <a:pt x="57" y="22"/>
                    <a:pt x="58" y="22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9" y="23"/>
                    <a:pt x="60" y="23"/>
                    <a:pt x="60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2" y="24"/>
                    <a:pt x="63" y="24"/>
                    <a:pt x="63" y="24"/>
                  </a:cubicBezTo>
                  <a:cubicBezTo>
                    <a:pt x="64" y="24"/>
                    <a:pt x="65" y="24"/>
                    <a:pt x="65" y="23"/>
                  </a:cubicBezTo>
                  <a:cubicBezTo>
                    <a:pt x="66" y="23"/>
                    <a:pt x="66" y="23"/>
                    <a:pt x="65" y="23"/>
                  </a:cubicBezTo>
                  <a:cubicBezTo>
                    <a:pt x="65" y="23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6" y="22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7" y="21"/>
                    <a:pt x="67" y="20"/>
                    <a:pt x="67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9" y="20"/>
                    <a:pt x="71" y="19"/>
                    <a:pt x="71" y="19"/>
                  </a:cubicBezTo>
                  <a:cubicBezTo>
                    <a:pt x="71" y="19"/>
                    <a:pt x="72" y="18"/>
                    <a:pt x="72" y="17"/>
                  </a:cubicBezTo>
                  <a:cubicBezTo>
                    <a:pt x="73" y="17"/>
                    <a:pt x="74" y="17"/>
                    <a:pt x="75" y="16"/>
                  </a:cubicBezTo>
                  <a:cubicBezTo>
                    <a:pt x="76" y="16"/>
                    <a:pt x="79" y="14"/>
                    <a:pt x="80" y="14"/>
                  </a:cubicBezTo>
                  <a:cubicBezTo>
                    <a:pt x="80" y="14"/>
                    <a:pt x="83" y="13"/>
                    <a:pt x="84" y="13"/>
                  </a:cubicBezTo>
                  <a:cubicBezTo>
                    <a:pt x="85" y="13"/>
                    <a:pt x="85" y="12"/>
                    <a:pt x="86" y="12"/>
                  </a:cubicBezTo>
                  <a:cubicBezTo>
                    <a:pt x="86" y="12"/>
                    <a:pt x="87" y="12"/>
                    <a:pt x="86" y="12"/>
                  </a:cubicBezTo>
                  <a:cubicBezTo>
                    <a:pt x="86" y="11"/>
                    <a:pt x="84" y="11"/>
                    <a:pt x="84" y="12"/>
                  </a:cubicBezTo>
                  <a:cubicBezTo>
                    <a:pt x="83" y="12"/>
                    <a:pt x="82" y="12"/>
                    <a:pt x="80" y="12"/>
                  </a:cubicBezTo>
                  <a:cubicBezTo>
                    <a:pt x="79" y="13"/>
                    <a:pt x="77" y="13"/>
                    <a:pt x="75" y="13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3" y="13"/>
                    <a:pt x="72" y="13"/>
                    <a:pt x="72" y="13"/>
                  </a:cubicBezTo>
                  <a:cubicBezTo>
                    <a:pt x="72" y="13"/>
                    <a:pt x="74" y="12"/>
                    <a:pt x="76" y="12"/>
                  </a:cubicBezTo>
                  <a:cubicBezTo>
                    <a:pt x="76" y="12"/>
                    <a:pt x="77" y="12"/>
                    <a:pt x="78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8" y="11"/>
                    <a:pt x="77" y="11"/>
                    <a:pt x="77" y="11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9" y="10"/>
                    <a:pt x="79" y="10"/>
                    <a:pt x="80" y="11"/>
                  </a:cubicBezTo>
                  <a:cubicBezTo>
                    <a:pt x="81" y="11"/>
                    <a:pt x="83" y="11"/>
                    <a:pt x="84" y="11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6" y="10"/>
                    <a:pt x="89" y="10"/>
                    <a:pt x="91" y="9"/>
                  </a:cubicBezTo>
                  <a:cubicBezTo>
                    <a:pt x="91" y="9"/>
                    <a:pt x="93" y="8"/>
                    <a:pt x="94" y="8"/>
                  </a:cubicBezTo>
                  <a:cubicBezTo>
                    <a:pt x="95" y="7"/>
                    <a:pt x="97" y="7"/>
                    <a:pt x="97" y="6"/>
                  </a:cubicBezTo>
                  <a:cubicBezTo>
                    <a:pt x="98" y="6"/>
                    <a:pt x="98" y="5"/>
                    <a:pt x="95" y="5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2" y="5"/>
                    <a:pt x="93" y="5"/>
                    <a:pt x="91" y="4"/>
                  </a:cubicBezTo>
                  <a:cubicBezTo>
                    <a:pt x="90" y="4"/>
                    <a:pt x="89" y="4"/>
                    <a:pt x="90" y="3"/>
                  </a:cubicBezTo>
                  <a:cubicBezTo>
                    <a:pt x="91" y="3"/>
                    <a:pt x="92" y="3"/>
                    <a:pt x="91" y="3"/>
                  </a:cubicBezTo>
                  <a:cubicBezTo>
                    <a:pt x="89" y="2"/>
                    <a:pt x="89" y="2"/>
                    <a:pt x="88" y="3"/>
                  </a:cubicBezTo>
                  <a:cubicBezTo>
                    <a:pt x="87" y="3"/>
                    <a:pt x="87" y="4"/>
                    <a:pt x="86" y="3"/>
                  </a:cubicBezTo>
                  <a:cubicBezTo>
                    <a:pt x="86" y="3"/>
                    <a:pt x="87" y="2"/>
                    <a:pt x="85" y="2"/>
                  </a:cubicBezTo>
                  <a:cubicBezTo>
                    <a:pt x="84" y="2"/>
                    <a:pt x="84" y="2"/>
                    <a:pt x="83" y="2"/>
                  </a:cubicBezTo>
                  <a:cubicBezTo>
                    <a:pt x="81" y="3"/>
                    <a:pt x="81" y="3"/>
                    <a:pt x="80" y="3"/>
                  </a:cubicBezTo>
                  <a:cubicBezTo>
                    <a:pt x="78" y="4"/>
                    <a:pt x="75" y="4"/>
                    <a:pt x="75" y="4"/>
                  </a:cubicBezTo>
                  <a:cubicBezTo>
                    <a:pt x="74" y="4"/>
                    <a:pt x="74" y="3"/>
                    <a:pt x="75" y="3"/>
                  </a:cubicBezTo>
                  <a:cubicBezTo>
                    <a:pt x="76" y="3"/>
                    <a:pt x="78" y="3"/>
                    <a:pt x="79" y="2"/>
                  </a:cubicBezTo>
                  <a:cubicBezTo>
                    <a:pt x="80" y="2"/>
                    <a:pt x="81" y="1"/>
                    <a:pt x="79" y="2"/>
                  </a:cubicBezTo>
                  <a:cubicBezTo>
                    <a:pt x="77" y="2"/>
                    <a:pt x="79" y="2"/>
                    <a:pt x="76" y="2"/>
                  </a:cubicBezTo>
                  <a:cubicBezTo>
                    <a:pt x="73" y="2"/>
                    <a:pt x="73" y="2"/>
                    <a:pt x="72" y="1"/>
                  </a:cubicBezTo>
                  <a:cubicBezTo>
                    <a:pt x="71" y="0"/>
                    <a:pt x="72" y="1"/>
                    <a:pt x="69" y="1"/>
                  </a:cubicBezTo>
                  <a:cubicBezTo>
                    <a:pt x="66" y="1"/>
                    <a:pt x="67" y="1"/>
                    <a:pt x="65" y="1"/>
                  </a:cubicBezTo>
                  <a:cubicBezTo>
                    <a:pt x="64" y="1"/>
                    <a:pt x="64" y="1"/>
                    <a:pt x="62" y="1"/>
                  </a:cubicBezTo>
                  <a:cubicBezTo>
                    <a:pt x="60" y="1"/>
                    <a:pt x="59" y="1"/>
                    <a:pt x="59" y="1"/>
                  </a:cubicBezTo>
                  <a:cubicBezTo>
                    <a:pt x="58" y="1"/>
                    <a:pt x="57" y="1"/>
                    <a:pt x="58" y="2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60" y="3"/>
                    <a:pt x="61" y="3"/>
                    <a:pt x="60" y="3"/>
                  </a:cubicBezTo>
                  <a:cubicBezTo>
                    <a:pt x="60" y="3"/>
                    <a:pt x="59" y="3"/>
                    <a:pt x="58" y="3"/>
                  </a:cubicBezTo>
                  <a:cubicBezTo>
                    <a:pt x="57" y="2"/>
                    <a:pt x="58" y="2"/>
                    <a:pt x="56" y="2"/>
                  </a:cubicBezTo>
                  <a:cubicBezTo>
                    <a:pt x="54" y="2"/>
                    <a:pt x="53" y="1"/>
                    <a:pt x="51" y="1"/>
                  </a:cubicBezTo>
                  <a:cubicBezTo>
                    <a:pt x="49" y="1"/>
                    <a:pt x="48" y="1"/>
                    <a:pt x="47" y="1"/>
                  </a:cubicBezTo>
                  <a:cubicBezTo>
                    <a:pt x="46" y="1"/>
                    <a:pt x="45" y="1"/>
                    <a:pt x="46" y="1"/>
                  </a:cubicBezTo>
                  <a:cubicBezTo>
                    <a:pt x="47" y="2"/>
                    <a:pt x="48" y="2"/>
                    <a:pt x="48" y="2"/>
                  </a:cubicBezTo>
                  <a:cubicBezTo>
                    <a:pt x="48" y="3"/>
                    <a:pt x="49" y="3"/>
                    <a:pt x="50" y="3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50" y="4"/>
                    <a:pt x="49" y="4"/>
                    <a:pt x="49" y="4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7" y="3"/>
                    <a:pt x="46" y="2"/>
                    <a:pt x="45" y="2"/>
                  </a:cubicBezTo>
                  <a:cubicBezTo>
                    <a:pt x="44" y="2"/>
                    <a:pt x="43" y="3"/>
                    <a:pt x="41" y="2"/>
                  </a:cubicBezTo>
                  <a:cubicBezTo>
                    <a:pt x="39" y="2"/>
                    <a:pt x="39" y="2"/>
                    <a:pt x="38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6" y="3"/>
                    <a:pt x="34" y="2"/>
                    <a:pt x="34" y="2"/>
                  </a:cubicBezTo>
                  <a:cubicBezTo>
                    <a:pt x="33" y="2"/>
                    <a:pt x="31" y="2"/>
                    <a:pt x="32" y="3"/>
                  </a:cubicBezTo>
                  <a:cubicBezTo>
                    <a:pt x="32" y="3"/>
                    <a:pt x="34" y="4"/>
                    <a:pt x="34" y="4"/>
                  </a:cubicBezTo>
                  <a:cubicBezTo>
                    <a:pt x="33" y="4"/>
                    <a:pt x="32" y="4"/>
                    <a:pt x="31" y="4"/>
                  </a:cubicBezTo>
                  <a:cubicBezTo>
                    <a:pt x="31" y="4"/>
                    <a:pt x="30" y="4"/>
                    <a:pt x="30" y="4"/>
                  </a:cubicBezTo>
                  <a:cubicBezTo>
                    <a:pt x="29" y="4"/>
                    <a:pt x="30" y="5"/>
                    <a:pt x="30" y="5"/>
                  </a:cubicBezTo>
                  <a:cubicBezTo>
                    <a:pt x="30" y="5"/>
                    <a:pt x="28" y="5"/>
                    <a:pt x="28" y="6"/>
                  </a:cubicBezTo>
                  <a:cubicBezTo>
                    <a:pt x="28" y="6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9" y="7"/>
                    <a:pt x="27" y="7"/>
                  </a:cubicBezTo>
                  <a:cubicBezTo>
                    <a:pt x="26" y="6"/>
                    <a:pt x="23" y="6"/>
                    <a:pt x="23" y="6"/>
                  </a:cubicBezTo>
                  <a:cubicBezTo>
                    <a:pt x="22" y="6"/>
                    <a:pt x="22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9" y="5"/>
                    <a:pt x="18" y="5"/>
                    <a:pt x="18" y="5"/>
                  </a:cubicBezTo>
                  <a:cubicBezTo>
                    <a:pt x="17" y="5"/>
                    <a:pt x="19" y="6"/>
                    <a:pt x="19" y="6"/>
                  </a:cubicBezTo>
                  <a:cubicBezTo>
                    <a:pt x="19" y="6"/>
                    <a:pt x="20" y="6"/>
                    <a:pt x="19" y="7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5" y="8"/>
                    <a:pt x="16" y="8"/>
                    <a:pt x="16" y="8"/>
                  </a:cubicBezTo>
                  <a:cubicBezTo>
                    <a:pt x="16" y="8"/>
                    <a:pt x="15" y="8"/>
                    <a:pt x="15" y="8"/>
                  </a:cubicBezTo>
                  <a:cubicBezTo>
                    <a:pt x="14" y="8"/>
                    <a:pt x="12" y="7"/>
                    <a:pt x="11" y="8"/>
                  </a:cubicBezTo>
                  <a:cubicBezTo>
                    <a:pt x="11" y="8"/>
                    <a:pt x="11" y="7"/>
                    <a:pt x="10" y="8"/>
                  </a:cubicBezTo>
                  <a:cubicBezTo>
                    <a:pt x="9" y="8"/>
                    <a:pt x="8" y="9"/>
                    <a:pt x="7" y="9"/>
                  </a:cubicBezTo>
                  <a:cubicBezTo>
                    <a:pt x="7" y="9"/>
                    <a:pt x="6" y="9"/>
                    <a:pt x="5" y="9"/>
                  </a:cubicBezTo>
                  <a:cubicBezTo>
                    <a:pt x="4" y="9"/>
                    <a:pt x="3" y="10"/>
                    <a:pt x="2" y="10"/>
                  </a:cubicBezTo>
                  <a:cubicBezTo>
                    <a:pt x="1" y="10"/>
                    <a:pt x="0" y="9"/>
                    <a:pt x="0" y="10"/>
                  </a:cubicBezTo>
                  <a:cubicBezTo>
                    <a:pt x="0" y="11"/>
                    <a:pt x="1" y="12"/>
                    <a:pt x="1" y="12"/>
                  </a:cubicBez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83" name="Freeform 325">
              <a:extLst>
                <a:ext uri="{FF2B5EF4-FFF2-40B4-BE49-F238E27FC236}">
                  <a16:creationId xmlns:a16="http://schemas.microsoft.com/office/drawing/2014/main" id="{CB82A41B-F77D-4BC2-B60F-E327B6383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6" y="1841"/>
              <a:ext cx="19" cy="10"/>
            </a:xfrm>
            <a:custGeom>
              <a:avLst/>
              <a:gdLst>
                <a:gd name="T0" fmla="*/ 1 w 8"/>
                <a:gd name="T1" fmla="*/ 4 h 4"/>
                <a:gd name="T2" fmla="*/ 0 w 8"/>
                <a:gd name="T3" fmla="*/ 4 h 4"/>
                <a:gd name="T4" fmla="*/ 2 w 8"/>
                <a:gd name="T5" fmla="*/ 4 h 4"/>
                <a:gd name="T6" fmla="*/ 2 w 8"/>
                <a:gd name="T7" fmla="*/ 4 h 4"/>
                <a:gd name="T8" fmla="*/ 2 w 8"/>
                <a:gd name="T9" fmla="*/ 4 h 4"/>
                <a:gd name="T10" fmla="*/ 3 w 8"/>
                <a:gd name="T11" fmla="*/ 4 h 4"/>
                <a:gd name="T12" fmla="*/ 4 w 8"/>
                <a:gd name="T13" fmla="*/ 4 h 4"/>
                <a:gd name="T14" fmla="*/ 4 w 8"/>
                <a:gd name="T15" fmla="*/ 4 h 4"/>
                <a:gd name="T16" fmla="*/ 5 w 8"/>
                <a:gd name="T17" fmla="*/ 3 h 4"/>
                <a:gd name="T18" fmla="*/ 6 w 8"/>
                <a:gd name="T19" fmla="*/ 3 h 4"/>
                <a:gd name="T20" fmla="*/ 7 w 8"/>
                <a:gd name="T21" fmla="*/ 2 h 4"/>
                <a:gd name="T22" fmla="*/ 7 w 8"/>
                <a:gd name="T23" fmla="*/ 1 h 4"/>
                <a:gd name="T24" fmla="*/ 8 w 8"/>
                <a:gd name="T25" fmla="*/ 1 h 4"/>
                <a:gd name="T26" fmla="*/ 7 w 8"/>
                <a:gd name="T27" fmla="*/ 1 h 4"/>
                <a:gd name="T28" fmla="*/ 6 w 8"/>
                <a:gd name="T29" fmla="*/ 0 h 4"/>
                <a:gd name="T30" fmla="*/ 6 w 8"/>
                <a:gd name="T31" fmla="*/ 0 h 4"/>
                <a:gd name="T32" fmla="*/ 6 w 8"/>
                <a:gd name="T33" fmla="*/ 0 h 4"/>
                <a:gd name="T34" fmla="*/ 6 w 8"/>
                <a:gd name="T35" fmla="*/ 0 h 4"/>
                <a:gd name="T36" fmla="*/ 6 w 8"/>
                <a:gd name="T37" fmla="*/ 1 h 4"/>
                <a:gd name="T38" fmla="*/ 5 w 8"/>
                <a:gd name="T39" fmla="*/ 1 h 4"/>
                <a:gd name="T40" fmla="*/ 3 w 8"/>
                <a:gd name="T41" fmla="*/ 1 h 4"/>
                <a:gd name="T42" fmla="*/ 3 w 8"/>
                <a:gd name="T43" fmla="*/ 1 h 4"/>
                <a:gd name="T44" fmla="*/ 3 w 8"/>
                <a:gd name="T45" fmla="*/ 2 h 4"/>
                <a:gd name="T46" fmla="*/ 3 w 8"/>
                <a:gd name="T47" fmla="*/ 3 h 4"/>
                <a:gd name="T48" fmla="*/ 2 w 8"/>
                <a:gd name="T49" fmla="*/ 3 h 4"/>
                <a:gd name="T50" fmla="*/ 1 w 8"/>
                <a:gd name="T51" fmla="*/ 2 h 4"/>
                <a:gd name="T52" fmla="*/ 1 w 8"/>
                <a:gd name="T53" fmla="*/ 2 h 4"/>
                <a:gd name="T54" fmla="*/ 1 w 8"/>
                <a:gd name="T55" fmla="*/ 3 h 4"/>
                <a:gd name="T56" fmla="*/ 1 w 8"/>
                <a:gd name="T5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" h="4">
                  <a:moveTo>
                    <a:pt x="1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7" y="2"/>
                    <a:pt x="7" y="1"/>
                    <a:pt x="7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lnTo>
                    <a:pt x="1" y="4"/>
                  </a:lnTo>
                  <a:close/>
                </a:path>
              </a:pathLst>
            </a:custGeom>
            <a:grpFill/>
            <a:ln w="9525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</p:grpSp>
      <p:sp>
        <p:nvSpPr>
          <p:cNvPr id="31" name="TextBox 30"/>
          <p:cNvSpPr txBox="1"/>
          <p:nvPr/>
        </p:nvSpPr>
        <p:spPr>
          <a:xfrm>
            <a:off x="4711132" y="1006804"/>
            <a:ext cx="1798950" cy="597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14">
              <a:lnSpc>
                <a:spcPct val="80000"/>
              </a:lnSpc>
              <a:buSzPct val="75000"/>
            </a:pPr>
            <a:r>
              <a:rPr lang="en-GB" sz="4000" b="1" spc="-151" dirty="0">
                <a:solidFill>
                  <a:schemeClr val="accent4"/>
                </a:solidFill>
              </a:rPr>
              <a:t>1800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4710040" y="1522004"/>
            <a:ext cx="1801439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6769473" y="981693"/>
            <a:ext cx="1017484" cy="597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14">
              <a:lnSpc>
                <a:spcPct val="80000"/>
              </a:lnSpc>
              <a:buSzPct val="75000"/>
            </a:pPr>
            <a:r>
              <a:rPr lang="en-GB" sz="4000" b="1" spc="-151" dirty="0">
                <a:solidFill>
                  <a:schemeClr val="accent5"/>
                </a:solidFill>
              </a:rPr>
              <a:t>8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6724858" y="1522004"/>
            <a:ext cx="1797044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2799761" y="985254"/>
            <a:ext cx="1708103" cy="597087"/>
            <a:chOff x="2659284" y="1548103"/>
            <a:chExt cx="1808833" cy="632298"/>
          </a:xfrm>
        </p:grpSpPr>
        <p:sp>
          <p:nvSpPr>
            <p:cNvPr id="23" name="TextBox 22"/>
            <p:cNvSpPr txBox="1"/>
            <p:nvPr/>
          </p:nvSpPr>
          <p:spPr>
            <a:xfrm>
              <a:off x="2659284" y="1548103"/>
              <a:ext cx="1808833" cy="6322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14">
                <a:lnSpc>
                  <a:spcPct val="80000"/>
                </a:lnSpc>
                <a:buSzPct val="75000"/>
              </a:pPr>
              <a:r>
                <a:rPr lang="en-GB" sz="4000" b="1" spc="-151" dirty="0">
                  <a:solidFill>
                    <a:schemeClr val="accent2">
                      <a:lumMod val="75000"/>
                    </a:schemeClr>
                  </a:solidFill>
                </a:rPr>
                <a:t>4</a:t>
              </a:r>
            </a:p>
          </p:txBody>
        </p:sp>
        <p:cxnSp>
          <p:nvCxnSpPr>
            <p:cNvPr id="24" name="Straight Connector 23"/>
            <p:cNvCxnSpPr/>
            <p:nvPr/>
          </p:nvCxnSpPr>
          <p:spPr>
            <a:xfrm>
              <a:off x="2756758" y="2118014"/>
              <a:ext cx="1711359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Rectangle 44"/>
          <p:cNvSpPr/>
          <p:nvPr/>
        </p:nvSpPr>
        <p:spPr>
          <a:xfrm>
            <a:off x="2882805" y="1636788"/>
            <a:ext cx="1631646" cy="5410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buSzPct val="75000"/>
            </a:pPr>
            <a:r>
              <a:rPr lang="en-GB" b="1" i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perations in 4 countrie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4695408" y="1589653"/>
            <a:ext cx="1837769" cy="3194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buSzPct val="75000"/>
            </a:pPr>
            <a:r>
              <a:rPr lang="en-GB" b="1" i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mployees</a:t>
            </a:r>
          </a:p>
        </p:txBody>
      </p:sp>
      <p:sp>
        <p:nvSpPr>
          <p:cNvPr id="47" name="Rectangle 46"/>
          <p:cNvSpPr/>
          <p:nvPr/>
        </p:nvSpPr>
        <p:spPr>
          <a:xfrm>
            <a:off x="6591476" y="1589653"/>
            <a:ext cx="1960438" cy="5410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80000"/>
              </a:lnSpc>
              <a:buSzPct val="75000"/>
              <a:defRPr/>
            </a:pPr>
            <a:r>
              <a:rPr lang="en-US" b="1" i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MP &amp; FDA registered faciliti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67FD33B-41AD-4B9D-9A6E-F49A25FCCDA4}"/>
              </a:ext>
            </a:extLst>
          </p:cNvPr>
          <p:cNvGrpSpPr/>
          <p:nvPr/>
        </p:nvGrpSpPr>
        <p:grpSpPr>
          <a:xfrm>
            <a:off x="5259024" y="3892280"/>
            <a:ext cx="2645160" cy="597087"/>
            <a:chOff x="5592776" y="3940684"/>
            <a:chExt cx="2645160" cy="597087"/>
          </a:xfrm>
        </p:grpSpPr>
        <p:sp>
          <p:nvSpPr>
            <p:cNvPr id="27" name="TextBox 26"/>
            <p:cNvSpPr txBox="1"/>
            <p:nvPr/>
          </p:nvSpPr>
          <p:spPr>
            <a:xfrm>
              <a:off x="6438986" y="3940684"/>
              <a:ext cx="1798950" cy="5970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14">
                <a:lnSpc>
                  <a:spcPct val="80000"/>
                </a:lnSpc>
                <a:buSzPct val="75000"/>
              </a:pPr>
              <a:r>
                <a:rPr lang="en-GB" sz="4000" b="1" spc="-151" dirty="0">
                  <a:solidFill>
                    <a:srgbClr val="583D81"/>
                  </a:solidFill>
                </a:rPr>
                <a:t>1954</a:t>
              </a:r>
            </a:p>
          </p:txBody>
        </p:sp>
        <p:cxnSp>
          <p:nvCxnSpPr>
            <p:cNvPr id="26" name="Straight Connector 25"/>
            <p:cNvCxnSpPr>
              <a:cxnSpLocks/>
            </p:cNvCxnSpPr>
            <p:nvPr/>
          </p:nvCxnSpPr>
          <p:spPr>
            <a:xfrm flipH="1" flipV="1">
              <a:off x="6798817" y="3977062"/>
              <a:ext cx="7792" cy="551195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48"/>
            <p:cNvSpPr/>
            <p:nvPr/>
          </p:nvSpPr>
          <p:spPr>
            <a:xfrm>
              <a:off x="5592776" y="3968704"/>
              <a:ext cx="1179928" cy="5410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r">
                <a:lnSpc>
                  <a:spcPct val="80000"/>
                </a:lnSpc>
                <a:buSzPct val="75000"/>
                <a:defRPr/>
              </a:pPr>
              <a:r>
                <a:rPr lang="en-US" b="1" i="1" dirty="0">
                  <a:solidFill>
                    <a:schemeClr val="bg2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ackaging</a:t>
              </a:r>
              <a:br>
                <a:rPr lang="en-US" b="1" i="1" dirty="0">
                  <a:solidFill>
                    <a:schemeClr val="bg2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</a:br>
              <a:r>
                <a:rPr lang="en-US" b="1" i="1" dirty="0">
                  <a:solidFill>
                    <a:schemeClr val="bg2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ince</a:t>
              </a:r>
            </a:p>
          </p:txBody>
        </p:sp>
      </p:grpSp>
      <p:sp>
        <p:nvSpPr>
          <p:cNvPr id="51" name="Rectangle 50"/>
          <p:cNvSpPr/>
          <p:nvPr/>
        </p:nvSpPr>
        <p:spPr>
          <a:xfrm>
            <a:off x="3142643" y="2130412"/>
            <a:ext cx="1171378" cy="613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80000"/>
              </a:lnSpc>
              <a:buSzPct val="75000"/>
              <a:defRPr/>
            </a:pP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elgium Netherlands USA | UK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1122586" y="960792"/>
            <a:ext cx="1382237" cy="1316415"/>
            <a:chOff x="5241925" y="-1638300"/>
            <a:chExt cx="633413" cy="603250"/>
          </a:xfrm>
          <a:noFill/>
        </p:grpSpPr>
        <p:sp>
          <p:nvSpPr>
            <p:cNvPr id="64" name="Freeform 5"/>
            <p:cNvSpPr>
              <a:spLocks noEditPoints="1"/>
            </p:cNvSpPr>
            <p:nvPr/>
          </p:nvSpPr>
          <p:spPr bwMode="auto">
            <a:xfrm>
              <a:off x="5241925" y="-1638300"/>
              <a:ext cx="633413" cy="603250"/>
            </a:xfrm>
            <a:custGeom>
              <a:avLst/>
              <a:gdLst>
                <a:gd name="T0" fmla="*/ 361 w 399"/>
                <a:gd name="T1" fmla="*/ 72 h 380"/>
                <a:gd name="T2" fmla="*/ 262 w 399"/>
                <a:gd name="T3" fmla="*/ 0 h 380"/>
                <a:gd name="T4" fmla="*/ 137 w 399"/>
                <a:gd name="T5" fmla="*/ 0 h 380"/>
                <a:gd name="T6" fmla="*/ 38 w 399"/>
                <a:gd name="T7" fmla="*/ 72 h 380"/>
                <a:gd name="T8" fmla="*/ 0 w 399"/>
                <a:gd name="T9" fmla="*/ 190 h 380"/>
                <a:gd name="T10" fmla="*/ 38 w 399"/>
                <a:gd name="T11" fmla="*/ 308 h 380"/>
                <a:gd name="T12" fmla="*/ 137 w 399"/>
                <a:gd name="T13" fmla="*/ 380 h 380"/>
                <a:gd name="T14" fmla="*/ 262 w 399"/>
                <a:gd name="T15" fmla="*/ 380 h 380"/>
                <a:gd name="T16" fmla="*/ 361 w 399"/>
                <a:gd name="T17" fmla="*/ 308 h 380"/>
                <a:gd name="T18" fmla="*/ 399 w 399"/>
                <a:gd name="T19" fmla="*/ 190 h 380"/>
                <a:gd name="T20" fmla="*/ 361 w 399"/>
                <a:gd name="T21" fmla="*/ 72 h 380"/>
                <a:gd name="T22" fmla="*/ 238 w 399"/>
                <a:gd name="T23" fmla="*/ 308 h 380"/>
                <a:gd name="T24" fmla="*/ 98 w 399"/>
                <a:gd name="T25" fmla="*/ 262 h 380"/>
                <a:gd name="T26" fmla="*/ 98 w 399"/>
                <a:gd name="T27" fmla="*/ 118 h 380"/>
                <a:gd name="T28" fmla="*/ 238 w 399"/>
                <a:gd name="T29" fmla="*/ 72 h 380"/>
                <a:gd name="T30" fmla="*/ 322 w 399"/>
                <a:gd name="T31" fmla="*/ 190 h 380"/>
                <a:gd name="T32" fmla="*/ 238 w 399"/>
                <a:gd name="T33" fmla="*/ 308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9" h="380">
                  <a:moveTo>
                    <a:pt x="361" y="72"/>
                  </a:moveTo>
                  <a:lnTo>
                    <a:pt x="262" y="0"/>
                  </a:lnTo>
                  <a:lnTo>
                    <a:pt x="137" y="0"/>
                  </a:lnTo>
                  <a:lnTo>
                    <a:pt x="38" y="72"/>
                  </a:lnTo>
                  <a:lnTo>
                    <a:pt x="0" y="190"/>
                  </a:lnTo>
                  <a:lnTo>
                    <a:pt x="38" y="308"/>
                  </a:lnTo>
                  <a:lnTo>
                    <a:pt x="137" y="380"/>
                  </a:lnTo>
                  <a:lnTo>
                    <a:pt x="262" y="380"/>
                  </a:lnTo>
                  <a:lnTo>
                    <a:pt x="361" y="308"/>
                  </a:lnTo>
                  <a:lnTo>
                    <a:pt x="399" y="190"/>
                  </a:lnTo>
                  <a:lnTo>
                    <a:pt x="361" y="72"/>
                  </a:lnTo>
                  <a:close/>
                  <a:moveTo>
                    <a:pt x="238" y="308"/>
                  </a:moveTo>
                  <a:lnTo>
                    <a:pt x="98" y="262"/>
                  </a:lnTo>
                  <a:lnTo>
                    <a:pt x="98" y="118"/>
                  </a:lnTo>
                  <a:lnTo>
                    <a:pt x="238" y="72"/>
                  </a:lnTo>
                  <a:lnTo>
                    <a:pt x="322" y="190"/>
                  </a:lnTo>
                  <a:lnTo>
                    <a:pt x="238" y="30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rgbClr val="626250"/>
                </a:solidFill>
              </a:endParaRPr>
            </a:p>
          </p:txBody>
        </p:sp>
        <p:sp>
          <p:nvSpPr>
            <p:cNvPr id="65" name="Freeform 6"/>
            <p:cNvSpPr>
              <a:spLocks/>
            </p:cNvSpPr>
            <p:nvPr/>
          </p:nvSpPr>
          <p:spPr bwMode="auto">
            <a:xfrm>
              <a:off x="5302250" y="-1222375"/>
              <a:ext cx="157163" cy="187325"/>
            </a:xfrm>
            <a:custGeom>
              <a:avLst/>
              <a:gdLst>
                <a:gd name="T0" fmla="*/ 0 w 99"/>
                <a:gd name="T1" fmla="*/ 46 h 118"/>
                <a:gd name="T2" fmla="*/ 99 w 99"/>
                <a:gd name="T3" fmla="*/ 118 h 118"/>
                <a:gd name="T4" fmla="*/ 60 w 99"/>
                <a:gd name="T5" fmla="*/ 0 h 118"/>
                <a:gd name="T6" fmla="*/ 0 w 99"/>
                <a:gd name="T7" fmla="*/ 46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18">
                  <a:moveTo>
                    <a:pt x="0" y="46"/>
                  </a:moveTo>
                  <a:lnTo>
                    <a:pt x="99" y="118"/>
                  </a:lnTo>
                  <a:lnTo>
                    <a:pt x="60" y="0"/>
                  </a:lnTo>
                  <a:lnTo>
                    <a:pt x="0" y="4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rgbClr val="626250"/>
                </a:solidFill>
              </a:endParaRPr>
            </a:p>
          </p:txBody>
        </p:sp>
        <p:sp>
          <p:nvSpPr>
            <p:cNvPr id="66" name="Freeform 7"/>
            <p:cNvSpPr>
              <a:spLocks/>
            </p:cNvSpPr>
            <p:nvPr/>
          </p:nvSpPr>
          <p:spPr bwMode="auto">
            <a:xfrm>
              <a:off x="5241925" y="-1336675"/>
              <a:ext cx="155575" cy="187325"/>
            </a:xfrm>
            <a:custGeom>
              <a:avLst/>
              <a:gdLst>
                <a:gd name="T0" fmla="*/ 98 w 98"/>
                <a:gd name="T1" fmla="*/ 72 h 118"/>
                <a:gd name="T2" fmla="*/ 0 w 98"/>
                <a:gd name="T3" fmla="*/ 0 h 118"/>
                <a:gd name="T4" fmla="*/ 38 w 98"/>
                <a:gd name="T5" fmla="*/ 118 h 118"/>
                <a:gd name="T6" fmla="*/ 98 w 98"/>
                <a:gd name="T7" fmla="*/ 7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118">
                  <a:moveTo>
                    <a:pt x="98" y="72"/>
                  </a:moveTo>
                  <a:lnTo>
                    <a:pt x="0" y="0"/>
                  </a:lnTo>
                  <a:lnTo>
                    <a:pt x="38" y="118"/>
                  </a:lnTo>
                  <a:lnTo>
                    <a:pt x="98" y="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rgbClr val="626250"/>
                </a:solidFill>
              </a:endParaRPr>
            </a:p>
          </p:txBody>
        </p:sp>
        <p:sp>
          <p:nvSpPr>
            <p:cNvPr id="67" name="Freeform 8"/>
            <p:cNvSpPr>
              <a:spLocks/>
            </p:cNvSpPr>
            <p:nvPr/>
          </p:nvSpPr>
          <p:spPr bwMode="auto">
            <a:xfrm>
              <a:off x="5397500" y="-1638300"/>
              <a:ext cx="222250" cy="187325"/>
            </a:xfrm>
            <a:custGeom>
              <a:avLst/>
              <a:gdLst>
                <a:gd name="T0" fmla="*/ 0 w 140"/>
                <a:gd name="T1" fmla="*/ 118 h 118"/>
                <a:gd name="T2" fmla="*/ 140 w 140"/>
                <a:gd name="T3" fmla="*/ 72 h 118"/>
                <a:gd name="T4" fmla="*/ 39 w 140"/>
                <a:gd name="T5" fmla="*/ 0 h 118"/>
                <a:gd name="T6" fmla="*/ 0 w 140"/>
                <a:gd name="T7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118">
                  <a:moveTo>
                    <a:pt x="0" y="118"/>
                  </a:moveTo>
                  <a:lnTo>
                    <a:pt x="140" y="72"/>
                  </a:lnTo>
                  <a:lnTo>
                    <a:pt x="39" y="0"/>
                  </a:lnTo>
                  <a:lnTo>
                    <a:pt x="0" y="11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rgbClr val="626250"/>
                </a:solidFill>
              </a:endParaRPr>
            </a:p>
          </p:txBody>
        </p:sp>
        <p:sp>
          <p:nvSpPr>
            <p:cNvPr id="68" name="Freeform 9"/>
            <p:cNvSpPr>
              <a:spLocks/>
            </p:cNvSpPr>
            <p:nvPr/>
          </p:nvSpPr>
          <p:spPr bwMode="auto">
            <a:xfrm>
              <a:off x="5619750" y="-1336675"/>
              <a:ext cx="195263" cy="187325"/>
            </a:xfrm>
            <a:custGeom>
              <a:avLst/>
              <a:gdLst>
                <a:gd name="T0" fmla="*/ 84 w 123"/>
                <a:gd name="T1" fmla="*/ 0 h 118"/>
                <a:gd name="T2" fmla="*/ 0 w 123"/>
                <a:gd name="T3" fmla="*/ 118 h 118"/>
                <a:gd name="T4" fmla="*/ 123 w 123"/>
                <a:gd name="T5" fmla="*/ 118 h 118"/>
                <a:gd name="T6" fmla="*/ 84 w 123"/>
                <a:gd name="T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118">
                  <a:moveTo>
                    <a:pt x="84" y="0"/>
                  </a:moveTo>
                  <a:lnTo>
                    <a:pt x="0" y="118"/>
                  </a:lnTo>
                  <a:lnTo>
                    <a:pt x="123" y="118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rgbClr val="626250"/>
                </a:solidFill>
              </a:endParaRPr>
            </a:p>
          </p:txBody>
        </p:sp>
        <p:sp>
          <p:nvSpPr>
            <p:cNvPr id="69" name="Freeform 10"/>
            <p:cNvSpPr>
              <a:spLocks/>
            </p:cNvSpPr>
            <p:nvPr/>
          </p:nvSpPr>
          <p:spPr bwMode="auto">
            <a:xfrm>
              <a:off x="5619750" y="-1524000"/>
              <a:ext cx="195263" cy="187325"/>
            </a:xfrm>
            <a:custGeom>
              <a:avLst/>
              <a:gdLst>
                <a:gd name="T0" fmla="*/ 0 w 123"/>
                <a:gd name="T1" fmla="*/ 0 h 118"/>
                <a:gd name="T2" fmla="*/ 84 w 123"/>
                <a:gd name="T3" fmla="*/ 118 h 118"/>
                <a:gd name="T4" fmla="*/ 123 w 123"/>
                <a:gd name="T5" fmla="*/ 0 h 118"/>
                <a:gd name="T6" fmla="*/ 0 w 123"/>
                <a:gd name="T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118">
                  <a:moveTo>
                    <a:pt x="0" y="0"/>
                  </a:moveTo>
                  <a:lnTo>
                    <a:pt x="84" y="118"/>
                  </a:lnTo>
                  <a:lnTo>
                    <a:pt x="12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rgbClr val="626250"/>
                </a:solidFill>
              </a:endParaRPr>
            </a:p>
          </p:txBody>
        </p:sp>
        <p:sp>
          <p:nvSpPr>
            <p:cNvPr id="70" name="Freeform 11"/>
            <p:cNvSpPr>
              <a:spLocks/>
            </p:cNvSpPr>
            <p:nvPr/>
          </p:nvSpPr>
          <p:spPr bwMode="auto">
            <a:xfrm>
              <a:off x="5619750" y="-1149350"/>
              <a:ext cx="195263" cy="114300"/>
            </a:xfrm>
            <a:custGeom>
              <a:avLst/>
              <a:gdLst>
                <a:gd name="T0" fmla="*/ 24 w 123"/>
                <a:gd name="T1" fmla="*/ 72 h 72"/>
                <a:gd name="T2" fmla="*/ 123 w 123"/>
                <a:gd name="T3" fmla="*/ 0 h 72"/>
                <a:gd name="T4" fmla="*/ 0 w 123"/>
                <a:gd name="T5" fmla="*/ 0 h 72"/>
                <a:gd name="T6" fmla="*/ 24 w 123"/>
                <a:gd name="T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72">
                  <a:moveTo>
                    <a:pt x="24" y="72"/>
                  </a:moveTo>
                  <a:lnTo>
                    <a:pt x="123" y="0"/>
                  </a:lnTo>
                  <a:lnTo>
                    <a:pt x="0" y="0"/>
                  </a:lnTo>
                  <a:lnTo>
                    <a:pt x="24" y="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rgbClr val="626250"/>
                </a:solidFill>
              </a:endParaRPr>
            </a:p>
          </p:txBody>
        </p:sp>
        <p:sp>
          <p:nvSpPr>
            <p:cNvPr id="71" name="Freeform 12"/>
            <p:cNvSpPr>
              <a:spLocks/>
            </p:cNvSpPr>
            <p:nvPr/>
          </p:nvSpPr>
          <p:spPr bwMode="auto">
            <a:xfrm>
              <a:off x="5459413" y="-1149350"/>
              <a:ext cx="198438" cy="114300"/>
            </a:xfrm>
            <a:custGeom>
              <a:avLst/>
              <a:gdLst>
                <a:gd name="T0" fmla="*/ 101 w 125"/>
                <a:gd name="T1" fmla="*/ 0 h 72"/>
                <a:gd name="T2" fmla="*/ 0 w 125"/>
                <a:gd name="T3" fmla="*/ 72 h 72"/>
                <a:gd name="T4" fmla="*/ 125 w 125"/>
                <a:gd name="T5" fmla="*/ 72 h 72"/>
                <a:gd name="T6" fmla="*/ 101 w 125"/>
                <a:gd name="T7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5" h="72">
                  <a:moveTo>
                    <a:pt x="101" y="0"/>
                  </a:moveTo>
                  <a:lnTo>
                    <a:pt x="0" y="72"/>
                  </a:lnTo>
                  <a:lnTo>
                    <a:pt x="125" y="72"/>
                  </a:lnTo>
                  <a:lnTo>
                    <a:pt x="10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rgbClr val="626250"/>
                </a:solidFill>
              </a:endParaRPr>
            </a:p>
          </p:txBody>
        </p:sp>
        <p:sp>
          <p:nvSpPr>
            <p:cNvPr id="72" name="Freeform 13"/>
            <p:cNvSpPr>
              <a:spLocks/>
            </p:cNvSpPr>
            <p:nvPr/>
          </p:nvSpPr>
          <p:spPr bwMode="auto">
            <a:xfrm>
              <a:off x="5753100" y="-1524000"/>
              <a:ext cx="122238" cy="187325"/>
            </a:xfrm>
            <a:custGeom>
              <a:avLst/>
              <a:gdLst>
                <a:gd name="T0" fmla="*/ 77 w 77"/>
                <a:gd name="T1" fmla="*/ 118 h 118"/>
                <a:gd name="T2" fmla="*/ 39 w 77"/>
                <a:gd name="T3" fmla="*/ 0 h 118"/>
                <a:gd name="T4" fmla="*/ 0 w 77"/>
                <a:gd name="T5" fmla="*/ 118 h 118"/>
                <a:gd name="T6" fmla="*/ 77 w 77"/>
                <a:gd name="T7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118">
                  <a:moveTo>
                    <a:pt x="77" y="118"/>
                  </a:moveTo>
                  <a:lnTo>
                    <a:pt x="39" y="0"/>
                  </a:lnTo>
                  <a:lnTo>
                    <a:pt x="0" y="118"/>
                  </a:lnTo>
                  <a:lnTo>
                    <a:pt x="77" y="11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rgbClr val="626250"/>
                </a:solidFill>
              </a:endParaRPr>
            </a:p>
          </p:txBody>
        </p:sp>
        <p:sp>
          <p:nvSpPr>
            <p:cNvPr id="73" name="Freeform 14"/>
            <p:cNvSpPr>
              <a:spLocks/>
            </p:cNvSpPr>
            <p:nvPr/>
          </p:nvSpPr>
          <p:spPr bwMode="auto">
            <a:xfrm>
              <a:off x="5619750" y="-1638300"/>
              <a:ext cx="195263" cy="114300"/>
            </a:xfrm>
            <a:custGeom>
              <a:avLst/>
              <a:gdLst>
                <a:gd name="T0" fmla="*/ 0 w 123"/>
                <a:gd name="T1" fmla="*/ 72 h 72"/>
                <a:gd name="T2" fmla="*/ 123 w 123"/>
                <a:gd name="T3" fmla="*/ 72 h 72"/>
                <a:gd name="T4" fmla="*/ 24 w 123"/>
                <a:gd name="T5" fmla="*/ 0 h 72"/>
                <a:gd name="T6" fmla="*/ 0 w 123"/>
                <a:gd name="T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72">
                  <a:moveTo>
                    <a:pt x="0" y="72"/>
                  </a:moveTo>
                  <a:lnTo>
                    <a:pt x="123" y="72"/>
                  </a:lnTo>
                  <a:lnTo>
                    <a:pt x="24" y="0"/>
                  </a:lnTo>
                  <a:lnTo>
                    <a:pt x="0" y="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rgbClr val="626250"/>
                </a:solidFill>
              </a:endParaRPr>
            </a:p>
          </p:txBody>
        </p:sp>
        <p:sp>
          <p:nvSpPr>
            <p:cNvPr id="74" name="Freeform 15"/>
            <p:cNvSpPr>
              <a:spLocks/>
            </p:cNvSpPr>
            <p:nvPr/>
          </p:nvSpPr>
          <p:spPr bwMode="auto">
            <a:xfrm>
              <a:off x="5241925" y="-1524000"/>
              <a:ext cx="155575" cy="187325"/>
            </a:xfrm>
            <a:custGeom>
              <a:avLst/>
              <a:gdLst>
                <a:gd name="T0" fmla="*/ 38 w 98"/>
                <a:gd name="T1" fmla="*/ 0 h 118"/>
                <a:gd name="T2" fmla="*/ 0 w 98"/>
                <a:gd name="T3" fmla="*/ 118 h 118"/>
                <a:gd name="T4" fmla="*/ 98 w 98"/>
                <a:gd name="T5" fmla="*/ 46 h 118"/>
                <a:gd name="T6" fmla="*/ 38 w 98"/>
                <a:gd name="T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118">
                  <a:moveTo>
                    <a:pt x="38" y="0"/>
                  </a:moveTo>
                  <a:lnTo>
                    <a:pt x="0" y="118"/>
                  </a:lnTo>
                  <a:lnTo>
                    <a:pt x="98" y="46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rgbClr val="626250"/>
                </a:solidFill>
              </a:endParaRPr>
            </a:p>
          </p:txBody>
        </p:sp>
        <p:sp>
          <p:nvSpPr>
            <p:cNvPr id="75" name="Freeform 16"/>
            <p:cNvSpPr>
              <a:spLocks/>
            </p:cNvSpPr>
            <p:nvPr/>
          </p:nvSpPr>
          <p:spPr bwMode="auto">
            <a:xfrm>
              <a:off x="5302250" y="-1638300"/>
              <a:ext cx="157163" cy="187325"/>
            </a:xfrm>
            <a:custGeom>
              <a:avLst/>
              <a:gdLst>
                <a:gd name="T0" fmla="*/ 60 w 99"/>
                <a:gd name="T1" fmla="*/ 118 h 118"/>
                <a:gd name="T2" fmla="*/ 99 w 99"/>
                <a:gd name="T3" fmla="*/ 0 h 118"/>
                <a:gd name="T4" fmla="*/ 0 w 99"/>
                <a:gd name="T5" fmla="*/ 72 h 118"/>
                <a:gd name="T6" fmla="*/ 60 w 99"/>
                <a:gd name="T7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18">
                  <a:moveTo>
                    <a:pt x="60" y="118"/>
                  </a:moveTo>
                  <a:lnTo>
                    <a:pt x="99" y="0"/>
                  </a:lnTo>
                  <a:lnTo>
                    <a:pt x="0" y="72"/>
                  </a:lnTo>
                  <a:lnTo>
                    <a:pt x="60" y="11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rgbClr val="626250"/>
                </a:solidFill>
              </a:endParaRPr>
            </a:p>
          </p:txBody>
        </p:sp>
      </p:grpSp>
      <p:sp>
        <p:nvSpPr>
          <p:cNvPr id="79" name="Rectangle 78"/>
          <p:cNvSpPr/>
          <p:nvPr/>
        </p:nvSpPr>
        <p:spPr>
          <a:xfrm>
            <a:off x="1050837" y="2377442"/>
            <a:ext cx="1631646" cy="5410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buSzPct val="75000"/>
            </a:pPr>
            <a:r>
              <a:rPr lang="en-GB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art of UDG Healthcare plc</a:t>
            </a:r>
          </a:p>
        </p:txBody>
      </p:sp>
      <p:sp>
        <p:nvSpPr>
          <p:cNvPr id="80" name="Rectangle 79"/>
          <p:cNvSpPr/>
          <p:nvPr/>
        </p:nvSpPr>
        <p:spPr>
          <a:xfrm>
            <a:off x="1028242" y="2904714"/>
            <a:ext cx="1612936" cy="6972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indent="0" algn="ctr"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tabLst/>
              <a:defRPr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9000+ Employees</a:t>
            </a:r>
          </a:p>
          <a:p>
            <a:pPr lvl="0" algn="ctr">
              <a:lnSpc>
                <a:spcPts val="1600"/>
              </a:lnSpc>
              <a:buSzPct val="75000"/>
              <a:defRPr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&gt;$1 Billion net revenue</a:t>
            </a:r>
          </a:p>
          <a:p>
            <a:pPr marR="0" indent="0" algn="ctr"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tabLst/>
              <a:defRPr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TSE 250</a:t>
            </a:r>
          </a:p>
        </p:txBody>
      </p:sp>
      <p:pic>
        <p:nvPicPr>
          <p:cNvPr id="81" name="Picture 80" descr="UDG_Logo.jpg">
            <a:extLst>
              <a:ext uri="{FF2B5EF4-FFF2-40B4-BE49-F238E27FC236}">
                <a16:creationId xmlns:a16="http://schemas.microsoft.com/office/drawing/2014/main" id="{87EE2C2D-0382-4662-8FC1-7226D0E07E0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79" y="3637583"/>
            <a:ext cx="1655143" cy="446654"/>
          </a:xfrm>
          <a:prstGeom prst="rect">
            <a:avLst/>
          </a:prstGeom>
        </p:spPr>
      </p:pic>
      <p:pic>
        <p:nvPicPr>
          <p:cNvPr id="440" name="Picture 439" descr="Sites.jpg">
            <a:extLst>
              <a:ext uri="{FF2B5EF4-FFF2-40B4-BE49-F238E27FC236}">
                <a16:creationId xmlns:a16="http://schemas.microsoft.com/office/drawing/2014/main" id="{A59C1029-B661-4CB6-A245-5E330D3D17A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90" t="6912" r="4111" b="11822"/>
          <a:stretch/>
        </p:blipFill>
        <p:spPr>
          <a:xfrm>
            <a:off x="7548124" y="976376"/>
            <a:ext cx="635433" cy="441154"/>
          </a:xfrm>
          <a:prstGeom prst="rect">
            <a:avLst/>
          </a:prstGeom>
        </p:spPr>
      </p:pic>
      <p:sp>
        <p:nvSpPr>
          <p:cNvPr id="384" name="Title 2">
            <a:extLst>
              <a:ext uri="{FF2B5EF4-FFF2-40B4-BE49-F238E27FC236}">
                <a16:creationId xmlns:a16="http://schemas.microsoft.com/office/drawing/2014/main" id="{350117E9-8930-4CD4-8F49-F6BE58D63A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32279"/>
            <a:ext cx="6965950" cy="388029"/>
          </a:xfrm>
        </p:spPr>
        <p:txBody>
          <a:bodyPr anchor="t"/>
          <a:lstStyle/>
          <a:p>
            <a:r>
              <a:rPr lang="en-GB" sz="2000" b="1" dirty="0"/>
              <a:t>Sharp </a:t>
            </a:r>
            <a:r>
              <a:rPr lang="en-GB" sz="2000" b="1" dirty="0" smtClean="0"/>
              <a:t>Services </a:t>
            </a:r>
            <a:r>
              <a:rPr lang="en-GB" sz="2000" dirty="0" smtClean="0"/>
              <a:t>part </a:t>
            </a:r>
            <a:r>
              <a:rPr lang="en-GB" sz="2000" dirty="0"/>
              <a:t>of UDG Healthcar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FA0E0CE-B790-4817-9663-DFE421F8F35C}"/>
              </a:ext>
            </a:extLst>
          </p:cNvPr>
          <p:cNvGrpSpPr/>
          <p:nvPr/>
        </p:nvGrpSpPr>
        <p:grpSpPr>
          <a:xfrm>
            <a:off x="5157946" y="2262558"/>
            <a:ext cx="3089292" cy="1241992"/>
            <a:chOff x="5082212" y="3225867"/>
            <a:chExt cx="3089292" cy="1241992"/>
          </a:xfrm>
        </p:grpSpPr>
        <p:cxnSp>
          <p:nvCxnSpPr>
            <p:cNvPr id="28" name="Straight Connector 27"/>
            <p:cNvCxnSpPr>
              <a:cxnSpLocks/>
            </p:cNvCxnSpPr>
            <p:nvPr/>
          </p:nvCxnSpPr>
          <p:spPr>
            <a:xfrm flipV="1">
              <a:off x="5093073" y="3695598"/>
              <a:ext cx="2868439" cy="16474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5150876" y="3225867"/>
              <a:ext cx="852077" cy="5970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14">
                <a:lnSpc>
                  <a:spcPct val="80000"/>
                </a:lnSpc>
                <a:buSzPct val="75000"/>
              </a:pPr>
              <a:r>
                <a:rPr lang="en-GB" sz="4000" b="1" spc="-151" dirty="0">
                  <a:solidFill>
                    <a:schemeClr val="accent1"/>
                  </a:solidFill>
                </a:rPr>
                <a:t>4</a:t>
              </a: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5146777" y="3351754"/>
              <a:ext cx="3024727" cy="3194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80000"/>
                </a:lnSpc>
                <a:buSzPct val="75000"/>
              </a:pPr>
              <a:r>
                <a:rPr lang="en-US" b="1" i="1" dirty="0">
                  <a:solidFill>
                    <a:schemeClr val="bg2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Areas of expertise</a:t>
              </a:r>
              <a:endParaRPr lang="en-GB" b="1" i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pic>
          <p:nvPicPr>
            <p:cNvPr id="385" name="Picture 384">
              <a:extLst>
                <a:ext uri="{FF2B5EF4-FFF2-40B4-BE49-F238E27FC236}">
                  <a16:creationId xmlns:a16="http://schemas.microsoft.com/office/drawing/2014/main" id="{2100DAE3-1203-463F-B5E9-339654E7664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082212" y="3826477"/>
              <a:ext cx="596106" cy="628622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86" name="Picture 385">
              <a:extLst>
                <a:ext uri="{FF2B5EF4-FFF2-40B4-BE49-F238E27FC236}">
                  <a16:creationId xmlns:a16="http://schemas.microsoft.com/office/drawing/2014/main" id="{FE23987E-60C3-4A64-9FEC-12281AE7DB4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794590" y="3824875"/>
              <a:ext cx="629265" cy="626119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87" name="Picture 386">
              <a:extLst>
                <a:ext uri="{FF2B5EF4-FFF2-40B4-BE49-F238E27FC236}">
                  <a16:creationId xmlns:a16="http://schemas.microsoft.com/office/drawing/2014/main" id="{12C3F79F-22CC-4924-8EFD-C9308B09BFC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40127" y="3821012"/>
              <a:ext cx="651451" cy="633844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88" name="Picture 387">
              <a:extLst>
                <a:ext uri="{FF2B5EF4-FFF2-40B4-BE49-F238E27FC236}">
                  <a16:creationId xmlns:a16="http://schemas.microsoft.com/office/drawing/2014/main" id="{E466C7A6-7469-495D-8523-DCE23E3482B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307850" y="3808009"/>
              <a:ext cx="620457" cy="659850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394" name="Picture 393">
            <a:extLst>
              <a:ext uri="{FF2B5EF4-FFF2-40B4-BE49-F238E27FC236}">
                <a16:creationId xmlns:a16="http://schemas.microsoft.com/office/drawing/2014/main" id="{163CFD0A-4B36-4939-AE58-51193EA7810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4217" y="3411925"/>
            <a:ext cx="408867" cy="408867"/>
          </a:xfrm>
          <a:prstGeom prst="rect">
            <a:avLst/>
          </a:prstGeom>
        </p:spPr>
      </p:pic>
      <p:pic>
        <p:nvPicPr>
          <p:cNvPr id="395" name="Picture 394">
            <a:extLst>
              <a:ext uri="{FF2B5EF4-FFF2-40B4-BE49-F238E27FC236}">
                <a16:creationId xmlns:a16="http://schemas.microsoft.com/office/drawing/2014/main" id="{99E23D8D-EEBD-4F41-AE14-8948CB96DFD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4217" y="2888264"/>
            <a:ext cx="435171" cy="435171"/>
          </a:xfrm>
          <a:prstGeom prst="rect">
            <a:avLst/>
          </a:prstGeom>
        </p:spPr>
      </p:pic>
      <p:grpSp>
        <p:nvGrpSpPr>
          <p:cNvPr id="396" name="Group 395">
            <a:extLst>
              <a:ext uri="{FF2B5EF4-FFF2-40B4-BE49-F238E27FC236}">
                <a16:creationId xmlns:a16="http://schemas.microsoft.com/office/drawing/2014/main" id="{A3DB91DD-39AE-49EA-8202-502F6C76200C}"/>
              </a:ext>
            </a:extLst>
          </p:cNvPr>
          <p:cNvGrpSpPr/>
          <p:nvPr/>
        </p:nvGrpSpPr>
        <p:grpSpPr>
          <a:xfrm>
            <a:off x="3904217" y="3909282"/>
            <a:ext cx="391348" cy="399678"/>
            <a:chOff x="3976762" y="3125552"/>
            <a:chExt cx="392040" cy="392040"/>
          </a:xfrm>
          <a:solidFill>
            <a:srgbClr val="0B66AC"/>
          </a:solidFill>
        </p:grpSpPr>
        <p:sp>
          <p:nvSpPr>
            <p:cNvPr id="397" name="Freeform 326">
              <a:extLst>
                <a:ext uri="{FF2B5EF4-FFF2-40B4-BE49-F238E27FC236}">
                  <a16:creationId xmlns:a16="http://schemas.microsoft.com/office/drawing/2014/main" id="{9B576E9B-0996-4370-A2A1-CB21397B1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140" y="3215434"/>
              <a:ext cx="13387" cy="21036"/>
            </a:xfrm>
            <a:custGeom>
              <a:avLst/>
              <a:gdLst>
                <a:gd name="T0" fmla="*/ 0 w 11"/>
                <a:gd name="T1" fmla="*/ 4 h 16"/>
                <a:gd name="T2" fmla="*/ 0 w 11"/>
                <a:gd name="T3" fmla="*/ 5 h 16"/>
                <a:gd name="T4" fmla="*/ 1 w 11"/>
                <a:gd name="T5" fmla="*/ 4 h 16"/>
                <a:gd name="T6" fmla="*/ 1 w 11"/>
                <a:gd name="T7" fmla="*/ 5 h 16"/>
                <a:gd name="T8" fmla="*/ 0 w 11"/>
                <a:gd name="T9" fmla="*/ 5 h 16"/>
                <a:gd name="T10" fmla="*/ 0 w 11"/>
                <a:gd name="T11" fmla="*/ 6 h 16"/>
                <a:gd name="T12" fmla="*/ 1 w 11"/>
                <a:gd name="T13" fmla="*/ 5 h 16"/>
                <a:gd name="T14" fmla="*/ 1 w 11"/>
                <a:gd name="T15" fmla="*/ 6 h 16"/>
                <a:gd name="T16" fmla="*/ 1 w 11"/>
                <a:gd name="T17" fmla="*/ 6 h 16"/>
                <a:gd name="T18" fmla="*/ 1 w 11"/>
                <a:gd name="T19" fmla="*/ 5 h 16"/>
                <a:gd name="T20" fmla="*/ 2 w 11"/>
                <a:gd name="T21" fmla="*/ 6 h 16"/>
                <a:gd name="T22" fmla="*/ 1 w 11"/>
                <a:gd name="T23" fmla="*/ 7 h 16"/>
                <a:gd name="T24" fmla="*/ 2 w 11"/>
                <a:gd name="T25" fmla="*/ 8 h 16"/>
                <a:gd name="T26" fmla="*/ 2 w 11"/>
                <a:gd name="T27" fmla="*/ 8 h 16"/>
                <a:gd name="T28" fmla="*/ 3 w 11"/>
                <a:gd name="T29" fmla="*/ 7 h 16"/>
                <a:gd name="T30" fmla="*/ 4 w 11"/>
                <a:gd name="T31" fmla="*/ 9 h 16"/>
                <a:gd name="T32" fmla="*/ 4 w 11"/>
                <a:gd name="T33" fmla="*/ 10 h 16"/>
                <a:gd name="T34" fmla="*/ 3 w 11"/>
                <a:gd name="T35" fmla="*/ 10 h 16"/>
                <a:gd name="T36" fmla="*/ 2 w 11"/>
                <a:gd name="T37" fmla="*/ 10 h 16"/>
                <a:gd name="T38" fmla="*/ 2 w 11"/>
                <a:gd name="T39" fmla="*/ 11 h 16"/>
                <a:gd name="T40" fmla="*/ 2 w 11"/>
                <a:gd name="T41" fmla="*/ 11 h 16"/>
                <a:gd name="T42" fmla="*/ 2 w 11"/>
                <a:gd name="T43" fmla="*/ 11 h 16"/>
                <a:gd name="T44" fmla="*/ 3 w 11"/>
                <a:gd name="T45" fmla="*/ 11 h 16"/>
                <a:gd name="T46" fmla="*/ 2 w 11"/>
                <a:gd name="T47" fmla="*/ 13 h 16"/>
                <a:gd name="T48" fmla="*/ 1 w 11"/>
                <a:gd name="T49" fmla="*/ 13 h 16"/>
                <a:gd name="T50" fmla="*/ 2 w 11"/>
                <a:gd name="T51" fmla="*/ 14 h 16"/>
                <a:gd name="T52" fmla="*/ 3 w 11"/>
                <a:gd name="T53" fmla="*/ 14 h 16"/>
                <a:gd name="T54" fmla="*/ 4 w 11"/>
                <a:gd name="T55" fmla="*/ 14 h 16"/>
                <a:gd name="T56" fmla="*/ 3 w 11"/>
                <a:gd name="T57" fmla="*/ 14 h 16"/>
                <a:gd name="T58" fmla="*/ 2 w 11"/>
                <a:gd name="T59" fmla="*/ 15 h 16"/>
                <a:gd name="T60" fmla="*/ 1 w 11"/>
                <a:gd name="T61" fmla="*/ 16 h 16"/>
                <a:gd name="T62" fmla="*/ 1 w 11"/>
                <a:gd name="T63" fmla="*/ 16 h 16"/>
                <a:gd name="T64" fmla="*/ 2 w 11"/>
                <a:gd name="T65" fmla="*/ 16 h 16"/>
                <a:gd name="T66" fmla="*/ 3 w 11"/>
                <a:gd name="T67" fmla="*/ 16 h 16"/>
                <a:gd name="T68" fmla="*/ 5 w 11"/>
                <a:gd name="T69" fmla="*/ 15 h 16"/>
                <a:gd name="T70" fmla="*/ 7 w 11"/>
                <a:gd name="T71" fmla="*/ 15 h 16"/>
                <a:gd name="T72" fmla="*/ 10 w 11"/>
                <a:gd name="T73" fmla="*/ 14 h 16"/>
                <a:gd name="T74" fmla="*/ 10 w 11"/>
                <a:gd name="T75" fmla="*/ 14 h 16"/>
                <a:gd name="T76" fmla="*/ 10 w 11"/>
                <a:gd name="T77" fmla="*/ 13 h 16"/>
                <a:gd name="T78" fmla="*/ 11 w 11"/>
                <a:gd name="T79" fmla="*/ 12 h 16"/>
                <a:gd name="T80" fmla="*/ 9 w 11"/>
                <a:gd name="T81" fmla="*/ 11 h 16"/>
                <a:gd name="T82" fmla="*/ 8 w 11"/>
                <a:gd name="T83" fmla="*/ 11 h 16"/>
                <a:gd name="T84" fmla="*/ 8 w 11"/>
                <a:gd name="T85" fmla="*/ 10 h 16"/>
                <a:gd name="T86" fmla="*/ 7 w 11"/>
                <a:gd name="T87" fmla="*/ 8 h 16"/>
                <a:gd name="T88" fmla="*/ 6 w 11"/>
                <a:gd name="T89" fmla="*/ 7 h 16"/>
                <a:gd name="T90" fmla="*/ 4 w 11"/>
                <a:gd name="T91" fmla="*/ 5 h 16"/>
                <a:gd name="T92" fmla="*/ 5 w 11"/>
                <a:gd name="T93" fmla="*/ 4 h 16"/>
                <a:gd name="T94" fmla="*/ 6 w 11"/>
                <a:gd name="T95" fmla="*/ 2 h 16"/>
                <a:gd name="T96" fmla="*/ 4 w 11"/>
                <a:gd name="T97" fmla="*/ 2 h 16"/>
                <a:gd name="T98" fmla="*/ 3 w 11"/>
                <a:gd name="T99" fmla="*/ 2 h 16"/>
                <a:gd name="T100" fmla="*/ 3 w 11"/>
                <a:gd name="T101" fmla="*/ 2 h 16"/>
                <a:gd name="T102" fmla="*/ 4 w 11"/>
                <a:gd name="T103" fmla="*/ 1 h 16"/>
                <a:gd name="T104" fmla="*/ 4 w 11"/>
                <a:gd name="T105" fmla="*/ 0 h 16"/>
                <a:gd name="T106" fmla="*/ 2 w 11"/>
                <a:gd name="T107" fmla="*/ 0 h 16"/>
                <a:gd name="T108" fmla="*/ 1 w 11"/>
                <a:gd name="T109" fmla="*/ 1 h 16"/>
                <a:gd name="T110" fmla="*/ 1 w 11"/>
                <a:gd name="T111" fmla="*/ 2 h 16"/>
                <a:gd name="T112" fmla="*/ 0 w 11"/>
                <a:gd name="T113" fmla="*/ 3 h 16"/>
                <a:gd name="T114" fmla="*/ 0 w 11"/>
                <a:gd name="T115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" h="16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0" y="6"/>
                    <a:pt x="0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2" y="8"/>
                    <a:pt x="2" y="8"/>
                  </a:cubicBezTo>
                  <a:cubicBezTo>
                    <a:pt x="2" y="8"/>
                    <a:pt x="2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3" y="8"/>
                  </a:cubicBezTo>
                  <a:cubicBezTo>
                    <a:pt x="3" y="8"/>
                    <a:pt x="3" y="7"/>
                    <a:pt x="3" y="7"/>
                  </a:cubicBezTo>
                  <a:cubicBezTo>
                    <a:pt x="3" y="7"/>
                    <a:pt x="3" y="8"/>
                    <a:pt x="4" y="8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4"/>
                    <a:pt x="2" y="14"/>
                    <a:pt x="2" y="14"/>
                  </a:cubicBezTo>
                  <a:cubicBezTo>
                    <a:pt x="2" y="14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4" y="14"/>
                    <a:pt x="4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2" y="16"/>
                    <a:pt x="2" y="16"/>
                  </a:cubicBezTo>
                  <a:cubicBezTo>
                    <a:pt x="2" y="16"/>
                    <a:pt x="2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4" y="16"/>
                    <a:pt x="4" y="15"/>
                    <a:pt x="4" y="15"/>
                  </a:cubicBezTo>
                  <a:cubicBezTo>
                    <a:pt x="4" y="15"/>
                    <a:pt x="4" y="15"/>
                    <a:pt x="5" y="15"/>
                  </a:cubicBezTo>
                  <a:cubicBezTo>
                    <a:pt x="5" y="15"/>
                    <a:pt x="6" y="15"/>
                    <a:pt x="6" y="15"/>
                  </a:cubicBezTo>
                  <a:cubicBezTo>
                    <a:pt x="6" y="15"/>
                    <a:pt x="7" y="15"/>
                    <a:pt x="7" y="15"/>
                  </a:cubicBezTo>
                  <a:cubicBezTo>
                    <a:pt x="7" y="15"/>
                    <a:pt x="9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9" y="14"/>
                  </a:cubicBezTo>
                  <a:cubicBezTo>
                    <a:pt x="9" y="14"/>
                    <a:pt x="10" y="13"/>
                    <a:pt x="10" y="13"/>
                  </a:cubicBezTo>
                  <a:cubicBezTo>
                    <a:pt x="10" y="13"/>
                    <a:pt x="10" y="13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8" y="11"/>
                    <a:pt x="8" y="11"/>
                  </a:cubicBezTo>
                  <a:cubicBezTo>
                    <a:pt x="9" y="11"/>
                    <a:pt x="9" y="11"/>
                    <a:pt x="9" y="10"/>
                  </a:cubicBezTo>
                  <a:cubicBezTo>
                    <a:pt x="8" y="10"/>
                    <a:pt x="9" y="10"/>
                    <a:pt x="8" y="10"/>
                  </a:cubicBezTo>
                  <a:cubicBezTo>
                    <a:pt x="8" y="10"/>
                    <a:pt x="8" y="9"/>
                    <a:pt x="8" y="9"/>
                  </a:cubicBezTo>
                  <a:cubicBezTo>
                    <a:pt x="8" y="9"/>
                    <a:pt x="8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8"/>
                    <a:pt x="6" y="7"/>
                    <a:pt x="6" y="7"/>
                  </a:cubicBezTo>
                  <a:cubicBezTo>
                    <a:pt x="6" y="7"/>
                    <a:pt x="6" y="6"/>
                    <a:pt x="5" y="6"/>
                  </a:cubicBezTo>
                  <a:cubicBezTo>
                    <a:pt x="5" y="6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4" y="2"/>
                    <a:pt x="4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1"/>
                    <a:pt x="3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0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398" name="Freeform 327">
              <a:extLst>
                <a:ext uri="{FF2B5EF4-FFF2-40B4-BE49-F238E27FC236}">
                  <a16:creationId xmlns:a16="http://schemas.microsoft.com/office/drawing/2014/main" id="{30D42123-B1F9-4784-90DF-17358B8F2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90" y="3224996"/>
              <a:ext cx="9562" cy="7650"/>
            </a:xfrm>
            <a:custGeom>
              <a:avLst/>
              <a:gdLst>
                <a:gd name="T0" fmla="*/ 1 w 7"/>
                <a:gd name="T1" fmla="*/ 6 h 7"/>
                <a:gd name="T2" fmla="*/ 0 w 7"/>
                <a:gd name="T3" fmla="*/ 6 h 7"/>
                <a:gd name="T4" fmla="*/ 1 w 7"/>
                <a:gd name="T5" fmla="*/ 6 h 7"/>
                <a:gd name="T6" fmla="*/ 1 w 7"/>
                <a:gd name="T7" fmla="*/ 7 h 7"/>
                <a:gd name="T8" fmla="*/ 2 w 7"/>
                <a:gd name="T9" fmla="*/ 7 h 7"/>
                <a:gd name="T10" fmla="*/ 3 w 7"/>
                <a:gd name="T11" fmla="*/ 6 h 7"/>
                <a:gd name="T12" fmla="*/ 3 w 7"/>
                <a:gd name="T13" fmla="*/ 6 h 7"/>
                <a:gd name="T14" fmla="*/ 4 w 7"/>
                <a:gd name="T15" fmla="*/ 6 h 7"/>
                <a:gd name="T16" fmla="*/ 5 w 7"/>
                <a:gd name="T17" fmla="*/ 6 h 7"/>
                <a:gd name="T18" fmla="*/ 6 w 7"/>
                <a:gd name="T19" fmla="*/ 6 h 7"/>
                <a:gd name="T20" fmla="*/ 6 w 7"/>
                <a:gd name="T21" fmla="*/ 5 h 7"/>
                <a:gd name="T22" fmla="*/ 6 w 7"/>
                <a:gd name="T23" fmla="*/ 5 h 7"/>
                <a:gd name="T24" fmla="*/ 6 w 7"/>
                <a:gd name="T25" fmla="*/ 4 h 7"/>
                <a:gd name="T26" fmla="*/ 6 w 7"/>
                <a:gd name="T27" fmla="*/ 3 h 7"/>
                <a:gd name="T28" fmla="*/ 6 w 7"/>
                <a:gd name="T29" fmla="*/ 2 h 7"/>
                <a:gd name="T30" fmla="*/ 7 w 7"/>
                <a:gd name="T31" fmla="*/ 2 h 7"/>
                <a:gd name="T32" fmla="*/ 7 w 7"/>
                <a:gd name="T33" fmla="*/ 1 h 7"/>
                <a:gd name="T34" fmla="*/ 7 w 7"/>
                <a:gd name="T35" fmla="*/ 1 h 7"/>
                <a:gd name="T36" fmla="*/ 6 w 7"/>
                <a:gd name="T37" fmla="*/ 0 h 7"/>
                <a:gd name="T38" fmla="*/ 5 w 7"/>
                <a:gd name="T39" fmla="*/ 0 h 7"/>
                <a:gd name="T40" fmla="*/ 5 w 7"/>
                <a:gd name="T41" fmla="*/ 0 h 7"/>
                <a:gd name="T42" fmla="*/ 4 w 7"/>
                <a:gd name="T43" fmla="*/ 0 h 7"/>
                <a:gd name="T44" fmla="*/ 3 w 7"/>
                <a:gd name="T45" fmla="*/ 0 h 7"/>
                <a:gd name="T46" fmla="*/ 3 w 7"/>
                <a:gd name="T47" fmla="*/ 0 h 7"/>
                <a:gd name="T48" fmla="*/ 3 w 7"/>
                <a:gd name="T49" fmla="*/ 1 h 7"/>
                <a:gd name="T50" fmla="*/ 2 w 7"/>
                <a:gd name="T51" fmla="*/ 1 h 7"/>
                <a:gd name="T52" fmla="*/ 3 w 7"/>
                <a:gd name="T53" fmla="*/ 1 h 7"/>
                <a:gd name="T54" fmla="*/ 3 w 7"/>
                <a:gd name="T55" fmla="*/ 1 h 7"/>
                <a:gd name="T56" fmla="*/ 3 w 7"/>
                <a:gd name="T57" fmla="*/ 1 h 7"/>
                <a:gd name="T58" fmla="*/ 2 w 7"/>
                <a:gd name="T59" fmla="*/ 2 h 7"/>
                <a:gd name="T60" fmla="*/ 2 w 7"/>
                <a:gd name="T61" fmla="*/ 1 h 7"/>
                <a:gd name="T62" fmla="*/ 1 w 7"/>
                <a:gd name="T63" fmla="*/ 1 h 7"/>
                <a:gd name="T64" fmla="*/ 1 w 7"/>
                <a:gd name="T65" fmla="*/ 2 h 7"/>
                <a:gd name="T66" fmla="*/ 1 w 7"/>
                <a:gd name="T67" fmla="*/ 2 h 7"/>
                <a:gd name="T68" fmla="*/ 1 w 7"/>
                <a:gd name="T69" fmla="*/ 2 h 7"/>
                <a:gd name="T70" fmla="*/ 1 w 7"/>
                <a:gd name="T71" fmla="*/ 2 h 7"/>
                <a:gd name="T72" fmla="*/ 1 w 7"/>
                <a:gd name="T73" fmla="*/ 3 h 7"/>
                <a:gd name="T74" fmla="*/ 1 w 7"/>
                <a:gd name="T75" fmla="*/ 3 h 7"/>
                <a:gd name="T76" fmla="*/ 1 w 7"/>
                <a:gd name="T77" fmla="*/ 3 h 7"/>
                <a:gd name="T78" fmla="*/ 2 w 7"/>
                <a:gd name="T79" fmla="*/ 3 h 7"/>
                <a:gd name="T80" fmla="*/ 2 w 7"/>
                <a:gd name="T81" fmla="*/ 4 h 7"/>
                <a:gd name="T82" fmla="*/ 2 w 7"/>
                <a:gd name="T83" fmla="*/ 4 h 7"/>
                <a:gd name="T84" fmla="*/ 1 w 7"/>
                <a:gd name="T85" fmla="*/ 5 h 7"/>
                <a:gd name="T86" fmla="*/ 1 w 7"/>
                <a:gd name="T87" fmla="*/ 5 h 7"/>
                <a:gd name="T88" fmla="*/ 0 w 7"/>
                <a:gd name="T89" fmla="*/ 5 h 7"/>
                <a:gd name="T90" fmla="*/ 1 w 7"/>
                <a:gd name="T91" fmla="*/ 6 h 7"/>
                <a:gd name="T92" fmla="*/ 1 w 7"/>
                <a:gd name="T9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" h="7">
                  <a:moveTo>
                    <a:pt x="1" y="6"/>
                  </a:moveTo>
                  <a:cubicBezTo>
                    <a:pt x="1" y="6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7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2" y="7"/>
                    <a:pt x="2" y="7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5" y="6"/>
                    <a:pt x="5" y="6"/>
                  </a:cubicBezTo>
                  <a:cubicBezTo>
                    <a:pt x="5" y="5"/>
                    <a:pt x="5" y="6"/>
                    <a:pt x="6" y="6"/>
                  </a:cubicBezTo>
                  <a:cubicBezTo>
                    <a:pt x="6" y="6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7" y="2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5"/>
                    <a:pt x="0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399" name="Freeform 328">
              <a:extLst>
                <a:ext uri="{FF2B5EF4-FFF2-40B4-BE49-F238E27FC236}">
                  <a16:creationId xmlns:a16="http://schemas.microsoft.com/office/drawing/2014/main" id="{B56766E4-2022-43DA-A0F0-758704AD1F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228" y="3217347"/>
              <a:ext cx="1912" cy="0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1 w 1"/>
                <a:gd name="T7" fmla="*/ 0 h 1"/>
                <a:gd name="T8" fmla="*/ 1 w 1"/>
                <a:gd name="T9" fmla="*/ 0 h 1"/>
                <a:gd name="T10" fmla="*/ 1 w 1"/>
                <a:gd name="T11" fmla="*/ 0 h 1"/>
                <a:gd name="T12" fmla="*/ 0 w 1"/>
                <a:gd name="T13" fmla="*/ 0 h 1"/>
                <a:gd name="T14" fmla="*/ 0 w 1"/>
                <a:gd name="T15" fmla="*/ 0 h 1"/>
                <a:gd name="T16" fmla="*/ 0 w 1"/>
                <a:gd name="T17" fmla="*/ 0 h 1"/>
                <a:gd name="T18" fmla="*/ 0 w 1"/>
                <a:gd name="T19" fmla="*/ 0 h 1"/>
                <a:gd name="T20" fmla="*/ 0 w 1"/>
                <a:gd name="T21" fmla="*/ 1 h 1"/>
                <a:gd name="T22" fmla="*/ 0 w 1"/>
                <a:gd name="T2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00" name="Freeform 330">
              <a:extLst>
                <a:ext uri="{FF2B5EF4-FFF2-40B4-BE49-F238E27FC236}">
                  <a16:creationId xmlns:a16="http://schemas.microsoft.com/office/drawing/2014/main" id="{795BA683-6246-499B-974A-577B16995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228" y="3217347"/>
              <a:ext cx="0" cy="1912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1 h 1"/>
                <a:gd name="T12" fmla="*/ 0 w 1"/>
                <a:gd name="T13" fmla="*/ 1 h 1"/>
                <a:gd name="T14" fmla="*/ 1 w 1"/>
                <a:gd name="T1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01" name="Freeform 331">
              <a:extLst>
                <a:ext uri="{FF2B5EF4-FFF2-40B4-BE49-F238E27FC236}">
                  <a16:creationId xmlns:a16="http://schemas.microsoft.com/office/drawing/2014/main" id="{04B5EA55-D7D4-47C6-939F-7DE435856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5052" y="322308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02" name="Freeform 332">
              <a:extLst>
                <a:ext uri="{FF2B5EF4-FFF2-40B4-BE49-F238E27FC236}">
                  <a16:creationId xmlns:a16="http://schemas.microsoft.com/office/drawing/2014/main" id="{4A0DB836-504F-4FF3-BCCF-FDA9DE741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8877" y="3213522"/>
              <a:ext cx="0" cy="1912"/>
            </a:xfrm>
            <a:custGeom>
              <a:avLst/>
              <a:gdLst>
                <a:gd name="T0" fmla="*/ 1 h 1"/>
                <a:gd name="T1" fmla="*/ 1 h 1"/>
                <a:gd name="T2" fmla="*/ 1 h 1"/>
                <a:gd name="T3" fmla="*/ 1 h 1"/>
                <a:gd name="T4" fmla="*/ 0 h 1"/>
                <a:gd name="T5" fmla="*/ 0 h 1"/>
                <a:gd name="T6" fmla="*/ 1 h 1"/>
                <a:gd name="T7" fmla="*/ 1 h 1"/>
                <a:gd name="T8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03" name="Freeform 333">
              <a:extLst>
                <a:ext uri="{FF2B5EF4-FFF2-40B4-BE49-F238E27FC236}">
                  <a16:creationId xmlns:a16="http://schemas.microsoft.com/office/drawing/2014/main" id="{AAD22F34-13D8-4BDA-84ED-B171B88BA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9037" y="3263244"/>
              <a:ext cx="3825" cy="5737"/>
            </a:xfrm>
            <a:custGeom>
              <a:avLst/>
              <a:gdLst>
                <a:gd name="T0" fmla="*/ 1 w 3"/>
                <a:gd name="T1" fmla="*/ 2 h 4"/>
                <a:gd name="T2" fmla="*/ 1 w 3"/>
                <a:gd name="T3" fmla="*/ 3 h 4"/>
                <a:gd name="T4" fmla="*/ 1 w 3"/>
                <a:gd name="T5" fmla="*/ 3 h 4"/>
                <a:gd name="T6" fmla="*/ 2 w 3"/>
                <a:gd name="T7" fmla="*/ 3 h 4"/>
                <a:gd name="T8" fmla="*/ 2 w 3"/>
                <a:gd name="T9" fmla="*/ 3 h 4"/>
                <a:gd name="T10" fmla="*/ 2 w 3"/>
                <a:gd name="T11" fmla="*/ 4 h 4"/>
                <a:gd name="T12" fmla="*/ 2 w 3"/>
                <a:gd name="T13" fmla="*/ 3 h 4"/>
                <a:gd name="T14" fmla="*/ 3 w 3"/>
                <a:gd name="T15" fmla="*/ 3 h 4"/>
                <a:gd name="T16" fmla="*/ 3 w 3"/>
                <a:gd name="T17" fmla="*/ 4 h 4"/>
                <a:gd name="T18" fmla="*/ 3 w 3"/>
                <a:gd name="T19" fmla="*/ 3 h 4"/>
                <a:gd name="T20" fmla="*/ 2 w 3"/>
                <a:gd name="T21" fmla="*/ 2 h 4"/>
                <a:gd name="T22" fmla="*/ 3 w 3"/>
                <a:gd name="T23" fmla="*/ 2 h 4"/>
                <a:gd name="T24" fmla="*/ 3 w 3"/>
                <a:gd name="T25" fmla="*/ 2 h 4"/>
                <a:gd name="T26" fmla="*/ 3 w 3"/>
                <a:gd name="T27" fmla="*/ 2 h 4"/>
                <a:gd name="T28" fmla="*/ 3 w 3"/>
                <a:gd name="T29" fmla="*/ 1 h 4"/>
                <a:gd name="T30" fmla="*/ 3 w 3"/>
                <a:gd name="T31" fmla="*/ 1 h 4"/>
                <a:gd name="T32" fmla="*/ 2 w 3"/>
                <a:gd name="T33" fmla="*/ 1 h 4"/>
                <a:gd name="T34" fmla="*/ 2 w 3"/>
                <a:gd name="T35" fmla="*/ 1 h 4"/>
                <a:gd name="T36" fmla="*/ 2 w 3"/>
                <a:gd name="T37" fmla="*/ 1 h 4"/>
                <a:gd name="T38" fmla="*/ 1 w 3"/>
                <a:gd name="T39" fmla="*/ 0 h 4"/>
                <a:gd name="T40" fmla="*/ 1 w 3"/>
                <a:gd name="T41" fmla="*/ 1 h 4"/>
                <a:gd name="T42" fmla="*/ 0 w 3"/>
                <a:gd name="T43" fmla="*/ 1 h 4"/>
                <a:gd name="T44" fmla="*/ 1 w 3"/>
                <a:gd name="T45" fmla="*/ 2 h 4"/>
                <a:gd name="T46" fmla="*/ 1 w 3"/>
                <a:gd name="T4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" h="4"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3" y="4"/>
                    <a:pt x="3" y="3"/>
                    <a:pt x="3" y="3"/>
                  </a:cubicBezTo>
                  <a:cubicBezTo>
                    <a:pt x="3" y="3"/>
                    <a:pt x="3" y="2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04" name="Freeform 336">
              <a:extLst>
                <a:ext uri="{FF2B5EF4-FFF2-40B4-BE49-F238E27FC236}">
                  <a16:creationId xmlns:a16="http://schemas.microsoft.com/office/drawing/2014/main" id="{9FF659A3-A3E6-48B4-A6CB-3C44844AB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022" y="33894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05" name="Freeform 337">
              <a:extLst>
                <a:ext uri="{FF2B5EF4-FFF2-40B4-BE49-F238E27FC236}">
                  <a16:creationId xmlns:a16="http://schemas.microsoft.com/office/drawing/2014/main" id="{90CC6B0B-2F6C-4872-8B60-91B504781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7285" y="3385637"/>
              <a:ext cx="11474" cy="30598"/>
            </a:xfrm>
            <a:custGeom>
              <a:avLst/>
              <a:gdLst>
                <a:gd name="T0" fmla="*/ 9 w 9"/>
                <a:gd name="T1" fmla="*/ 3 h 25"/>
                <a:gd name="T2" fmla="*/ 8 w 9"/>
                <a:gd name="T3" fmla="*/ 1 h 25"/>
                <a:gd name="T4" fmla="*/ 8 w 9"/>
                <a:gd name="T5" fmla="*/ 0 h 25"/>
                <a:gd name="T6" fmla="*/ 8 w 9"/>
                <a:gd name="T7" fmla="*/ 0 h 25"/>
                <a:gd name="T8" fmla="*/ 7 w 9"/>
                <a:gd name="T9" fmla="*/ 1 h 25"/>
                <a:gd name="T10" fmla="*/ 7 w 9"/>
                <a:gd name="T11" fmla="*/ 2 h 25"/>
                <a:gd name="T12" fmla="*/ 7 w 9"/>
                <a:gd name="T13" fmla="*/ 2 h 25"/>
                <a:gd name="T14" fmla="*/ 6 w 9"/>
                <a:gd name="T15" fmla="*/ 3 h 25"/>
                <a:gd name="T16" fmla="*/ 6 w 9"/>
                <a:gd name="T17" fmla="*/ 4 h 25"/>
                <a:gd name="T18" fmla="*/ 5 w 9"/>
                <a:gd name="T19" fmla="*/ 5 h 25"/>
                <a:gd name="T20" fmla="*/ 5 w 9"/>
                <a:gd name="T21" fmla="*/ 4 h 25"/>
                <a:gd name="T22" fmla="*/ 5 w 9"/>
                <a:gd name="T23" fmla="*/ 5 h 25"/>
                <a:gd name="T24" fmla="*/ 4 w 9"/>
                <a:gd name="T25" fmla="*/ 6 h 25"/>
                <a:gd name="T26" fmla="*/ 3 w 9"/>
                <a:gd name="T27" fmla="*/ 6 h 25"/>
                <a:gd name="T28" fmla="*/ 3 w 9"/>
                <a:gd name="T29" fmla="*/ 7 h 25"/>
                <a:gd name="T30" fmla="*/ 3 w 9"/>
                <a:gd name="T31" fmla="*/ 7 h 25"/>
                <a:gd name="T32" fmla="*/ 2 w 9"/>
                <a:gd name="T33" fmla="*/ 7 h 25"/>
                <a:gd name="T34" fmla="*/ 2 w 9"/>
                <a:gd name="T35" fmla="*/ 7 h 25"/>
                <a:gd name="T36" fmla="*/ 1 w 9"/>
                <a:gd name="T37" fmla="*/ 7 h 25"/>
                <a:gd name="T38" fmla="*/ 1 w 9"/>
                <a:gd name="T39" fmla="*/ 8 h 25"/>
                <a:gd name="T40" fmla="*/ 1 w 9"/>
                <a:gd name="T41" fmla="*/ 9 h 25"/>
                <a:gd name="T42" fmla="*/ 1 w 9"/>
                <a:gd name="T43" fmla="*/ 11 h 25"/>
                <a:gd name="T44" fmla="*/ 1 w 9"/>
                <a:gd name="T45" fmla="*/ 12 h 25"/>
                <a:gd name="T46" fmla="*/ 1 w 9"/>
                <a:gd name="T47" fmla="*/ 14 h 25"/>
                <a:gd name="T48" fmla="*/ 1 w 9"/>
                <a:gd name="T49" fmla="*/ 16 h 25"/>
                <a:gd name="T50" fmla="*/ 0 w 9"/>
                <a:gd name="T51" fmla="*/ 17 h 25"/>
                <a:gd name="T52" fmla="*/ 0 w 9"/>
                <a:gd name="T53" fmla="*/ 19 h 25"/>
                <a:gd name="T54" fmla="*/ 0 w 9"/>
                <a:gd name="T55" fmla="*/ 21 h 25"/>
                <a:gd name="T56" fmla="*/ 0 w 9"/>
                <a:gd name="T57" fmla="*/ 22 h 25"/>
                <a:gd name="T58" fmla="*/ 1 w 9"/>
                <a:gd name="T59" fmla="*/ 24 h 25"/>
                <a:gd name="T60" fmla="*/ 2 w 9"/>
                <a:gd name="T61" fmla="*/ 24 h 25"/>
                <a:gd name="T62" fmla="*/ 2 w 9"/>
                <a:gd name="T63" fmla="*/ 25 h 25"/>
                <a:gd name="T64" fmla="*/ 3 w 9"/>
                <a:gd name="T65" fmla="*/ 24 h 25"/>
                <a:gd name="T66" fmla="*/ 4 w 9"/>
                <a:gd name="T67" fmla="*/ 24 h 25"/>
                <a:gd name="T68" fmla="*/ 5 w 9"/>
                <a:gd name="T69" fmla="*/ 24 h 25"/>
                <a:gd name="T70" fmla="*/ 5 w 9"/>
                <a:gd name="T71" fmla="*/ 22 h 25"/>
                <a:gd name="T72" fmla="*/ 6 w 9"/>
                <a:gd name="T73" fmla="*/ 21 h 25"/>
                <a:gd name="T74" fmla="*/ 6 w 9"/>
                <a:gd name="T75" fmla="*/ 19 h 25"/>
                <a:gd name="T76" fmla="*/ 7 w 9"/>
                <a:gd name="T77" fmla="*/ 16 h 25"/>
                <a:gd name="T78" fmla="*/ 7 w 9"/>
                <a:gd name="T79" fmla="*/ 13 h 25"/>
                <a:gd name="T80" fmla="*/ 8 w 9"/>
                <a:gd name="T81" fmla="*/ 11 h 25"/>
                <a:gd name="T82" fmla="*/ 8 w 9"/>
                <a:gd name="T83" fmla="*/ 9 h 25"/>
                <a:gd name="T84" fmla="*/ 8 w 9"/>
                <a:gd name="T85" fmla="*/ 8 h 25"/>
                <a:gd name="T86" fmla="*/ 8 w 9"/>
                <a:gd name="T87" fmla="*/ 7 h 25"/>
                <a:gd name="T88" fmla="*/ 8 w 9"/>
                <a:gd name="T89" fmla="*/ 6 h 25"/>
                <a:gd name="T90" fmla="*/ 9 w 9"/>
                <a:gd name="T91" fmla="*/ 7 h 25"/>
                <a:gd name="T92" fmla="*/ 9 w 9"/>
                <a:gd name="T93" fmla="*/ 6 h 25"/>
                <a:gd name="T94" fmla="*/ 9 w 9"/>
                <a:gd name="T95" fmla="*/ 4 h 25"/>
                <a:gd name="T96" fmla="*/ 9 w 9"/>
                <a:gd name="T97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" h="25">
                  <a:moveTo>
                    <a:pt x="9" y="3"/>
                  </a:moveTo>
                  <a:cubicBezTo>
                    <a:pt x="9" y="3"/>
                    <a:pt x="8" y="1"/>
                    <a:pt x="8" y="1"/>
                  </a:cubicBezTo>
                  <a:cubicBezTo>
                    <a:pt x="8" y="1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1"/>
                  </a:cubicBezTo>
                  <a:cubicBezTo>
                    <a:pt x="7" y="1"/>
                    <a:pt x="7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6" y="2"/>
                    <a:pt x="6" y="3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6" y="4"/>
                    <a:pt x="6" y="5"/>
                    <a:pt x="5" y="5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4" y="5"/>
                    <a:pt x="4" y="6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2" y="7"/>
                    <a:pt x="1" y="7"/>
                  </a:cubicBezTo>
                  <a:cubicBezTo>
                    <a:pt x="1" y="7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10"/>
                    <a:pt x="1" y="11"/>
                  </a:cubicBezTo>
                  <a:cubicBezTo>
                    <a:pt x="1" y="11"/>
                    <a:pt x="1" y="12"/>
                    <a:pt x="1" y="12"/>
                  </a:cubicBezTo>
                  <a:cubicBezTo>
                    <a:pt x="1" y="12"/>
                    <a:pt x="1" y="14"/>
                    <a:pt x="1" y="14"/>
                  </a:cubicBezTo>
                  <a:cubicBezTo>
                    <a:pt x="1" y="14"/>
                    <a:pt x="1" y="16"/>
                    <a:pt x="1" y="16"/>
                  </a:cubicBezTo>
                  <a:cubicBezTo>
                    <a:pt x="1" y="16"/>
                    <a:pt x="0" y="17"/>
                    <a:pt x="0" y="17"/>
                  </a:cubicBezTo>
                  <a:cubicBezTo>
                    <a:pt x="0" y="17"/>
                    <a:pt x="0" y="19"/>
                    <a:pt x="0" y="19"/>
                  </a:cubicBezTo>
                  <a:cubicBezTo>
                    <a:pt x="0" y="19"/>
                    <a:pt x="0" y="20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0" y="23"/>
                    <a:pt x="1" y="24"/>
                  </a:cubicBezTo>
                  <a:cubicBezTo>
                    <a:pt x="1" y="24"/>
                    <a:pt x="1" y="24"/>
                    <a:pt x="2" y="24"/>
                  </a:cubicBezTo>
                  <a:cubicBezTo>
                    <a:pt x="2" y="24"/>
                    <a:pt x="2" y="25"/>
                    <a:pt x="2" y="25"/>
                  </a:cubicBezTo>
                  <a:cubicBezTo>
                    <a:pt x="3" y="25"/>
                    <a:pt x="3" y="25"/>
                    <a:pt x="3" y="24"/>
                  </a:cubicBezTo>
                  <a:cubicBezTo>
                    <a:pt x="3" y="24"/>
                    <a:pt x="4" y="24"/>
                    <a:pt x="4" y="24"/>
                  </a:cubicBezTo>
                  <a:cubicBezTo>
                    <a:pt x="4" y="24"/>
                    <a:pt x="5" y="24"/>
                    <a:pt x="5" y="24"/>
                  </a:cubicBezTo>
                  <a:cubicBezTo>
                    <a:pt x="5" y="23"/>
                    <a:pt x="5" y="23"/>
                    <a:pt x="5" y="22"/>
                  </a:cubicBezTo>
                  <a:cubicBezTo>
                    <a:pt x="5" y="22"/>
                    <a:pt x="5" y="21"/>
                    <a:pt x="6" y="21"/>
                  </a:cubicBezTo>
                  <a:cubicBezTo>
                    <a:pt x="6" y="21"/>
                    <a:pt x="6" y="20"/>
                    <a:pt x="6" y="19"/>
                  </a:cubicBezTo>
                  <a:cubicBezTo>
                    <a:pt x="6" y="19"/>
                    <a:pt x="7" y="17"/>
                    <a:pt x="7" y="16"/>
                  </a:cubicBezTo>
                  <a:cubicBezTo>
                    <a:pt x="7" y="15"/>
                    <a:pt x="7" y="13"/>
                    <a:pt x="7" y="13"/>
                  </a:cubicBezTo>
                  <a:cubicBezTo>
                    <a:pt x="7" y="12"/>
                    <a:pt x="8" y="11"/>
                    <a:pt x="8" y="11"/>
                  </a:cubicBezTo>
                  <a:cubicBezTo>
                    <a:pt x="8" y="10"/>
                    <a:pt x="8" y="9"/>
                    <a:pt x="8" y="9"/>
                  </a:cubicBezTo>
                  <a:cubicBezTo>
                    <a:pt x="8" y="9"/>
                    <a:pt x="8" y="8"/>
                    <a:pt x="8" y="8"/>
                  </a:cubicBezTo>
                  <a:cubicBezTo>
                    <a:pt x="9" y="8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9" y="7"/>
                    <a:pt x="9" y="7"/>
                  </a:cubicBezTo>
                  <a:cubicBezTo>
                    <a:pt x="9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4"/>
                    <a:pt x="9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06" name="Freeform 338">
              <a:extLst>
                <a:ext uri="{FF2B5EF4-FFF2-40B4-BE49-F238E27FC236}">
                  <a16:creationId xmlns:a16="http://schemas.microsoft.com/office/drawing/2014/main" id="{4DA5B172-CBDA-4993-94AE-40EDA3213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5255" y="3343564"/>
              <a:ext cx="19124" cy="26773"/>
            </a:xfrm>
            <a:custGeom>
              <a:avLst/>
              <a:gdLst>
                <a:gd name="T0" fmla="*/ 14 w 15"/>
                <a:gd name="T1" fmla="*/ 21 h 21"/>
                <a:gd name="T2" fmla="*/ 14 w 15"/>
                <a:gd name="T3" fmla="*/ 18 h 21"/>
                <a:gd name="T4" fmla="*/ 14 w 15"/>
                <a:gd name="T5" fmla="*/ 17 h 21"/>
                <a:gd name="T6" fmla="*/ 14 w 15"/>
                <a:gd name="T7" fmla="*/ 16 h 21"/>
                <a:gd name="T8" fmla="*/ 14 w 15"/>
                <a:gd name="T9" fmla="*/ 15 h 21"/>
                <a:gd name="T10" fmla="*/ 13 w 15"/>
                <a:gd name="T11" fmla="*/ 14 h 21"/>
                <a:gd name="T12" fmla="*/ 12 w 15"/>
                <a:gd name="T13" fmla="*/ 13 h 21"/>
                <a:gd name="T14" fmla="*/ 12 w 15"/>
                <a:gd name="T15" fmla="*/ 12 h 21"/>
                <a:gd name="T16" fmla="*/ 11 w 15"/>
                <a:gd name="T17" fmla="*/ 11 h 21"/>
                <a:gd name="T18" fmla="*/ 11 w 15"/>
                <a:gd name="T19" fmla="*/ 10 h 21"/>
                <a:gd name="T20" fmla="*/ 11 w 15"/>
                <a:gd name="T21" fmla="*/ 8 h 21"/>
                <a:gd name="T22" fmla="*/ 10 w 15"/>
                <a:gd name="T23" fmla="*/ 8 h 21"/>
                <a:gd name="T24" fmla="*/ 8 w 15"/>
                <a:gd name="T25" fmla="*/ 6 h 21"/>
                <a:gd name="T26" fmla="*/ 7 w 15"/>
                <a:gd name="T27" fmla="*/ 5 h 21"/>
                <a:gd name="T28" fmla="*/ 7 w 15"/>
                <a:gd name="T29" fmla="*/ 5 h 21"/>
                <a:gd name="T30" fmla="*/ 6 w 15"/>
                <a:gd name="T31" fmla="*/ 5 h 21"/>
                <a:gd name="T32" fmla="*/ 5 w 15"/>
                <a:gd name="T33" fmla="*/ 4 h 21"/>
                <a:gd name="T34" fmla="*/ 4 w 15"/>
                <a:gd name="T35" fmla="*/ 2 h 21"/>
                <a:gd name="T36" fmla="*/ 3 w 15"/>
                <a:gd name="T37" fmla="*/ 1 h 21"/>
                <a:gd name="T38" fmla="*/ 3 w 15"/>
                <a:gd name="T39" fmla="*/ 0 h 21"/>
                <a:gd name="T40" fmla="*/ 1 w 15"/>
                <a:gd name="T41" fmla="*/ 0 h 21"/>
                <a:gd name="T42" fmla="*/ 0 w 15"/>
                <a:gd name="T43" fmla="*/ 0 h 21"/>
                <a:gd name="T44" fmla="*/ 0 w 15"/>
                <a:gd name="T45" fmla="*/ 0 h 21"/>
                <a:gd name="T46" fmla="*/ 0 w 15"/>
                <a:gd name="T47" fmla="*/ 0 h 21"/>
                <a:gd name="T48" fmla="*/ 1 w 15"/>
                <a:gd name="T49" fmla="*/ 2 h 21"/>
                <a:gd name="T50" fmla="*/ 1 w 15"/>
                <a:gd name="T51" fmla="*/ 3 h 21"/>
                <a:gd name="T52" fmla="*/ 2 w 15"/>
                <a:gd name="T53" fmla="*/ 3 h 21"/>
                <a:gd name="T54" fmla="*/ 3 w 15"/>
                <a:gd name="T55" fmla="*/ 5 h 21"/>
                <a:gd name="T56" fmla="*/ 3 w 15"/>
                <a:gd name="T57" fmla="*/ 6 h 21"/>
                <a:gd name="T58" fmla="*/ 5 w 15"/>
                <a:gd name="T59" fmla="*/ 7 h 21"/>
                <a:gd name="T60" fmla="*/ 5 w 15"/>
                <a:gd name="T61" fmla="*/ 9 h 21"/>
                <a:gd name="T62" fmla="*/ 5 w 15"/>
                <a:gd name="T63" fmla="*/ 10 h 21"/>
                <a:gd name="T64" fmla="*/ 6 w 15"/>
                <a:gd name="T65" fmla="*/ 10 h 21"/>
                <a:gd name="T66" fmla="*/ 7 w 15"/>
                <a:gd name="T67" fmla="*/ 13 h 21"/>
                <a:gd name="T68" fmla="*/ 8 w 15"/>
                <a:gd name="T69" fmla="*/ 15 h 21"/>
                <a:gd name="T70" fmla="*/ 9 w 15"/>
                <a:gd name="T71" fmla="*/ 17 h 21"/>
                <a:gd name="T72" fmla="*/ 11 w 15"/>
                <a:gd name="T73" fmla="*/ 19 h 21"/>
                <a:gd name="T74" fmla="*/ 12 w 15"/>
                <a:gd name="T75" fmla="*/ 21 h 21"/>
                <a:gd name="T76" fmla="*/ 12 w 15"/>
                <a:gd name="T77" fmla="*/ 21 h 21"/>
                <a:gd name="T78" fmla="*/ 13 w 15"/>
                <a:gd name="T79" fmla="*/ 21 h 21"/>
                <a:gd name="T80" fmla="*/ 14 w 15"/>
                <a:gd name="T8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" h="21">
                  <a:moveTo>
                    <a:pt x="14" y="21"/>
                  </a:moveTo>
                  <a:cubicBezTo>
                    <a:pt x="14" y="20"/>
                    <a:pt x="14" y="19"/>
                    <a:pt x="14" y="18"/>
                  </a:cubicBezTo>
                  <a:cubicBezTo>
                    <a:pt x="14" y="18"/>
                    <a:pt x="14" y="17"/>
                    <a:pt x="14" y="17"/>
                  </a:cubicBezTo>
                  <a:cubicBezTo>
                    <a:pt x="14" y="17"/>
                    <a:pt x="15" y="16"/>
                    <a:pt x="14" y="16"/>
                  </a:cubicBezTo>
                  <a:cubicBezTo>
                    <a:pt x="14" y="16"/>
                    <a:pt x="14" y="15"/>
                    <a:pt x="14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2" y="14"/>
                    <a:pt x="12" y="13"/>
                  </a:cubicBezTo>
                  <a:cubicBezTo>
                    <a:pt x="12" y="13"/>
                    <a:pt x="12" y="12"/>
                    <a:pt x="12" y="12"/>
                  </a:cubicBezTo>
                  <a:cubicBezTo>
                    <a:pt x="12" y="12"/>
                    <a:pt x="11" y="12"/>
                    <a:pt x="11" y="11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9"/>
                    <a:pt x="11" y="9"/>
                    <a:pt x="11" y="8"/>
                  </a:cubicBezTo>
                  <a:cubicBezTo>
                    <a:pt x="11" y="8"/>
                    <a:pt x="10" y="8"/>
                    <a:pt x="10" y="8"/>
                  </a:cubicBezTo>
                  <a:cubicBezTo>
                    <a:pt x="10" y="8"/>
                    <a:pt x="9" y="7"/>
                    <a:pt x="8" y="6"/>
                  </a:cubicBezTo>
                  <a:cubicBezTo>
                    <a:pt x="8" y="6"/>
                    <a:pt x="8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5"/>
                    <a:pt x="6" y="5"/>
                  </a:cubicBezTo>
                  <a:cubicBezTo>
                    <a:pt x="6" y="4"/>
                    <a:pt x="5" y="4"/>
                    <a:pt x="5" y="4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3" y="4"/>
                    <a:pt x="3" y="5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6"/>
                    <a:pt x="5" y="6"/>
                    <a:pt x="5" y="7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5" y="10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1"/>
                    <a:pt x="7" y="12"/>
                    <a:pt x="7" y="13"/>
                  </a:cubicBezTo>
                  <a:cubicBezTo>
                    <a:pt x="7" y="13"/>
                    <a:pt x="8" y="15"/>
                    <a:pt x="8" y="15"/>
                  </a:cubicBezTo>
                  <a:cubicBezTo>
                    <a:pt x="8" y="16"/>
                    <a:pt x="9" y="16"/>
                    <a:pt x="9" y="17"/>
                  </a:cubicBezTo>
                  <a:cubicBezTo>
                    <a:pt x="9" y="17"/>
                    <a:pt x="11" y="19"/>
                    <a:pt x="11" y="19"/>
                  </a:cubicBezTo>
                  <a:cubicBezTo>
                    <a:pt x="11" y="19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3" y="21"/>
                    <a:pt x="13" y="21"/>
                  </a:cubicBezTo>
                  <a:cubicBezTo>
                    <a:pt x="13" y="21"/>
                    <a:pt x="14" y="21"/>
                    <a:pt x="14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07" name="Freeform 339">
              <a:extLst>
                <a:ext uri="{FF2B5EF4-FFF2-40B4-BE49-F238E27FC236}">
                  <a16:creationId xmlns:a16="http://schemas.microsoft.com/office/drawing/2014/main" id="{A6CFFC74-473E-446F-B08E-CAAD29E37B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204" y="3337827"/>
              <a:ext cx="17212" cy="28686"/>
            </a:xfrm>
            <a:custGeom>
              <a:avLst/>
              <a:gdLst>
                <a:gd name="T0" fmla="*/ 13 w 14"/>
                <a:gd name="T1" fmla="*/ 4 h 22"/>
                <a:gd name="T2" fmla="*/ 12 w 14"/>
                <a:gd name="T3" fmla="*/ 3 h 22"/>
                <a:gd name="T4" fmla="*/ 12 w 14"/>
                <a:gd name="T5" fmla="*/ 2 h 22"/>
                <a:gd name="T6" fmla="*/ 11 w 14"/>
                <a:gd name="T7" fmla="*/ 1 h 22"/>
                <a:gd name="T8" fmla="*/ 11 w 14"/>
                <a:gd name="T9" fmla="*/ 0 h 22"/>
                <a:gd name="T10" fmla="*/ 11 w 14"/>
                <a:gd name="T11" fmla="*/ 1 h 22"/>
                <a:gd name="T12" fmla="*/ 10 w 14"/>
                <a:gd name="T13" fmla="*/ 1 h 22"/>
                <a:gd name="T14" fmla="*/ 10 w 14"/>
                <a:gd name="T15" fmla="*/ 2 h 22"/>
                <a:gd name="T16" fmla="*/ 9 w 14"/>
                <a:gd name="T17" fmla="*/ 3 h 22"/>
                <a:gd name="T18" fmla="*/ 9 w 14"/>
                <a:gd name="T19" fmla="*/ 4 h 22"/>
                <a:gd name="T20" fmla="*/ 8 w 14"/>
                <a:gd name="T21" fmla="*/ 4 h 22"/>
                <a:gd name="T22" fmla="*/ 9 w 14"/>
                <a:gd name="T23" fmla="*/ 4 h 22"/>
                <a:gd name="T24" fmla="*/ 8 w 14"/>
                <a:gd name="T25" fmla="*/ 5 h 22"/>
                <a:gd name="T26" fmla="*/ 8 w 14"/>
                <a:gd name="T27" fmla="*/ 5 h 22"/>
                <a:gd name="T28" fmla="*/ 7 w 14"/>
                <a:gd name="T29" fmla="*/ 5 h 22"/>
                <a:gd name="T30" fmla="*/ 7 w 14"/>
                <a:gd name="T31" fmla="*/ 6 h 22"/>
                <a:gd name="T32" fmla="*/ 6 w 14"/>
                <a:gd name="T33" fmla="*/ 7 h 22"/>
                <a:gd name="T34" fmla="*/ 5 w 14"/>
                <a:gd name="T35" fmla="*/ 8 h 22"/>
                <a:gd name="T36" fmla="*/ 4 w 14"/>
                <a:gd name="T37" fmla="*/ 8 h 22"/>
                <a:gd name="T38" fmla="*/ 3 w 14"/>
                <a:gd name="T39" fmla="*/ 9 h 22"/>
                <a:gd name="T40" fmla="*/ 3 w 14"/>
                <a:gd name="T41" fmla="*/ 9 h 22"/>
                <a:gd name="T42" fmla="*/ 3 w 14"/>
                <a:gd name="T43" fmla="*/ 11 h 22"/>
                <a:gd name="T44" fmla="*/ 2 w 14"/>
                <a:gd name="T45" fmla="*/ 11 h 22"/>
                <a:gd name="T46" fmla="*/ 1 w 14"/>
                <a:gd name="T47" fmla="*/ 11 h 22"/>
                <a:gd name="T48" fmla="*/ 1 w 14"/>
                <a:gd name="T49" fmla="*/ 11 h 22"/>
                <a:gd name="T50" fmla="*/ 0 w 14"/>
                <a:gd name="T51" fmla="*/ 12 h 22"/>
                <a:gd name="T52" fmla="*/ 0 w 14"/>
                <a:gd name="T53" fmla="*/ 15 h 22"/>
                <a:gd name="T54" fmla="*/ 1 w 14"/>
                <a:gd name="T55" fmla="*/ 16 h 22"/>
                <a:gd name="T56" fmla="*/ 2 w 14"/>
                <a:gd name="T57" fmla="*/ 17 h 22"/>
                <a:gd name="T58" fmla="*/ 2 w 14"/>
                <a:gd name="T59" fmla="*/ 19 h 22"/>
                <a:gd name="T60" fmla="*/ 2 w 14"/>
                <a:gd name="T61" fmla="*/ 20 h 22"/>
                <a:gd name="T62" fmla="*/ 3 w 14"/>
                <a:gd name="T63" fmla="*/ 19 h 22"/>
                <a:gd name="T64" fmla="*/ 4 w 14"/>
                <a:gd name="T65" fmla="*/ 20 h 22"/>
                <a:gd name="T66" fmla="*/ 4 w 14"/>
                <a:gd name="T67" fmla="*/ 20 h 22"/>
                <a:gd name="T68" fmla="*/ 5 w 14"/>
                <a:gd name="T69" fmla="*/ 20 h 22"/>
                <a:gd name="T70" fmla="*/ 6 w 14"/>
                <a:gd name="T71" fmla="*/ 20 h 22"/>
                <a:gd name="T72" fmla="*/ 7 w 14"/>
                <a:gd name="T73" fmla="*/ 20 h 22"/>
                <a:gd name="T74" fmla="*/ 8 w 14"/>
                <a:gd name="T75" fmla="*/ 21 h 22"/>
                <a:gd name="T76" fmla="*/ 8 w 14"/>
                <a:gd name="T77" fmla="*/ 21 h 22"/>
                <a:gd name="T78" fmla="*/ 9 w 14"/>
                <a:gd name="T79" fmla="*/ 21 h 22"/>
                <a:gd name="T80" fmla="*/ 10 w 14"/>
                <a:gd name="T81" fmla="*/ 21 h 22"/>
                <a:gd name="T82" fmla="*/ 10 w 14"/>
                <a:gd name="T83" fmla="*/ 20 h 22"/>
                <a:gd name="T84" fmla="*/ 10 w 14"/>
                <a:gd name="T85" fmla="*/ 18 h 22"/>
                <a:gd name="T86" fmla="*/ 10 w 14"/>
                <a:gd name="T87" fmla="*/ 17 h 22"/>
                <a:gd name="T88" fmla="*/ 11 w 14"/>
                <a:gd name="T89" fmla="*/ 16 h 22"/>
                <a:gd name="T90" fmla="*/ 11 w 14"/>
                <a:gd name="T91" fmla="*/ 14 h 22"/>
                <a:gd name="T92" fmla="*/ 12 w 14"/>
                <a:gd name="T93" fmla="*/ 12 h 22"/>
                <a:gd name="T94" fmla="*/ 13 w 14"/>
                <a:gd name="T95" fmla="*/ 12 h 22"/>
                <a:gd name="T96" fmla="*/ 13 w 14"/>
                <a:gd name="T97" fmla="*/ 12 h 22"/>
                <a:gd name="T98" fmla="*/ 13 w 14"/>
                <a:gd name="T99" fmla="*/ 12 h 22"/>
                <a:gd name="T100" fmla="*/ 12 w 14"/>
                <a:gd name="T101" fmla="*/ 11 h 22"/>
                <a:gd name="T102" fmla="*/ 12 w 14"/>
                <a:gd name="T103" fmla="*/ 10 h 22"/>
                <a:gd name="T104" fmla="*/ 12 w 14"/>
                <a:gd name="T105" fmla="*/ 8 h 22"/>
                <a:gd name="T106" fmla="*/ 12 w 14"/>
                <a:gd name="T107" fmla="*/ 7 h 22"/>
                <a:gd name="T108" fmla="*/ 12 w 14"/>
                <a:gd name="T109" fmla="*/ 6 h 22"/>
                <a:gd name="T110" fmla="*/ 13 w 14"/>
                <a:gd name="T111" fmla="*/ 6 h 22"/>
                <a:gd name="T112" fmla="*/ 13 w 14"/>
                <a:gd name="T113" fmla="*/ 5 h 22"/>
                <a:gd name="T114" fmla="*/ 12 w 14"/>
                <a:gd name="T115" fmla="*/ 5 h 22"/>
                <a:gd name="T116" fmla="*/ 13 w 14"/>
                <a:gd name="T117" fmla="*/ 5 h 22"/>
                <a:gd name="T118" fmla="*/ 14 w 14"/>
                <a:gd name="T119" fmla="*/ 4 h 22"/>
                <a:gd name="T120" fmla="*/ 13 w 14"/>
                <a:gd name="T121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" h="22">
                  <a:moveTo>
                    <a:pt x="13" y="4"/>
                  </a:moveTo>
                  <a:cubicBezTo>
                    <a:pt x="13" y="3"/>
                    <a:pt x="13" y="3"/>
                    <a:pt x="12" y="3"/>
                  </a:cubicBezTo>
                  <a:cubicBezTo>
                    <a:pt x="12" y="3"/>
                    <a:pt x="12" y="2"/>
                    <a:pt x="12" y="2"/>
                  </a:cubicBezTo>
                  <a:cubicBezTo>
                    <a:pt x="11" y="2"/>
                    <a:pt x="11" y="2"/>
                    <a:pt x="11" y="1"/>
                  </a:cubicBezTo>
                  <a:cubicBezTo>
                    <a:pt x="11" y="1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0" y="1"/>
                    <a:pt x="10" y="1"/>
                  </a:cubicBezTo>
                  <a:cubicBezTo>
                    <a:pt x="10" y="1"/>
                    <a:pt x="10" y="2"/>
                    <a:pt x="10" y="2"/>
                  </a:cubicBezTo>
                  <a:cubicBezTo>
                    <a:pt x="10" y="2"/>
                    <a:pt x="10" y="3"/>
                    <a:pt x="9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9" y="4"/>
                    <a:pt x="9" y="4"/>
                  </a:cubicBezTo>
                  <a:cubicBezTo>
                    <a:pt x="9" y="4"/>
                    <a:pt x="9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8"/>
                    <a:pt x="6" y="8"/>
                    <a:pt x="5" y="8"/>
                  </a:cubicBezTo>
                  <a:cubicBezTo>
                    <a:pt x="5" y="8"/>
                    <a:pt x="4" y="8"/>
                    <a:pt x="4" y="8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3" y="11"/>
                    <a:pt x="3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1" y="11"/>
                  </a:cubicBezTo>
                  <a:cubicBezTo>
                    <a:pt x="1" y="11"/>
                    <a:pt x="1" y="10"/>
                    <a:pt x="1" y="11"/>
                  </a:cubicBezTo>
                  <a:cubicBezTo>
                    <a:pt x="0" y="11"/>
                    <a:pt x="0" y="12"/>
                    <a:pt x="0" y="12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0" y="15"/>
                    <a:pt x="1" y="16"/>
                    <a:pt x="1" y="16"/>
                  </a:cubicBezTo>
                  <a:cubicBezTo>
                    <a:pt x="1" y="16"/>
                    <a:pt x="2" y="16"/>
                    <a:pt x="2" y="17"/>
                  </a:cubicBezTo>
                  <a:cubicBezTo>
                    <a:pt x="1" y="17"/>
                    <a:pt x="1" y="19"/>
                    <a:pt x="2" y="19"/>
                  </a:cubicBezTo>
                  <a:cubicBezTo>
                    <a:pt x="2" y="19"/>
                    <a:pt x="2" y="19"/>
                    <a:pt x="2" y="20"/>
                  </a:cubicBezTo>
                  <a:cubicBezTo>
                    <a:pt x="3" y="20"/>
                    <a:pt x="3" y="19"/>
                    <a:pt x="3" y="19"/>
                  </a:cubicBezTo>
                  <a:cubicBezTo>
                    <a:pt x="4" y="19"/>
                    <a:pt x="4" y="20"/>
                    <a:pt x="4" y="20"/>
                  </a:cubicBezTo>
                  <a:cubicBezTo>
                    <a:pt x="4" y="20"/>
                    <a:pt x="4" y="21"/>
                    <a:pt x="4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1"/>
                    <a:pt x="7" y="20"/>
                    <a:pt x="7" y="20"/>
                  </a:cubicBezTo>
                  <a:cubicBezTo>
                    <a:pt x="8" y="21"/>
                    <a:pt x="7" y="21"/>
                    <a:pt x="8" y="21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1"/>
                  </a:cubicBezTo>
                  <a:cubicBezTo>
                    <a:pt x="10" y="21"/>
                    <a:pt x="10" y="20"/>
                    <a:pt x="10" y="20"/>
                  </a:cubicBezTo>
                  <a:cubicBezTo>
                    <a:pt x="10" y="19"/>
                    <a:pt x="10" y="19"/>
                    <a:pt x="10" y="18"/>
                  </a:cubicBezTo>
                  <a:cubicBezTo>
                    <a:pt x="10" y="18"/>
                    <a:pt x="10" y="17"/>
                    <a:pt x="10" y="17"/>
                  </a:cubicBezTo>
                  <a:cubicBezTo>
                    <a:pt x="10" y="16"/>
                    <a:pt x="11" y="16"/>
                    <a:pt x="11" y="16"/>
                  </a:cubicBezTo>
                  <a:cubicBezTo>
                    <a:pt x="11" y="16"/>
                    <a:pt x="11" y="15"/>
                    <a:pt x="11" y="14"/>
                  </a:cubicBezTo>
                  <a:cubicBezTo>
                    <a:pt x="11" y="14"/>
                    <a:pt x="12" y="12"/>
                    <a:pt x="12" y="12"/>
                  </a:cubicBezTo>
                  <a:cubicBezTo>
                    <a:pt x="12" y="12"/>
                    <a:pt x="12" y="12"/>
                    <a:pt x="13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1"/>
                    <a:pt x="12" y="11"/>
                    <a:pt x="12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9"/>
                    <a:pt x="12" y="9"/>
                    <a:pt x="12" y="8"/>
                  </a:cubicBezTo>
                  <a:cubicBezTo>
                    <a:pt x="12" y="8"/>
                    <a:pt x="12" y="8"/>
                    <a:pt x="12" y="7"/>
                  </a:cubicBezTo>
                  <a:cubicBezTo>
                    <a:pt x="12" y="7"/>
                    <a:pt x="11" y="6"/>
                    <a:pt x="12" y="6"/>
                  </a:cubicBezTo>
                  <a:cubicBezTo>
                    <a:pt x="12" y="6"/>
                    <a:pt x="12" y="6"/>
                    <a:pt x="13" y="6"/>
                  </a:cubicBezTo>
                  <a:cubicBezTo>
                    <a:pt x="13" y="6"/>
                    <a:pt x="13" y="5"/>
                    <a:pt x="13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3" y="5"/>
                  </a:cubicBezTo>
                  <a:cubicBezTo>
                    <a:pt x="14" y="5"/>
                    <a:pt x="14" y="5"/>
                    <a:pt x="14" y="4"/>
                  </a:cubicBezTo>
                  <a:cubicBezTo>
                    <a:pt x="14" y="4"/>
                    <a:pt x="13" y="4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08" name="Freeform 340">
              <a:extLst>
                <a:ext uri="{FF2B5EF4-FFF2-40B4-BE49-F238E27FC236}">
                  <a16:creationId xmlns:a16="http://schemas.microsoft.com/office/drawing/2014/main" id="{7C2D1BEE-142B-4995-9329-14AEEC81F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2467" y="3370338"/>
              <a:ext cx="15299" cy="5737"/>
            </a:xfrm>
            <a:custGeom>
              <a:avLst/>
              <a:gdLst>
                <a:gd name="T0" fmla="*/ 11 w 12"/>
                <a:gd name="T1" fmla="*/ 4 h 5"/>
                <a:gd name="T2" fmla="*/ 10 w 12"/>
                <a:gd name="T3" fmla="*/ 3 h 5"/>
                <a:gd name="T4" fmla="*/ 10 w 12"/>
                <a:gd name="T5" fmla="*/ 3 h 5"/>
                <a:gd name="T6" fmla="*/ 11 w 12"/>
                <a:gd name="T7" fmla="*/ 3 h 5"/>
                <a:gd name="T8" fmla="*/ 11 w 12"/>
                <a:gd name="T9" fmla="*/ 2 h 5"/>
                <a:gd name="T10" fmla="*/ 12 w 12"/>
                <a:gd name="T11" fmla="*/ 2 h 5"/>
                <a:gd name="T12" fmla="*/ 11 w 12"/>
                <a:gd name="T13" fmla="*/ 2 h 5"/>
                <a:gd name="T14" fmla="*/ 9 w 12"/>
                <a:gd name="T15" fmla="*/ 2 h 5"/>
                <a:gd name="T16" fmla="*/ 8 w 12"/>
                <a:gd name="T17" fmla="*/ 1 h 5"/>
                <a:gd name="T18" fmla="*/ 8 w 12"/>
                <a:gd name="T19" fmla="*/ 1 h 5"/>
                <a:gd name="T20" fmla="*/ 7 w 12"/>
                <a:gd name="T21" fmla="*/ 2 h 5"/>
                <a:gd name="T22" fmla="*/ 6 w 12"/>
                <a:gd name="T23" fmla="*/ 2 h 5"/>
                <a:gd name="T24" fmla="*/ 5 w 12"/>
                <a:gd name="T25" fmla="*/ 2 h 5"/>
                <a:gd name="T26" fmla="*/ 4 w 12"/>
                <a:gd name="T27" fmla="*/ 1 h 5"/>
                <a:gd name="T28" fmla="*/ 3 w 12"/>
                <a:gd name="T29" fmla="*/ 0 h 5"/>
                <a:gd name="T30" fmla="*/ 2 w 12"/>
                <a:gd name="T31" fmla="*/ 1 h 5"/>
                <a:gd name="T32" fmla="*/ 1 w 12"/>
                <a:gd name="T33" fmla="*/ 0 h 5"/>
                <a:gd name="T34" fmla="*/ 1 w 12"/>
                <a:gd name="T35" fmla="*/ 0 h 5"/>
                <a:gd name="T36" fmla="*/ 1 w 12"/>
                <a:gd name="T37" fmla="*/ 1 h 5"/>
                <a:gd name="T38" fmla="*/ 0 w 12"/>
                <a:gd name="T39" fmla="*/ 2 h 5"/>
                <a:gd name="T40" fmla="*/ 1 w 12"/>
                <a:gd name="T41" fmla="*/ 2 h 5"/>
                <a:gd name="T42" fmla="*/ 1 w 12"/>
                <a:gd name="T43" fmla="*/ 2 h 5"/>
                <a:gd name="T44" fmla="*/ 2 w 12"/>
                <a:gd name="T45" fmla="*/ 2 h 5"/>
                <a:gd name="T46" fmla="*/ 2 w 12"/>
                <a:gd name="T47" fmla="*/ 3 h 5"/>
                <a:gd name="T48" fmla="*/ 2 w 12"/>
                <a:gd name="T49" fmla="*/ 3 h 5"/>
                <a:gd name="T50" fmla="*/ 3 w 12"/>
                <a:gd name="T51" fmla="*/ 3 h 5"/>
                <a:gd name="T52" fmla="*/ 4 w 12"/>
                <a:gd name="T53" fmla="*/ 3 h 5"/>
                <a:gd name="T54" fmla="*/ 5 w 12"/>
                <a:gd name="T55" fmla="*/ 3 h 5"/>
                <a:gd name="T56" fmla="*/ 5 w 12"/>
                <a:gd name="T57" fmla="*/ 4 h 5"/>
                <a:gd name="T58" fmla="*/ 6 w 12"/>
                <a:gd name="T59" fmla="*/ 4 h 5"/>
                <a:gd name="T60" fmla="*/ 8 w 12"/>
                <a:gd name="T61" fmla="*/ 5 h 5"/>
                <a:gd name="T62" fmla="*/ 9 w 12"/>
                <a:gd name="T63" fmla="*/ 5 h 5"/>
                <a:gd name="T64" fmla="*/ 10 w 12"/>
                <a:gd name="T65" fmla="*/ 5 h 5"/>
                <a:gd name="T66" fmla="*/ 11 w 12"/>
                <a:gd name="T67" fmla="*/ 5 h 5"/>
                <a:gd name="T68" fmla="*/ 12 w 12"/>
                <a:gd name="T69" fmla="*/ 5 h 5"/>
                <a:gd name="T70" fmla="*/ 12 w 12"/>
                <a:gd name="T71" fmla="*/ 5 h 5"/>
                <a:gd name="T72" fmla="*/ 12 w 12"/>
                <a:gd name="T73" fmla="*/ 4 h 5"/>
                <a:gd name="T74" fmla="*/ 11 w 12"/>
                <a:gd name="T7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" h="5">
                  <a:moveTo>
                    <a:pt x="11" y="4"/>
                  </a:moveTo>
                  <a:cubicBezTo>
                    <a:pt x="11" y="4"/>
                    <a:pt x="11" y="4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1" y="2"/>
                    <a:pt x="11" y="2"/>
                  </a:cubicBezTo>
                  <a:cubicBezTo>
                    <a:pt x="11" y="2"/>
                    <a:pt x="10" y="2"/>
                    <a:pt x="9" y="2"/>
                  </a:cubicBezTo>
                  <a:cubicBezTo>
                    <a:pt x="9" y="2"/>
                    <a:pt x="9" y="2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2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6" y="2"/>
                    <a:pt x="5" y="2"/>
                    <a:pt x="5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1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4" y="4"/>
                    <a:pt x="4" y="4"/>
                    <a:pt x="5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6" y="4"/>
                    <a:pt x="6" y="3"/>
                    <a:pt x="6" y="4"/>
                  </a:cubicBezTo>
                  <a:cubicBezTo>
                    <a:pt x="7" y="4"/>
                    <a:pt x="7" y="5"/>
                    <a:pt x="8" y="5"/>
                  </a:cubicBezTo>
                  <a:cubicBezTo>
                    <a:pt x="8" y="4"/>
                    <a:pt x="9" y="4"/>
                    <a:pt x="9" y="5"/>
                  </a:cubicBezTo>
                  <a:cubicBezTo>
                    <a:pt x="9" y="5"/>
                    <a:pt x="10" y="5"/>
                    <a:pt x="10" y="5"/>
                  </a:cubicBezTo>
                  <a:cubicBezTo>
                    <a:pt x="10" y="5"/>
                    <a:pt x="11" y="5"/>
                    <a:pt x="11" y="5"/>
                  </a:cubicBezTo>
                  <a:cubicBezTo>
                    <a:pt x="11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3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09" name="Freeform 341">
              <a:extLst>
                <a:ext uri="{FF2B5EF4-FFF2-40B4-BE49-F238E27FC236}">
                  <a16:creationId xmlns:a16="http://schemas.microsoft.com/office/drawing/2014/main" id="{C39EE122-ED8C-4E62-9CB4-A5E2D76ADB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6291" y="3307229"/>
              <a:ext cx="5737" cy="5737"/>
            </a:xfrm>
            <a:custGeom>
              <a:avLst/>
              <a:gdLst>
                <a:gd name="T0" fmla="*/ 2 w 4"/>
                <a:gd name="T1" fmla="*/ 4 h 4"/>
                <a:gd name="T2" fmla="*/ 3 w 4"/>
                <a:gd name="T3" fmla="*/ 3 h 4"/>
                <a:gd name="T4" fmla="*/ 3 w 4"/>
                <a:gd name="T5" fmla="*/ 2 h 4"/>
                <a:gd name="T6" fmla="*/ 4 w 4"/>
                <a:gd name="T7" fmla="*/ 1 h 4"/>
                <a:gd name="T8" fmla="*/ 3 w 4"/>
                <a:gd name="T9" fmla="*/ 0 h 4"/>
                <a:gd name="T10" fmla="*/ 2 w 4"/>
                <a:gd name="T11" fmla="*/ 1 h 4"/>
                <a:gd name="T12" fmla="*/ 2 w 4"/>
                <a:gd name="T13" fmla="*/ 1 h 4"/>
                <a:gd name="T14" fmla="*/ 1 w 4"/>
                <a:gd name="T15" fmla="*/ 1 h 4"/>
                <a:gd name="T16" fmla="*/ 1 w 4"/>
                <a:gd name="T17" fmla="*/ 2 h 4"/>
                <a:gd name="T18" fmla="*/ 1 w 4"/>
                <a:gd name="T19" fmla="*/ 3 h 4"/>
                <a:gd name="T20" fmla="*/ 1 w 4"/>
                <a:gd name="T21" fmla="*/ 4 h 4"/>
                <a:gd name="T22" fmla="*/ 2 w 4"/>
                <a:gd name="T2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2" y="4"/>
                    <a:pt x="2" y="4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0" y="2"/>
                    <a:pt x="1" y="2"/>
                  </a:cubicBezTo>
                  <a:cubicBezTo>
                    <a:pt x="1" y="3"/>
                    <a:pt x="0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10" name="Freeform 342">
              <a:extLst>
                <a:ext uri="{FF2B5EF4-FFF2-40B4-BE49-F238E27FC236}">
                  <a16:creationId xmlns:a16="http://schemas.microsoft.com/office/drawing/2014/main" id="{3BB7681A-30A3-43F0-BC88-E7C2BB2720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7766" y="3374163"/>
              <a:ext cx="1912" cy="1912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1 w 2"/>
                <a:gd name="T5" fmla="*/ 0 h 1"/>
                <a:gd name="T6" fmla="*/ 0 w 2"/>
                <a:gd name="T7" fmla="*/ 1 h 1"/>
                <a:gd name="T8" fmla="*/ 1 w 2"/>
                <a:gd name="T9" fmla="*/ 1 h 1"/>
                <a:gd name="T10" fmla="*/ 1 w 2"/>
                <a:gd name="T11" fmla="*/ 1 h 1"/>
                <a:gd name="T12" fmla="*/ 1 w 2"/>
                <a:gd name="T13" fmla="*/ 1 h 1"/>
                <a:gd name="T14" fmla="*/ 2 w 2"/>
                <a:gd name="T15" fmla="*/ 1 h 1"/>
                <a:gd name="T16" fmla="*/ 2 w 2"/>
                <a:gd name="T17" fmla="*/ 1 h 1"/>
                <a:gd name="T18" fmla="*/ 2 w 2"/>
                <a:gd name="T1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11" name="Freeform 344">
              <a:extLst>
                <a:ext uri="{FF2B5EF4-FFF2-40B4-BE49-F238E27FC236}">
                  <a16:creationId xmlns:a16="http://schemas.microsoft.com/office/drawing/2014/main" id="{5CABEDE3-B8C2-402B-B905-D020283BF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185" y="3301492"/>
              <a:ext cx="15299" cy="7650"/>
            </a:xfrm>
            <a:custGeom>
              <a:avLst/>
              <a:gdLst>
                <a:gd name="T0" fmla="*/ 13 w 13"/>
                <a:gd name="T1" fmla="*/ 4 h 6"/>
                <a:gd name="T2" fmla="*/ 12 w 13"/>
                <a:gd name="T3" fmla="*/ 4 h 6"/>
                <a:gd name="T4" fmla="*/ 12 w 13"/>
                <a:gd name="T5" fmla="*/ 4 h 6"/>
                <a:gd name="T6" fmla="*/ 11 w 13"/>
                <a:gd name="T7" fmla="*/ 3 h 6"/>
                <a:gd name="T8" fmla="*/ 9 w 13"/>
                <a:gd name="T9" fmla="*/ 3 h 6"/>
                <a:gd name="T10" fmla="*/ 8 w 13"/>
                <a:gd name="T11" fmla="*/ 2 h 6"/>
                <a:gd name="T12" fmla="*/ 7 w 13"/>
                <a:gd name="T13" fmla="*/ 1 h 6"/>
                <a:gd name="T14" fmla="*/ 6 w 13"/>
                <a:gd name="T15" fmla="*/ 1 h 6"/>
                <a:gd name="T16" fmla="*/ 6 w 13"/>
                <a:gd name="T17" fmla="*/ 0 h 6"/>
                <a:gd name="T18" fmla="*/ 5 w 13"/>
                <a:gd name="T19" fmla="*/ 0 h 6"/>
                <a:gd name="T20" fmla="*/ 3 w 13"/>
                <a:gd name="T21" fmla="*/ 0 h 6"/>
                <a:gd name="T22" fmla="*/ 2 w 13"/>
                <a:gd name="T23" fmla="*/ 0 h 6"/>
                <a:gd name="T24" fmla="*/ 1 w 13"/>
                <a:gd name="T25" fmla="*/ 0 h 6"/>
                <a:gd name="T26" fmla="*/ 1 w 13"/>
                <a:gd name="T27" fmla="*/ 0 h 6"/>
                <a:gd name="T28" fmla="*/ 0 w 13"/>
                <a:gd name="T29" fmla="*/ 1 h 6"/>
                <a:gd name="T30" fmla="*/ 0 w 13"/>
                <a:gd name="T31" fmla="*/ 2 h 6"/>
                <a:gd name="T32" fmla="*/ 1 w 13"/>
                <a:gd name="T33" fmla="*/ 2 h 6"/>
                <a:gd name="T34" fmla="*/ 2 w 13"/>
                <a:gd name="T35" fmla="*/ 1 h 6"/>
                <a:gd name="T36" fmla="*/ 3 w 13"/>
                <a:gd name="T37" fmla="*/ 1 h 6"/>
                <a:gd name="T38" fmla="*/ 3 w 13"/>
                <a:gd name="T39" fmla="*/ 1 h 6"/>
                <a:gd name="T40" fmla="*/ 4 w 13"/>
                <a:gd name="T41" fmla="*/ 2 h 6"/>
                <a:gd name="T42" fmla="*/ 5 w 13"/>
                <a:gd name="T43" fmla="*/ 2 h 6"/>
                <a:gd name="T44" fmla="*/ 6 w 13"/>
                <a:gd name="T45" fmla="*/ 2 h 6"/>
                <a:gd name="T46" fmla="*/ 8 w 13"/>
                <a:gd name="T47" fmla="*/ 3 h 6"/>
                <a:gd name="T48" fmla="*/ 8 w 13"/>
                <a:gd name="T49" fmla="*/ 4 h 6"/>
                <a:gd name="T50" fmla="*/ 9 w 13"/>
                <a:gd name="T51" fmla="*/ 4 h 6"/>
                <a:gd name="T52" fmla="*/ 10 w 13"/>
                <a:gd name="T53" fmla="*/ 5 h 6"/>
                <a:gd name="T54" fmla="*/ 9 w 13"/>
                <a:gd name="T55" fmla="*/ 5 h 6"/>
                <a:gd name="T56" fmla="*/ 9 w 13"/>
                <a:gd name="T57" fmla="*/ 6 h 6"/>
                <a:gd name="T58" fmla="*/ 11 w 13"/>
                <a:gd name="T59" fmla="*/ 6 h 6"/>
                <a:gd name="T60" fmla="*/ 12 w 13"/>
                <a:gd name="T61" fmla="*/ 6 h 6"/>
                <a:gd name="T62" fmla="*/ 13 w 13"/>
                <a:gd name="T63" fmla="*/ 5 h 6"/>
                <a:gd name="T64" fmla="*/ 13 w 13"/>
                <a:gd name="T65" fmla="*/ 5 h 6"/>
                <a:gd name="T66" fmla="*/ 13 w 13"/>
                <a:gd name="T6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" h="6">
                  <a:moveTo>
                    <a:pt x="13" y="4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9" y="2"/>
                    <a:pt x="9" y="2"/>
                    <a:pt x="8" y="2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3" y="0"/>
                    <a:pt x="3" y="1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1"/>
                    <a:pt x="3" y="2"/>
                    <a:pt x="4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5" y="2"/>
                    <a:pt x="6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8" y="3"/>
                    <a:pt x="8" y="3"/>
                    <a:pt x="8" y="4"/>
                  </a:cubicBezTo>
                  <a:cubicBezTo>
                    <a:pt x="8" y="4"/>
                    <a:pt x="9" y="4"/>
                    <a:pt x="9" y="4"/>
                  </a:cubicBezTo>
                  <a:cubicBezTo>
                    <a:pt x="9" y="4"/>
                    <a:pt x="10" y="4"/>
                    <a:pt x="10" y="5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0" y="6"/>
                    <a:pt x="11" y="6"/>
                  </a:cubicBezTo>
                  <a:cubicBezTo>
                    <a:pt x="11" y="6"/>
                    <a:pt x="12" y="6"/>
                    <a:pt x="12" y="6"/>
                  </a:cubicBezTo>
                  <a:cubicBezTo>
                    <a:pt x="13" y="6"/>
                    <a:pt x="13" y="6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4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45" name="Freeform 345">
              <a:extLst>
                <a:ext uri="{FF2B5EF4-FFF2-40B4-BE49-F238E27FC236}">
                  <a16:creationId xmlns:a16="http://schemas.microsoft.com/office/drawing/2014/main" id="{624DE95D-FB57-4C93-8F9C-D60096C7B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484" y="3309141"/>
              <a:ext cx="11474" cy="3825"/>
            </a:xfrm>
            <a:custGeom>
              <a:avLst/>
              <a:gdLst>
                <a:gd name="T0" fmla="*/ 7 w 8"/>
                <a:gd name="T1" fmla="*/ 1 h 4"/>
                <a:gd name="T2" fmla="*/ 6 w 8"/>
                <a:gd name="T3" fmla="*/ 1 h 4"/>
                <a:gd name="T4" fmla="*/ 6 w 8"/>
                <a:gd name="T5" fmla="*/ 0 h 4"/>
                <a:gd name="T6" fmla="*/ 4 w 8"/>
                <a:gd name="T7" fmla="*/ 0 h 4"/>
                <a:gd name="T8" fmla="*/ 3 w 8"/>
                <a:gd name="T9" fmla="*/ 0 h 4"/>
                <a:gd name="T10" fmla="*/ 3 w 8"/>
                <a:gd name="T11" fmla="*/ 0 h 4"/>
                <a:gd name="T12" fmla="*/ 2 w 8"/>
                <a:gd name="T13" fmla="*/ 0 h 4"/>
                <a:gd name="T14" fmla="*/ 2 w 8"/>
                <a:gd name="T15" fmla="*/ 0 h 4"/>
                <a:gd name="T16" fmla="*/ 2 w 8"/>
                <a:gd name="T17" fmla="*/ 1 h 4"/>
                <a:gd name="T18" fmla="*/ 3 w 8"/>
                <a:gd name="T19" fmla="*/ 1 h 4"/>
                <a:gd name="T20" fmla="*/ 3 w 8"/>
                <a:gd name="T21" fmla="*/ 2 h 4"/>
                <a:gd name="T22" fmla="*/ 3 w 8"/>
                <a:gd name="T23" fmla="*/ 2 h 4"/>
                <a:gd name="T24" fmla="*/ 2 w 8"/>
                <a:gd name="T25" fmla="*/ 2 h 4"/>
                <a:gd name="T26" fmla="*/ 1 w 8"/>
                <a:gd name="T27" fmla="*/ 2 h 4"/>
                <a:gd name="T28" fmla="*/ 0 w 8"/>
                <a:gd name="T29" fmla="*/ 2 h 4"/>
                <a:gd name="T30" fmla="*/ 1 w 8"/>
                <a:gd name="T31" fmla="*/ 3 h 4"/>
                <a:gd name="T32" fmla="*/ 2 w 8"/>
                <a:gd name="T33" fmla="*/ 3 h 4"/>
                <a:gd name="T34" fmla="*/ 2 w 8"/>
                <a:gd name="T35" fmla="*/ 3 h 4"/>
                <a:gd name="T36" fmla="*/ 3 w 8"/>
                <a:gd name="T37" fmla="*/ 3 h 4"/>
                <a:gd name="T38" fmla="*/ 4 w 8"/>
                <a:gd name="T39" fmla="*/ 4 h 4"/>
                <a:gd name="T40" fmla="*/ 5 w 8"/>
                <a:gd name="T41" fmla="*/ 3 h 4"/>
                <a:gd name="T42" fmla="*/ 5 w 8"/>
                <a:gd name="T43" fmla="*/ 3 h 4"/>
                <a:gd name="T44" fmla="*/ 7 w 8"/>
                <a:gd name="T45" fmla="*/ 2 h 4"/>
                <a:gd name="T46" fmla="*/ 8 w 8"/>
                <a:gd name="T47" fmla="*/ 2 h 4"/>
                <a:gd name="T48" fmla="*/ 8 w 8"/>
                <a:gd name="T49" fmla="*/ 2 h 4"/>
                <a:gd name="T50" fmla="*/ 7 w 8"/>
                <a:gd name="T5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6" y="0"/>
                    <a:pt x="6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4"/>
                    <a:pt x="4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7" y="2"/>
                  </a:cubicBezTo>
                  <a:cubicBezTo>
                    <a:pt x="7" y="2"/>
                    <a:pt x="8" y="3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1"/>
                    <a:pt x="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46" name="Freeform 346">
              <a:extLst>
                <a:ext uri="{FF2B5EF4-FFF2-40B4-BE49-F238E27FC236}">
                  <a16:creationId xmlns:a16="http://schemas.microsoft.com/office/drawing/2014/main" id="{AE70CCD0-C0B6-4D77-9EC5-25E32F330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747" y="3311054"/>
              <a:ext cx="1912" cy="1912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0 w 2"/>
                <a:gd name="T5" fmla="*/ 1 h 2"/>
                <a:gd name="T6" fmla="*/ 1 w 2"/>
                <a:gd name="T7" fmla="*/ 1 h 2"/>
                <a:gd name="T8" fmla="*/ 1 w 2"/>
                <a:gd name="T9" fmla="*/ 1 h 2"/>
                <a:gd name="T10" fmla="*/ 2 w 2"/>
                <a:gd name="T11" fmla="*/ 1 h 2"/>
                <a:gd name="T12" fmla="*/ 2 w 2"/>
                <a:gd name="T13" fmla="*/ 1 h 2"/>
                <a:gd name="T14" fmla="*/ 2 w 2"/>
                <a:gd name="T1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1" y="1"/>
                    <a:pt x="1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2"/>
                    <a:pt x="1" y="1"/>
                  </a:cubicBezTo>
                  <a:cubicBezTo>
                    <a:pt x="2" y="1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47" name="Freeform 347">
              <a:extLst>
                <a:ext uri="{FF2B5EF4-FFF2-40B4-BE49-F238E27FC236}">
                  <a16:creationId xmlns:a16="http://schemas.microsoft.com/office/drawing/2014/main" id="{7DB99310-1A70-4ADF-AA9D-B66F43DDB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9871" y="3311054"/>
              <a:ext cx="1912" cy="1912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0 h 1"/>
                <a:gd name="T4" fmla="*/ 0 w 2"/>
                <a:gd name="T5" fmla="*/ 1 h 1"/>
                <a:gd name="T6" fmla="*/ 0 w 2"/>
                <a:gd name="T7" fmla="*/ 1 h 1"/>
                <a:gd name="T8" fmla="*/ 1 w 2"/>
                <a:gd name="T9" fmla="*/ 1 h 1"/>
                <a:gd name="T10" fmla="*/ 2 w 2"/>
                <a:gd name="T11" fmla="*/ 1 h 1"/>
                <a:gd name="T12" fmla="*/ 2 w 2"/>
                <a:gd name="T13" fmla="*/ 1 h 1"/>
                <a:gd name="T14" fmla="*/ 1 w 2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48" name="Freeform 348">
              <a:extLst>
                <a:ext uri="{FF2B5EF4-FFF2-40B4-BE49-F238E27FC236}">
                  <a16:creationId xmlns:a16="http://schemas.microsoft.com/office/drawing/2014/main" id="{CBB530CD-2314-4E61-9945-314821130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3258" y="3232646"/>
              <a:ext cx="11474" cy="11474"/>
            </a:xfrm>
            <a:custGeom>
              <a:avLst/>
              <a:gdLst>
                <a:gd name="T0" fmla="*/ 9 w 9"/>
                <a:gd name="T1" fmla="*/ 7 h 9"/>
                <a:gd name="T2" fmla="*/ 9 w 9"/>
                <a:gd name="T3" fmla="*/ 7 h 9"/>
                <a:gd name="T4" fmla="*/ 9 w 9"/>
                <a:gd name="T5" fmla="*/ 7 h 9"/>
                <a:gd name="T6" fmla="*/ 9 w 9"/>
                <a:gd name="T7" fmla="*/ 6 h 9"/>
                <a:gd name="T8" fmla="*/ 8 w 9"/>
                <a:gd name="T9" fmla="*/ 6 h 9"/>
                <a:gd name="T10" fmla="*/ 8 w 9"/>
                <a:gd name="T11" fmla="*/ 7 h 9"/>
                <a:gd name="T12" fmla="*/ 8 w 9"/>
                <a:gd name="T13" fmla="*/ 7 h 9"/>
                <a:gd name="T14" fmla="*/ 8 w 9"/>
                <a:gd name="T15" fmla="*/ 6 h 9"/>
                <a:gd name="T16" fmla="*/ 9 w 9"/>
                <a:gd name="T17" fmla="*/ 5 h 9"/>
                <a:gd name="T18" fmla="*/ 8 w 9"/>
                <a:gd name="T19" fmla="*/ 5 h 9"/>
                <a:gd name="T20" fmla="*/ 8 w 9"/>
                <a:gd name="T21" fmla="*/ 5 h 9"/>
                <a:gd name="T22" fmla="*/ 8 w 9"/>
                <a:gd name="T23" fmla="*/ 4 h 9"/>
                <a:gd name="T24" fmla="*/ 7 w 9"/>
                <a:gd name="T25" fmla="*/ 4 h 9"/>
                <a:gd name="T26" fmla="*/ 7 w 9"/>
                <a:gd name="T27" fmla="*/ 3 h 9"/>
                <a:gd name="T28" fmla="*/ 6 w 9"/>
                <a:gd name="T29" fmla="*/ 3 h 9"/>
                <a:gd name="T30" fmla="*/ 5 w 9"/>
                <a:gd name="T31" fmla="*/ 3 h 9"/>
                <a:gd name="T32" fmla="*/ 5 w 9"/>
                <a:gd name="T33" fmla="*/ 3 h 9"/>
                <a:gd name="T34" fmla="*/ 5 w 9"/>
                <a:gd name="T35" fmla="*/ 2 h 9"/>
                <a:gd name="T36" fmla="*/ 5 w 9"/>
                <a:gd name="T37" fmla="*/ 2 h 9"/>
                <a:gd name="T38" fmla="*/ 4 w 9"/>
                <a:gd name="T39" fmla="*/ 3 h 9"/>
                <a:gd name="T40" fmla="*/ 4 w 9"/>
                <a:gd name="T41" fmla="*/ 2 h 9"/>
                <a:gd name="T42" fmla="*/ 5 w 9"/>
                <a:gd name="T43" fmla="*/ 1 h 9"/>
                <a:gd name="T44" fmla="*/ 5 w 9"/>
                <a:gd name="T45" fmla="*/ 0 h 9"/>
                <a:gd name="T46" fmla="*/ 5 w 9"/>
                <a:gd name="T47" fmla="*/ 0 h 9"/>
                <a:gd name="T48" fmla="*/ 6 w 9"/>
                <a:gd name="T49" fmla="*/ 0 h 9"/>
                <a:gd name="T50" fmla="*/ 5 w 9"/>
                <a:gd name="T51" fmla="*/ 0 h 9"/>
                <a:gd name="T52" fmla="*/ 4 w 9"/>
                <a:gd name="T53" fmla="*/ 0 h 9"/>
                <a:gd name="T54" fmla="*/ 4 w 9"/>
                <a:gd name="T55" fmla="*/ 0 h 9"/>
                <a:gd name="T56" fmla="*/ 3 w 9"/>
                <a:gd name="T57" fmla="*/ 1 h 9"/>
                <a:gd name="T58" fmla="*/ 3 w 9"/>
                <a:gd name="T59" fmla="*/ 1 h 9"/>
                <a:gd name="T60" fmla="*/ 3 w 9"/>
                <a:gd name="T61" fmla="*/ 2 h 9"/>
                <a:gd name="T62" fmla="*/ 2 w 9"/>
                <a:gd name="T63" fmla="*/ 3 h 9"/>
                <a:gd name="T64" fmla="*/ 2 w 9"/>
                <a:gd name="T65" fmla="*/ 4 h 9"/>
                <a:gd name="T66" fmla="*/ 2 w 9"/>
                <a:gd name="T67" fmla="*/ 5 h 9"/>
                <a:gd name="T68" fmla="*/ 1 w 9"/>
                <a:gd name="T69" fmla="*/ 5 h 9"/>
                <a:gd name="T70" fmla="*/ 0 w 9"/>
                <a:gd name="T71" fmla="*/ 7 h 9"/>
                <a:gd name="T72" fmla="*/ 2 w 9"/>
                <a:gd name="T73" fmla="*/ 7 h 9"/>
                <a:gd name="T74" fmla="*/ 4 w 9"/>
                <a:gd name="T75" fmla="*/ 7 h 9"/>
                <a:gd name="T76" fmla="*/ 6 w 9"/>
                <a:gd name="T77" fmla="*/ 7 h 9"/>
                <a:gd name="T78" fmla="*/ 6 w 9"/>
                <a:gd name="T79" fmla="*/ 7 h 9"/>
                <a:gd name="T80" fmla="*/ 5 w 9"/>
                <a:gd name="T81" fmla="*/ 8 h 9"/>
                <a:gd name="T82" fmla="*/ 5 w 9"/>
                <a:gd name="T83" fmla="*/ 8 h 9"/>
                <a:gd name="T84" fmla="*/ 6 w 9"/>
                <a:gd name="T85" fmla="*/ 8 h 9"/>
                <a:gd name="T86" fmla="*/ 7 w 9"/>
                <a:gd name="T87" fmla="*/ 7 h 9"/>
                <a:gd name="T88" fmla="*/ 7 w 9"/>
                <a:gd name="T89" fmla="*/ 7 h 9"/>
                <a:gd name="T90" fmla="*/ 8 w 9"/>
                <a:gd name="T91" fmla="*/ 7 h 9"/>
                <a:gd name="T92" fmla="*/ 7 w 9"/>
                <a:gd name="T93" fmla="*/ 8 h 9"/>
                <a:gd name="T94" fmla="*/ 7 w 9"/>
                <a:gd name="T95" fmla="*/ 8 h 9"/>
                <a:gd name="T96" fmla="*/ 8 w 9"/>
                <a:gd name="T97" fmla="*/ 8 h 9"/>
                <a:gd name="T98" fmla="*/ 8 w 9"/>
                <a:gd name="T99" fmla="*/ 8 h 9"/>
                <a:gd name="T100" fmla="*/ 8 w 9"/>
                <a:gd name="T101" fmla="*/ 9 h 9"/>
                <a:gd name="T102" fmla="*/ 9 w 9"/>
                <a:gd name="T103" fmla="*/ 9 h 9"/>
                <a:gd name="T104" fmla="*/ 9 w 9"/>
                <a:gd name="T105" fmla="*/ 8 h 9"/>
                <a:gd name="T106" fmla="*/ 9 w 9"/>
                <a:gd name="T107" fmla="*/ 7 h 9"/>
                <a:gd name="T108" fmla="*/ 9 w 9"/>
                <a:gd name="T10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" h="9">
                  <a:moveTo>
                    <a:pt x="9" y="7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8" y="7"/>
                    <a:pt x="9" y="7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8" y="6"/>
                    <a:pt x="8" y="6"/>
                  </a:cubicBezTo>
                  <a:cubicBezTo>
                    <a:pt x="8" y="6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9" y="5"/>
                    <a:pt x="9" y="5"/>
                  </a:cubicBezTo>
                  <a:cubicBezTo>
                    <a:pt x="9" y="5"/>
                    <a:pt x="8" y="5"/>
                    <a:pt x="8" y="5"/>
                  </a:cubicBezTo>
                  <a:cubicBezTo>
                    <a:pt x="8" y="5"/>
                    <a:pt x="7" y="5"/>
                    <a:pt x="8" y="5"/>
                  </a:cubicBezTo>
                  <a:cubicBezTo>
                    <a:pt x="8" y="5"/>
                    <a:pt x="8" y="4"/>
                    <a:pt x="8" y="4"/>
                  </a:cubicBezTo>
                  <a:cubicBezTo>
                    <a:pt x="8" y="4"/>
                    <a:pt x="8" y="4"/>
                    <a:pt x="7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6" y="3"/>
                    <a:pt x="6" y="3"/>
                  </a:cubicBezTo>
                  <a:cubicBezTo>
                    <a:pt x="6" y="4"/>
                    <a:pt x="6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6" y="3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3"/>
                    <a:pt x="4" y="3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2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0" y="6"/>
                    <a:pt x="0" y="7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2" y="7"/>
                    <a:pt x="4" y="7"/>
                    <a:pt x="4" y="7"/>
                  </a:cubicBezTo>
                  <a:cubicBezTo>
                    <a:pt x="5" y="7"/>
                    <a:pt x="5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6" y="8"/>
                    <a:pt x="6" y="8"/>
                  </a:cubicBezTo>
                  <a:cubicBezTo>
                    <a:pt x="6" y="8"/>
                    <a:pt x="6" y="8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8" y="7"/>
                  </a:cubicBezTo>
                  <a:cubicBezTo>
                    <a:pt x="8" y="7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9"/>
                    <a:pt x="8" y="9"/>
                  </a:cubicBezTo>
                  <a:cubicBezTo>
                    <a:pt x="8" y="9"/>
                    <a:pt x="8" y="9"/>
                    <a:pt x="9" y="9"/>
                  </a:cubicBezTo>
                  <a:cubicBezTo>
                    <a:pt x="9" y="9"/>
                    <a:pt x="9" y="9"/>
                    <a:pt x="9" y="8"/>
                  </a:cubicBezTo>
                  <a:cubicBezTo>
                    <a:pt x="9" y="8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49" name="Freeform 349">
              <a:extLst>
                <a:ext uri="{FF2B5EF4-FFF2-40B4-BE49-F238E27FC236}">
                  <a16:creationId xmlns:a16="http://schemas.microsoft.com/office/drawing/2014/main" id="{EB2722D6-9455-420E-8249-A3D3C934D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2542" y="3198223"/>
              <a:ext cx="17212" cy="5737"/>
            </a:xfrm>
            <a:custGeom>
              <a:avLst/>
              <a:gdLst>
                <a:gd name="T0" fmla="*/ 10 w 14"/>
                <a:gd name="T1" fmla="*/ 5 h 5"/>
                <a:gd name="T2" fmla="*/ 10 w 14"/>
                <a:gd name="T3" fmla="*/ 4 h 5"/>
                <a:gd name="T4" fmla="*/ 11 w 14"/>
                <a:gd name="T5" fmla="*/ 4 h 5"/>
                <a:gd name="T6" fmla="*/ 12 w 14"/>
                <a:gd name="T7" fmla="*/ 4 h 5"/>
                <a:gd name="T8" fmla="*/ 13 w 14"/>
                <a:gd name="T9" fmla="*/ 3 h 5"/>
                <a:gd name="T10" fmla="*/ 13 w 14"/>
                <a:gd name="T11" fmla="*/ 3 h 5"/>
                <a:gd name="T12" fmla="*/ 14 w 14"/>
                <a:gd name="T13" fmla="*/ 2 h 5"/>
                <a:gd name="T14" fmla="*/ 14 w 14"/>
                <a:gd name="T15" fmla="*/ 1 h 5"/>
                <a:gd name="T16" fmla="*/ 14 w 14"/>
                <a:gd name="T17" fmla="*/ 1 h 5"/>
                <a:gd name="T18" fmla="*/ 13 w 14"/>
                <a:gd name="T19" fmla="*/ 1 h 5"/>
                <a:gd name="T20" fmla="*/ 12 w 14"/>
                <a:gd name="T21" fmla="*/ 0 h 5"/>
                <a:gd name="T22" fmla="*/ 11 w 14"/>
                <a:gd name="T23" fmla="*/ 0 h 5"/>
                <a:gd name="T24" fmla="*/ 10 w 14"/>
                <a:gd name="T25" fmla="*/ 0 h 5"/>
                <a:gd name="T26" fmla="*/ 10 w 14"/>
                <a:gd name="T27" fmla="*/ 0 h 5"/>
                <a:gd name="T28" fmla="*/ 9 w 14"/>
                <a:gd name="T29" fmla="*/ 0 h 5"/>
                <a:gd name="T30" fmla="*/ 7 w 14"/>
                <a:gd name="T31" fmla="*/ 0 h 5"/>
                <a:gd name="T32" fmla="*/ 7 w 14"/>
                <a:gd name="T33" fmla="*/ 1 h 5"/>
                <a:gd name="T34" fmla="*/ 6 w 14"/>
                <a:gd name="T35" fmla="*/ 0 h 5"/>
                <a:gd name="T36" fmla="*/ 5 w 14"/>
                <a:gd name="T37" fmla="*/ 1 h 5"/>
                <a:gd name="T38" fmla="*/ 5 w 14"/>
                <a:gd name="T39" fmla="*/ 1 h 5"/>
                <a:gd name="T40" fmla="*/ 5 w 14"/>
                <a:gd name="T41" fmla="*/ 1 h 5"/>
                <a:gd name="T42" fmla="*/ 4 w 14"/>
                <a:gd name="T43" fmla="*/ 2 h 5"/>
                <a:gd name="T44" fmla="*/ 4 w 14"/>
                <a:gd name="T45" fmla="*/ 1 h 5"/>
                <a:gd name="T46" fmla="*/ 4 w 14"/>
                <a:gd name="T47" fmla="*/ 1 h 5"/>
                <a:gd name="T48" fmla="*/ 3 w 14"/>
                <a:gd name="T49" fmla="*/ 0 h 5"/>
                <a:gd name="T50" fmla="*/ 3 w 14"/>
                <a:gd name="T51" fmla="*/ 0 h 5"/>
                <a:gd name="T52" fmla="*/ 2 w 14"/>
                <a:gd name="T53" fmla="*/ 0 h 5"/>
                <a:gd name="T54" fmla="*/ 2 w 14"/>
                <a:gd name="T55" fmla="*/ 0 h 5"/>
                <a:gd name="T56" fmla="*/ 2 w 14"/>
                <a:gd name="T57" fmla="*/ 1 h 5"/>
                <a:gd name="T58" fmla="*/ 2 w 14"/>
                <a:gd name="T59" fmla="*/ 0 h 5"/>
                <a:gd name="T60" fmla="*/ 1 w 14"/>
                <a:gd name="T61" fmla="*/ 0 h 5"/>
                <a:gd name="T62" fmla="*/ 0 w 14"/>
                <a:gd name="T63" fmla="*/ 1 h 5"/>
                <a:gd name="T64" fmla="*/ 0 w 14"/>
                <a:gd name="T65" fmla="*/ 1 h 5"/>
                <a:gd name="T66" fmla="*/ 1 w 14"/>
                <a:gd name="T67" fmla="*/ 1 h 5"/>
                <a:gd name="T68" fmla="*/ 1 w 14"/>
                <a:gd name="T69" fmla="*/ 1 h 5"/>
                <a:gd name="T70" fmla="*/ 2 w 14"/>
                <a:gd name="T71" fmla="*/ 1 h 5"/>
                <a:gd name="T72" fmla="*/ 3 w 14"/>
                <a:gd name="T73" fmla="*/ 1 h 5"/>
                <a:gd name="T74" fmla="*/ 3 w 14"/>
                <a:gd name="T75" fmla="*/ 2 h 5"/>
                <a:gd name="T76" fmla="*/ 2 w 14"/>
                <a:gd name="T77" fmla="*/ 2 h 5"/>
                <a:gd name="T78" fmla="*/ 2 w 14"/>
                <a:gd name="T79" fmla="*/ 2 h 5"/>
                <a:gd name="T80" fmla="*/ 1 w 14"/>
                <a:gd name="T81" fmla="*/ 3 h 5"/>
                <a:gd name="T82" fmla="*/ 2 w 14"/>
                <a:gd name="T83" fmla="*/ 3 h 5"/>
                <a:gd name="T84" fmla="*/ 3 w 14"/>
                <a:gd name="T85" fmla="*/ 3 h 5"/>
                <a:gd name="T86" fmla="*/ 3 w 14"/>
                <a:gd name="T87" fmla="*/ 3 h 5"/>
                <a:gd name="T88" fmla="*/ 3 w 14"/>
                <a:gd name="T89" fmla="*/ 4 h 5"/>
                <a:gd name="T90" fmla="*/ 2 w 14"/>
                <a:gd name="T91" fmla="*/ 4 h 5"/>
                <a:gd name="T92" fmla="*/ 4 w 14"/>
                <a:gd name="T93" fmla="*/ 4 h 5"/>
                <a:gd name="T94" fmla="*/ 5 w 14"/>
                <a:gd name="T95" fmla="*/ 5 h 5"/>
                <a:gd name="T96" fmla="*/ 6 w 14"/>
                <a:gd name="T97" fmla="*/ 5 h 5"/>
                <a:gd name="T98" fmla="*/ 8 w 14"/>
                <a:gd name="T99" fmla="*/ 5 h 5"/>
                <a:gd name="T100" fmla="*/ 8 w 14"/>
                <a:gd name="T101" fmla="*/ 5 h 5"/>
                <a:gd name="T102" fmla="*/ 9 w 14"/>
                <a:gd name="T103" fmla="*/ 5 h 5"/>
                <a:gd name="T104" fmla="*/ 10 w 14"/>
                <a:gd name="T10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" h="5">
                  <a:moveTo>
                    <a:pt x="10" y="5"/>
                  </a:move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1" y="4"/>
                    <a:pt x="11" y="4"/>
                    <a:pt x="12" y="4"/>
                  </a:cubicBezTo>
                  <a:cubicBezTo>
                    <a:pt x="12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4" y="2"/>
                    <a:pt x="14" y="2"/>
                  </a:cubicBezTo>
                  <a:cubicBezTo>
                    <a:pt x="14" y="2"/>
                    <a:pt x="14" y="2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1"/>
                    <a:pt x="7" y="1"/>
                  </a:cubicBezTo>
                  <a:cubicBezTo>
                    <a:pt x="6" y="1"/>
                    <a:pt x="6" y="1"/>
                    <a:pt x="6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0" y="2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2" y="5"/>
                    <a:pt x="4" y="4"/>
                    <a:pt x="4" y="4"/>
                  </a:cubicBezTo>
                  <a:cubicBezTo>
                    <a:pt x="4" y="4"/>
                    <a:pt x="5" y="5"/>
                    <a:pt x="5" y="5"/>
                  </a:cubicBezTo>
                  <a:cubicBezTo>
                    <a:pt x="5" y="5"/>
                    <a:pt x="6" y="5"/>
                    <a:pt x="6" y="5"/>
                  </a:cubicBezTo>
                  <a:cubicBezTo>
                    <a:pt x="6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9" y="5"/>
                    <a:pt x="9" y="5"/>
                  </a:cubicBezTo>
                  <a:cubicBezTo>
                    <a:pt x="9" y="4"/>
                    <a:pt x="9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50" name="Freeform 350">
              <a:extLst>
                <a:ext uri="{FF2B5EF4-FFF2-40B4-BE49-F238E27FC236}">
                  <a16:creationId xmlns:a16="http://schemas.microsoft.com/office/drawing/2014/main" id="{47AFF092-D5FC-434A-8614-DAD1BD9080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0907" y="3186748"/>
              <a:ext cx="3825" cy="3825"/>
            </a:xfrm>
            <a:custGeom>
              <a:avLst/>
              <a:gdLst>
                <a:gd name="T0" fmla="*/ 2 w 4"/>
                <a:gd name="T1" fmla="*/ 2 h 2"/>
                <a:gd name="T2" fmla="*/ 3 w 4"/>
                <a:gd name="T3" fmla="*/ 2 h 2"/>
                <a:gd name="T4" fmla="*/ 4 w 4"/>
                <a:gd name="T5" fmla="*/ 2 h 2"/>
                <a:gd name="T6" fmla="*/ 4 w 4"/>
                <a:gd name="T7" fmla="*/ 2 h 2"/>
                <a:gd name="T8" fmla="*/ 3 w 4"/>
                <a:gd name="T9" fmla="*/ 1 h 2"/>
                <a:gd name="T10" fmla="*/ 2 w 4"/>
                <a:gd name="T11" fmla="*/ 1 h 2"/>
                <a:gd name="T12" fmla="*/ 1 w 4"/>
                <a:gd name="T13" fmla="*/ 1 h 2"/>
                <a:gd name="T14" fmla="*/ 0 w 4"/>
                <a:gd name="T15" fmla="*/ 1 h 2"/>
                <a:gd name="T16" fmla="*/ 0 w 4"/>
                <a:gd name="T17" fmla="*/ 2 h 2"/>
                <a:gd name="T18" fmla="*/ 2 w 4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0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2"/>
                    <a:pt x="1" y="2"/>
                    <a:pt x="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51" name="Freeform 351">
              <a:extLst>
                <a:ext uri="{FF2B5EF4-FFF2-40B4-BE49-F238E27FC236}">
                  <a16:creationId xmlns:a16="http://schemas.microsoft.com/office/drawing/2014/main" id="{5FCB1E78-6D74-4F92-B0A1-B5747F18E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5651" y="3163800"/>
              <a:ext cx="19124" cy="9562"/>
            </a:xfrm>
            <a:custGeom>
              <a:avLst/>
              <a:gdLst>
                <a:gd name="T0" fmla="*/ 4 w 15"/>
                <a:gd name="T1" fmla="*/ 2 h 7"/>
                <a:gd name="T2" fmla="*/ 4 w 15"/>
                <a:gd name="T3" fmla="*/ 3 h 7"/>
                <a:gd name="T4" fmla="*/ 3 w 15"/>
                <a:gd name="T5" fmla="*/ 3 h 7"/>
                <a:gd name="T6" fmla="*/ 2 w 15"/>
                <a:gd name="T7" fmla="*/ 4 h 7"/>
                <a:gd name="T8" fmla="*/ 1 w 15"/>
                <a:gd name="T9" fmla="*/ 4 h 7"/>
                <a:gd name="T10" fmla="*/ 0 w 15"/>
                <a:gd name="T11" fmla="*/ 4 h 7"/>
                <a:gd name="T12" fmla="*/ 3 w 15"/>
                <a:gd name="T13" fmla="*/ 4 h 7"/>
                <a:gd name="T14" fmla="*/ 2 w 15"/>
                <a:gd name="T15" fmla="*/ 5 h 7"/>
                <a:gd name="T16" fmla="*/ 1 w 15"/>
                <a:gd name="T17" fmla="*/ 5 h 7"/>
                <a:gd name="T18" fmla="*/ 2 w 15"/>
                <a:gd name="T19" fmla="*/ 6 h 7"/>
                <a:gd name="T20" fmla="*/ 4 w 15"/>
                <a:gd name="T21" fmla="*/ 7 h 7"/>
                <a:gd name="T22" fmla="*/ 5 w 15"/>
                <a:gd name="T23" fmla="*/ 7 h 7"/>
                <a:gd name="T24" fmla="*/ 5 w 15"/>
                <a:gd name="T25" fmla="*/ 6 h 7"/>
                <a:gd name="T26" fmla="*/ 6 w 15"/>
                <a:gd name="T27" fmla="*/ 5 h 7"/>
                <a:gd name="T28" fmla="*/ 7 w 15"/>
                <a:gd name="T29" fmla="*/ 5 h 7"/>
                <a:gd name="T30" fmla="*/ 7 w 15"/>
                <a:gd name="T31" fmla="*/ 4 h 7"/>
                <a:gd name="T32" fmla="*/ 8 w 15"/>
                <a:gd name="T33" fmla="*/ 4 h 7"/>
                <a:gd name="T34" fmla="*/ 8 w 15"/>
                <a:gd name="T35" fmla="*/ 3 h 7"/>
                <a:gd name="T36" fmla="*/ 9 w 15"/>
                <a:gd name="T37" fmla="*/ 3 h 7"/>
                <a:gd name="T38" fmla="*/ 10 w 15"/>
                <a:gd name="T39" fmla="*/ 4 h 7"/>
                <a:gd name="T40" fmla="*/ 10 w 15"/>
                <a:gd name="T41" fmla="*/ 4 h 7"/>
                <a:gd name="T42" fmla="*/ 10 w 15"/>
                <a:gd name="T43" fmla="*/ 5 h 7"/>
                <a:gd name="T44" fmla="*/ 10 w 15"/>
                <a:gd name="T45" fmla="*/ 5 h 7"/>
                <a:gd name="T46" fmla="*/ 11 w 15"/>
                <a:gd name="T47" fmla="*/ 5 h 7"/>
                <a:gd name="T48" fmla="*/ 12 w 15"/>
                <a:gd name="T49" fmla="*/ 5 h 7"/>
                <a:gd name="T50" fmla="*/ 13 w 15"/>
                <a:gd name="T51" fmla="*/ 6 h 7"/>
                <a:gd name="T52" fmla="*/ 14 w 15"/>
                <a:gd name="T53" fmla="*/ 5 h 7"/>
                <a:gd name="T54" fmla="*/ 14 w 15"/>
                <a:gd name="T55" fmla="*/ 5 h 7"/>
                <a:gd name="T56" fmla="*/ 14 w 15"/>
                <a:gd name="T57" fmla="*/ 4 h 7"/>
                <a:gd name="T58" fmla="*/ 13 w 15"/>
                <a:gd name="T59" fmla="*/ 4 h 7"/>
                <a:gd name="T60" fmla="*/ 12 w 15"/>
                <a:gd name="T61" fmla="*/ 3 h 7"/>
                <a:gd name="T62" fmla="*/ 12 w 15"/>
                <a:gd name="T63" fmla="*/ 3 h 7"/>
                <a:gd name="T64" fmla="*/ 11 w 15"/>
                <a:gd name="T65" fmla="*/ 3 h 7"/>
                <a:gd name="T66" fmla="*/ 10 w 15"/>
                <a:gd name="T67" fmla="*/ 2 h 7"/>
                <a:gd name="T68" fmla="*/ 9 w 15"/>
                <a:gd name="T69" fmla="*/ 2 h 7"/>
                <a:gd name="T70" fmla="*/ 8 w 15"/>
                <a:gd name="T71" fmla="*/ 2 h 7"/>
                <a:gd name="T72" fmla="*/ 8 w 15"/>
                <a:gd name="T73" fmla="*/ 2 h 7"/>
                <a:gd name="T74" fmla="*/ 7 w 15"/>
                <a:gd name="T75" fmla="*/ 1 h 7"/>
                <a:gd name="T76" fmla="*/ 6 w 15"/>
                <a:gd name="T77" fmla="*/ 1 h 7"/>
                <a:gd name="T78" fmla="*/ 6 w 15"/>
                <a:gd name="T79" fmla="*/ 1 h 7"/>
                <a:gd name="T80" fmla="*/ 6 w 15"/>
                <a:gd name="T81" fmla="*/ 1 h 7"/>
                <a:gd name="T82" fmla="*/ 4 w 15"/>
                <a:gd name="T83" fmla="*/ 0 h 7"/>
                <a:gd name="T84" fmla="*/ 4 w 15"/>
                <a:gd name="T85" fmla="*/ 0 h 7"/>
                <a:gd name="T86" fmla="*/ 3 w 15"/>
                <a:gd name="T87" fmla="*/ 0 h 7"/>
                <a:gd name="T88" fmla="*/ 3 w 15"/>
                <a:gd name="T89" fmla="*/ 1 h 7"/>
                <a:gd name="T90" fmla="*/ 4 w 15"/>
                <a:gd name="T9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" h="7">
                  <a:moveTo>
                    <a:pt x="4" y="2"/>
                  </a:moveTo>
                  <a:cubicBezTo>
                    <a:pt x="4" y="2"/>
                    <a:pt x="4" y="3"/>
                    <a:pt x="4" y="3"/>
                  </a:cubicBezTo>
                  <a:cubicBezTo>
                    <a:pt x="4" y="3"/>
                    <a:pt x="3" y="3"/>
                    <a:pt x="3" y="3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4"/>
                    <a:pt x="0" y="4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1" y="5"/>
                    <a:pt x="1" y="4"/>
                    <a:pt x="1" y="5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3" y="6"/>
                    <a:pt x="4" y="7"/>
                  </a:cubicBezTo>
                  <a:cubicBezTo>
                    <a:pt x="4" y="7"/>
                    <a:pt x="4" y="7"/>
                    <a:pt x="5" y="7"/>
                  </a:cubicBezTo>
                  <a:cubicBezTo>
                    <a:pt x="5" y="7"/>
                    <a:pt x="5" y="6"/>
                    <a:pt x="5" y="6"/>
                  </a:cubicBezTo>
                  <a:cubicBezTo>
                    <a:pt x="5" y="6"/>
                    <a:pt x="6" y="5"/>
                    <a:pt x="6" y="5"/>
                  </a:cubicBezTo>
                  <a:cubicBezTo>
                    <a:pt x="6" y="5"/>
                    <a:pt x="6" y="5"/>
                    <a:pt x="7" y="5"/>
                  </a:cubicBezTo>
                  <a:cubicBezTo>
                    <a:pt x="7" y="5"/>
                    <a:pt x="7" y="4"/>
                    <a:pt x="7" y="4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1" y="4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6"/>
                    <a:pt x="11" y="5"/>
                    <a:pt x="11" y="5"/>
                  </a:cubicBezTo>
                  <a:cubicBezTo>
                    <a:pt x="11" y="5"/>
                    <a:pt x="12" y="5"/>
                    <a:pt x="12" y="5"/>
                  </a:cubicBezTo>
                  <a:cubicBezTo>
                    <a:pt x="12" y="5"/>
                    <a:pt x="12" y="5"/>
                    <a:pt x="13" y="6"/>
                  </a:cubicBezTo>
                  <a:cubicBezTo>
                    <a:pt x="13" y="6"/>
                    <a:pt x="13" y="5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4"/>
                    <a:pt x="14" y="4"/>
                    <a:pt x="14" y="4"/>
                  </a:cubicBezTo>
                  <a:cubicBezTo>
                    <a:pt x="14" y="4"/>
                    <a:pt x="13" y="4"/>
                    <a:pt x="13" y="4"/>
                  </a:cubicBezTo>
                  <a:cubicBezTo>
                    <a:pt x="13" y="4"/>
                    <a:pt x="12" y="4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0" y="2"/>
                    <a:pt x="10" y="2"/>
                  </a:cubicBezTo>
                  <a:cubicBezTo>
                    <a:pt x="10" y="2"/>
                    <a:pt x="10" y="2"/>
                    <a:pt x="9" y="2"/>
                  </a:cubicBezTo>
                  <a:cubicBezTo>
                    <a:pt x="9" y="2"/>
                    <a:pt x="9" y="2"/>
                    <a:pt x="8" y="2"/>
                  </a:cubicBezTo>
                  <a:cubicBezTo>
                    <a:pt x="8" y="1"/>
                    <a:pt x="8" y="2"/>
                    <a:pt x="8" y="2"/>
                  </a:cubicBezTo>
                  <a:cubicBezTo>
                    <a:pt x="7" y="2"/>
                    <a:pt x="7" y="2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5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52" name="Freeform 352">
              <a:extLst>
                <a:ext uri="{FF2B5EF4-FFF2-40B4-BE49-F238E27FC236}">
                  <a16:creationId xmlns:a16="http://schemas.microsoft.com/office/drawing/2014/main" id="{41EEAA42-C921-4A2B-941C-9F8C6FCEE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1826" y="3165712"/>
              <a:ext cx="9562" cy="3825"/>
            </a:xfrm>
            <a:custGeom>
              <a:avLst/>
              <a:gdLst>
                <a:gd name="T0" fmla="*/ 1 w 8"/>
                <a:gd name="T1" fmla="*/ 1 h 3"/>
                <a:gd name="T2" fmla="*/ 4 w 8"/>
                <a:gd name="T3" fmla="*/ 3 h 3"/>
                <a:gd name="T4" fmla="*/ 5 w 8"/>
                <a:gd name="T5" fmla="*/ 2 h 3"/>
                <a:gd name="T6" fmla="*/ 6 w 8"/>
                <a:gd name="T7" fmla="*/ 2 h 3"/>
                <a:gd name="T8" fmla="*/ 7 w 8"/>
                <a:gd name="T9" fmla="*/ 2 h 3"/>
                <a:gd name="T10" fmla="*/ 8 w 8"/>
                <a:gd name="T11" fmla="*/ 2 h 3"/>
                <a:gd name="T12" fmla="*/ 8 w 8"/>
                <a:gd name="T13" fmla="*/ 1 h 3"/>
                <a:gd name="T14" fmla="*/ 8 w 8"/>
                <a:gd name="T15" fmla="*/ 1 h 3"/>
                <a:gd name="T16" fmla="*/ 7 w 8"/>
                <a:gd name="T17" fmla="*/ 1 h 3"/>
                <a:gd name="T18" fmla="*/ 6 w 8"/>
                <a:gd name="T19" fmla="*/ 0 h 3"/>
                <a:gd name="T20" fmla="*/ 5 w 8"/>
                <a:gd name="T21" fmla="*/ 0 h 3"/>
                <a:gd name="T22" fmla="*/ 4 w 8"/>
                <a:gd name="T23" fmla="*/ 0 h 3"/>
                <a:gd name="T24" fmla="*/ 4 w 8"/>
                <a:gd name="T25" fmla="*/ 0 h 3"/>
                <a:gd name="T26" fmla="*/ 5 w 8"/>
                <a:gd name="T27" fmla="*/ 0 h 3"/>
                <a:gd name="T28" fmla="*/ 4 w 8"/>
                <a:gd name="T29" fmla="*/ 0 h 3"/>
                <a:gd name="T30" fmla="*/ 3 w 8"/>
                <a:gd name="T31" fmla="*/ 0 h 3"/>
                <a:gd name="T32" fmla="*/ 2 w 8"/>
                <a:gd name="T33" fmla="*/ 0 h 3"/>
                <a:gd name="T34" fmla="*/ 1 w 8"/>
                <a:gd name="T35" fmla="*/ 0 h 3"/>
                <a:gd name="T36" fmla="*/ 1 w 8"/>
                <a:gd name="T37" fmla="*/ 1 h 3"/>
                <a:gd name="T38" fmla="*/ 1 w 8"/>
                <a:gd name="T3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" h="3">
                  <a:moveTo>
                    <a:pt x="1" y="1"/>
                  </a:moveTo>
                  <a:cubicBezTo>
                    <a:pt x="2" y="2"/>
                    <a:pt x="3" y="2"/>
                    <a:pt x="4" y="3"/>
                  </a:cubicBezTo>
                  <a:cubicBezTo>
                    <a:pt x="4" y="3"/>
                    <a:pt x="5" y="3"/>
                    <a:pt x="5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8" y="2"/>
                    <a:pt x="8" y="2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0" y="0"/>
                    <a:pt x="1" y="1"/>
                  </a:cubicBezTo>
                  <a:cubicBezTo>
                    <a:pt x="1" y="1"/>
                    <a:pt x="0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53" name="Freeform 353">
              <a:extLst>
                <a:ext uri="{FF2B5EF4-FFF2-40B4-BE49-F238E27FC236}">
                  <a16:creationId xmlns:a16="http://schemas.microsoft.com/office/drawing/2014/main" id="{6BF7DE22-529E-4DA3-B0E4-13A120C14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3300" y="3163800"/>
              <a:ext cx="15299" cy="3825"/>
            </a:xfrm>
            <a:custGeom>
              <a:avLst/>
              <a:gdLst>
                <a:gd name="T0" fmla="*/ 4 w 12"/>
                <a:gd name="T1" fmla="*/ 1 h 2"/>
                <a:gd name="T2" fmla="*/ 5 w 12"/>
                <a:gd name="T3" fmla="*/ 1 h 2"/>
                <a:gd name="T4" fmla="*/ 3 w 12"/>
                <a:gd name="T5" fmla="*/ 1 h 2"/>
                <a:gd name="T6" fmla="*/ 3 w 12"/>
                <a:gd name="T7" fmla="*/ 1 h 2"/>
                <a:gd name="T8" fmla="*/ 5 w 12"/>
                <a:gd name="T9" fmla="*/ 2 h 2"/>
                <a:gd name="T10" fmla="*/ 6 w 12"/>
                <a:gd name="T11" fmla="*/ 2 h 2"/>
                <a:gd name="T12" fmla="*/ 8 w 12"/>
                <a:gd name="T13" fmla="*/ 2 h 2"/>
                <a:gd name="T14" fmla="*/ 9 w 12"/>
                <a:gd name="T15" fmla="*/ 2 h 2"/>
                <a:gd name="T16" fmla="*/ 10 w 12"/>
                <a:gd name="T17" fmla="*/ 1 h 2"/>
                <a:gd name="T18" fmla="*/ 11 w 12"/>
                <a:gd name="T19" fmla="*/ 1 h 2"/>
                <a:gd name="T20" fmla="*/ 12 w 12"/>
                <a:gd name="T21" fmla="*/ 0 h 2"/>
                <a:gd name="T22" fmla="*/ 12 w 12"/>
                <a:gd name="T23" fmla="*/ 0 h 2"/>
                <a:gd name="T24" fmla="*/ 11 w 12"/>
                <a:gd name="T25" fmla="*/ 0 h 2"/>
                <a:gd name="T26" fmla="*/ 8 w 12"/>
                <a:gd name="T27" fmla="*/ 0 h 2"/>
                <a:gd name="T28" fmla="*/ 7 w 12"/>
                <a:gd name="T29" fmla="*/ 0 h 2"/>
                <a:gd name="T30" fmla="*/ 6 w 12"/>
                <a:gd name="T31" fmla="*/ 0 h 2"/>
                <a:gd name="T32" fmla="*/ 5 w 12"/>
                <a:gd name="T33" fmla="*/ 0 h 2"/>
                <a:gd name="T34" fmla="*/ 4 w 12"/>
                <a:gd name="T35" fmla="*/ 0 h 2"/>
                <a:gd name="T36" fmla="*/ 3 w 12"/>
                <a:gd name="T37" fmla="*/ 0 h 2"/>
                <a:gd name="T38" fmla="*/ 3 w 12"/>
                <a:gd name="T39" fmla="*/ 0 h 2"/>
                <a:gd name="T40" fmla="*/ 2 w 12"/>
                <a:gd name="T41" fmla="*/ 0 h 2"/>
                <a:gd name="T42" fmla="*/ 1 w 12"/>
                <a:gd name="T43" fmla="*/ 0 h 2"/>
                <a:gd name="T44" fmla="*/ 0 w 12"/>
                <a:gd name="T45" fmla="*/ 0 h 2"/>
                <a:gd name="T46" fmla="*/ 2 w 12"/>
                <a:gd name="T47" fmla="*/ 1 h 2"/>
                <a:gd name="T48" fmla="*/ 4 w 12"/>
                <a:gd name="T4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" h="2">
                  <a:moveTo>
                    <a:pt x="4" y="1"/>
                  </a:moveTo>
                  <a:cubicBezTo>
                    <a:pt x="4" y="1"/>
                    <a:pt x="5" y="1"/>
                    <a:pt x="5" y="1"/>
                  </a:cubicBezTo>
                  <a:cubicBezTo>
                    <a:pt x="5" y="1"/>
                    <a:pt x="3" y="1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6" y="2"/>
                    <a:pt x="6" y="1"/>
                    <a:pt x="6" y="2"/>
                  </a:cubicBezTo>
                  <a:cubicBezTo>
                    <a:pt x="7" y="2"/>
                    <a:pt x="8" y="2"/>
                    <a:pt x="8" y="2"/>
                  </a:cubicBezTo>
                  <a:cubicBezTo>
                    <a:pt x="8" y="2"/>
                    <a:pt x="9" y="2"/>
                    <a:pt x="9" y="2"/>
                  </a:cubicBezTo>
                  <a:cubicBezTo>
                    <a:pt x="9" y="2"/>
                    <a:pt x="10" y="1"/>
                    <a:pt x="10" y="1"/>
                  </a:cubicBezTo>
                  <a:cubicBezTo>
                    <a:pt x="10" y="1"/>
                    <a:pt x="11" y="1"/>
                    <a:pt x="11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0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1"/>
                    <a:pt x="3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  <p:sp>
          <p:nvSpPr>
            <p:cNvPr id="454" name="Freeform 354">
              <a:extLst>
                <a:ext uri="{FF2B5EF4-FFF2-40B4-BE49-F238E27FC236}">
                  <a16:creationId xmlns:a16="http://schemas.microsoft.com/office/drawing/2014/main" id="{0D4C2FE3-5F3B-4790-B38F-47F95D8CD4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76762" y="3125552"/>
              <a:ext cx="392040" cy="392040"/>
            </a:xfrm>
            <a:custGeom>
              <a:avLst/>
              <a:gdLst>
                <a:gd name="T0" fmla="*/ 22 w 307"/>
                <a:gd name="T1" fmla="*/ 156 h 307"/>
                <a:gd name="T2" fmla="*/ 31 w 307"/>
                <a:gd name="T3" fmla="*/ 184 h 307"/>
                <a:gd name="T4" fmla="*/ 43 w 307"/>
                <a:gd name="T5" fmla="*/ 244 h 307"/>
                <a:gd name="T6" fmla="*/ 76 w 307"/>
                <a:gd name="T7" fmla="*/ 225 h 307"/>
                <a:gd name="T8" fmla="*/ 74 w 307"/>
                <a:gd name="T9" fmla="*/ 180 h 307"/>
                <a:gd name="T10" fmla="*/ 40 w 307"/>
                <a:gd name="T11" fmla="*/ 159 h 307"/>
                <a:gd name="T12" fmla="*/ 17 w 307"/>
                <a:gd name="T13" fmla="*/ 145 h 307"/>
                <a:gd name="T14" fmla="*/ 30 w 307"/>
                <a:gd name="T15" fmla="*/ 124 h 307"/>
                <a:gd name="T16" fmla="*/ 46 w 307"/>
                <a:gd name="T17" fmla="*/ 98 h 307"/>
                <a:gd name="T18" fmla="*/ 52 w 307"/>
                <a:gd name="T19" fmla="*/ 90 h 307"/>
                <a:gd name="T20" fmla="*/ 59 w 307"/>
                <a:gd name="T21" fmla="*/ 80 h 307"/>
                <a:gd name="T22" fmla="*/ 43 w 307"/>
                <a:gd name="T23" fmla="*/ 65 h 307"/>
                <a:gd name="T24" fmla="*/ 54 w 307"/>
                <a:gd name="T25" fmla="*/ 58 h 307"/>
                <a:gd name="T26" fmla="*/ 69 w 307"/>
                <a:gd name="T27" fmla="*/ 52 h 307"/>
                <a:gd name="T28" fmla="*/ 104 w 307"/>
                <a:gd name="T29" fmla="*/ 48 h 307"/>
                <a:gd name="T30" fmla="*/ 111 w 307"/>
                <a:gd name="T31" fmla="*/ 37 h 307"/>
                <a:gd name="T32" fmla="*/ 115 w 307"/>
                <a:gd name="T33" fmla="*/ 28 h 307"/>
                <a:gd name="T34" fmla="*/ 248 w 307"/>
                <a:gd name="T35" fmla="*/ 45 h 307"/>
                <a:gd name="T36" fmla="*/ 240 w 307"/>
                <a:gd name="T37" fmla="*/ 44 h 307"/>
                <a:gd name="T38" fmla="*/ 229 w 307"/>
                <a:gd name="T39" fmla="*/ 45 h 307"/>
                <a:gd name="T40" fmla="*/ 209 w 307"/>
                <a:gd name="T41" fmla="*/ 51 h 307"/>
                <a:gd name="T42" fmla="*/ 192 w 307"/>
                <a:gd name="T43" fmla="*/ 59 h 307"/>
                <a:gd name="T44" fmla="*/ 193 w 307"/>
                <a:gd name="T45" fmla="*/ 54 h 307"/>
                <a:gd name="T46" fmla="*/ 174 w 307"/>
                <a:gd name="T47" fmla="*/ 48 h 307"/>
                <a:gd name="T48" fmla="*/ 166 w 307"/>
                <a:gd name="T49" fmla="*/ 49 h 307"/>
                <a:gd name="T50" fmla="*/ 157 w 307"/>
                <a:gd name="T51" fmla="*/ 52 h 307"/>
                <a:gd name="T52" fmla="*/ 153 w 307"/>
                <a:gd name="T53" fmla="*/ 61 h 307"/>
                <a:gd name="T54" fmla="*/ 147 w 307"/>
                <a:gd name="T55" fmla="*/ 71 h 307"/>
                <a:gd name="T56" fmla="*/ 162 w 307"/>
                <a:gd name="T57" fmla="*/ 67 h 307"/>
                <a:gd name="T58" fmla="*/ 167 w 307"/>
                <a:gd name="T59" fmla="*/ 67 h 307"/>
                <a:gd name="T60" fmla="*/ 167 w 307"/>
                <a:gd name="T61" fmla="*/ 74 h 307"/>
                <a:gd name="T62" fmla="*/ 153 w 307"/>
                <a:gd name="T63" fmla="*/ 75 h 307"/>
                <a:gd name="T64" fmla="*/ 136 w 307"/>
                <a:gd name="T65" fmla="*/ 87 h 307"/>
                <a:gd name="T66" fmla="*/ 127 w 307"/>
                <a:gd name="T67" fmla="*/ 110 h 307"/>
                <a:gd name="T68" fmla="*/ 157 w 307"/>
                <a:gd name="T69" fmla="*/ 103 h 307"/>
                <a:gd name="T70" fmla="*/ 162 w 307"/>
                <a:gd name="T71" fmla="*/ 105 h 307"/>
                <a:gd name="T72" fmla="*/ 164 w 307"/>
                <a:gd name="T73" fmla="*/ 105 h 307"/>
                <a:gd name="T74" fmla="*/ 170 w 307"/>
                <a:gd name="T75" fmla="*/ 105 h 307"/>
                <a:gd name="T76" fmla="*/ 174 w 307"/>
                <a:gd name="T77" fmla="*/ 108 h 307"/>
                <a:gd name="T78" fmla="*/ 185 w 307"/>
                <a:gd name="T79" fmla="*/ 117 h 307"/>
                <a:gd name="T80" fmla="*/ 155 w 307"/>
                <a:gd name="T81" fmla="*/ 119 h 307"/>
                <a:gd name="T82" fmla="*/ 139 w 307"/>
                <a:gd name="T83" fmla="*/ 112 h 307"/>
                <a:gd name="T84" fmla="*/ 116 w 307"/>
                <a:gd name="T85" fmla="*/ 141 h 307"/>
                <a:gd name="T86" fmla="*/ 135 w 307"/>
                <a:gd name="T87" fmla="*/ 171 h 307"/>
                <a:gd name="T88" fmla="*/ 156 w 307"/>
                <a:gd name="T89" fmla="*/ 197 h 307"/>
                <a:gd name="T90" fmla="*/ 162 w 307"/>
                <a:gd name="T91" fmla="*/ 241 h 307"/>
                <a:gd name="T92" fmla="*/ 185 w 307"/>
                <a:gd name="T93" fmla="*/ 221 h 307"/>
                <a:gd name="T94" fmla="*/ 206 w 307"/>
                <a:gd name="T95" fmla="*/ 158 h 307"/>
                <a:gd name="T96" fmla="*/ 187 w 307"/>
                <a:gd name="T97" fmla="*/ 138 h 307"/>
                <a:gd name="T98" fmla="*/ 188 w 307"/>
                <a:gd name="T99" fmla="*/ 135 h 307"/>
                <a:gd name="T100" fmla="*/ 209 w 307"/>
                <a:gd name="T101" fmla="*/ 149 h 307"/>
                <a:gd name="T102" fmla="*/ 207 w 307"/>
                <a:gd name="T103" fmla="*/ 135 h 307"/>
                <a:gd name="T104" fmla="*/ 212 w 307"/>
                <a:gd name="T105" fmla="*/ 130 h 307"/>
                <a:gd name="T106" fmla="*/ 234 w 307"/>
                <a:gd name="T107" fmla="*/ 142 h 307"/>
                <a:gd name="T108" fmla="*/ 254 w 307"/>
                <a:gd name="T109" fmla="*/ 141 h 307"/>
                <a:gd name="T110" fmla="*/ 269 w 307"/>
                <a:gd name="T111" fmla="*/ 162 h 307"/>
                <a:gd name="T112" fmla="*/ 273 w 307"/>
                <a:gd name="T113" fmla="*/ 156 h 307"/>
                <a:gd name="T114" fmla="*/ 285 w 307"/>
                <a:gd name="T115" fmla="*/ 142 h 307"/>
                <a:gd name="T116" fmla="*/ 299 w 307"/>
                <a:gd name="T117" fmla="*/ 155 h 307"/>
                <a:gd name="T118" fmla="*/ 201 w 307"/>
                <a:gd name="T119" fmla="*/ 96 h 307"/>
                <a:gd name="T120" fmla="*/ 208 w 307"/>
                <a:gd name="T121" fmla="*/ 102 h 307"/>
                <a:gd name="T122" fmla="*/ 189 w 307"/>
                <a:gd name="T123" fmla="*/ 92 h 307"/>
                <a:gd name="T124" fmla="*/ 180 w 307"/>
                <a:gd name="T125" fmla="*/ 103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7" h="307">
                  <a:moveTo>
                    <a:pt x="153" y="0"/>
                  </a:moveTo>
                  <a:cubicBezTo>
                    <a:pt x="69" y="0"/>
                    <a:pt x="0" y="69"/>
                    <a:pt x="0" y="153"/>
                  </a:cubicBezTo>
                  <a:cubicBezTo>
                    <a:pt x="0" y="238"/>
                    <a:pt x="69" y="307"/>
                    <a:pt x="153" y="307"/>
                  </a:cubicBezTo>
                  <a:cubicBezTo>
                    <a:pt x="238" y="307"/>
                    <a:pt x="307" y="238"/>
                    <a:pt x="307" y="153"/>
                  </a:cubicBezTo>
                  <a:cubicBezTo>
                    <a:pt x="307" y="69"/>
                    <a:pt x="238" y="0"/>
                    <a:pt x="153" y="0"/>
                  </a:cubicBezTo>
                  <a:close/>
                  <a:moveTo>
                    <a:pt x="34" y="71"/>
                  </a:moveTo>
                  <a:cubicBezTo>
                    <a:pt x="34" y="71"/>
                    <a:pt x="35" y="71"/>
                    <a:pt x="35" y="71"/>
                  </a:cubicBezTo>
                  <a:cubicBezTo>
                    <a:pt x="35" y="71"/>
                    <a:pt x="36" y="72"/>
                    <a:pt x="36" y="72"/>
                  </a:cubicBezTo>
                  <a:cubicBezTo>
                    <a:pt x="37" y="73"/>
                    <a:pt x="36" y="73"/>
                    <a:pt x="37" y="74"/>
                  </a:cubicBezTo>
                  <a:cubicBezTo>
                    <a:pt x="37" y="74"/>
                    <a:pt x="37" y="74"/>
                    <a:pt x="37" y="75"/>
                  </a:cubicBezTo>
                  <a:cubicBezTo>
                    <a:pt x="37" y="75"/>
                    <a:pt x="36" y="75"/>
                    <a:pt x="35" y="76"/>
                  </a:cubicBezTo>
                  <a:cubicBezTo>
                    <a:pt x="35" y="76"/>
                    <a:pt x="34" y="77"/>
                    <a:pt x="33" y="77"/>
                  </a:cubicBezTo>
                  <a:cubicBezTo>
                    <a:pt x="33" y="78"/>
                    <a:pt x="33" y="77"/>
                    <a:pt x="32" y="78"/>
                  </a:cubicBezTo>
                  <a:cubicBezTo>
                    <a:pt x="32" y="78"/>
                    <a:pt x="32" y="78"/>
                    <a:pt x="33" y="79"/>
                  </a:cubicBezTo>
                  <a:cubicBezTo>
                    <a:pt x="33" y="79"/>
                    <a:pt x="33" y="80"/>
                    <a:pt x="33" y="81"/>
                  </a:cubicBezTo>
                  <a:cubicBezTo>
                    <a:pt x="34" y="82"/>
                    <a:pt x="33" y="82"/>
                    <a:pt x="33" y="83"/>
                  </a:cubicBezTo>
                  <a:cubicBezTo>
                    <a:pt x="33" y="83"/>
                    <a:pt x="33" y="83"/>
                    <a:pt x="32" y="83"/>
                  </a:cubicBezTo>
                  <a:cubicBezTo>
                    <a:pt x="32" y="84"/>
                    <a:pt x="32" y="84"/>
                    <a:pt x="32" y="83"/>
                  </a:cubicBezTo>
                  <a:cubicBezTo>
                    <a:pt x="31" y="83"/>
                    <a:pt x="31" y="82"/>
                    <a:pt x="30" y="82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0" y="81"/>
                    <a:pt x="31" y="82"/>
                    <a:pt x="31" y="82"/>
                  </a:cubicBezTo>
                  <a:cubicBezTo>
                    <a:pt x="31" y="82"/>
                    <a:pt x="31" y="81"/>
                    <a:pt x="31" y="81"/>
                  </a:cubicBezTo>
                  <a:cubicBezTo>
                    <a:pt x="31" y="81"/>
                    <a:pt x="30" y="80"/>
                    <a:pt x="30" y="80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29" y="80"/>
                    <a:pt x="29" y="79"/>
                    <a:pt x="29" y="79"/>
                  </a:cubicBezTo>
                  <a:cubicBezTo>
                    <a:pt x="30" y="76"/>
                    <a:pt x="32" y="73"/>
                    <a:pt x="34" y="70"/>
                  </a:cubicBezTo>
                  <a:cubicBezTo>
                    <a:pt x="34" y="71"/>
                    <a:pt x="34" y="71"/>
                    <a:pt x="34" y="71"/>
                  </a:cubicBezTo>
                  <a:close/>
                  <a:moveTo>
                    <a:pt x="8" y="150"/>
                  </a:moveTo>
                  <a:cubicBezTo>
                    <a:pt x="8" y="150"/>
                    <a:pt x="9" y="150"/>
                    <a:pt x="9" y="150"/>
                  </a:cubicBezTo>
                  <a:cubicBezTo>
                    <a:pt x="9" y="150"/>
                    <a:pt x="10" y="150"/>
                    <a:pt x="10" y="150"/>
                  </a:cubicBezTo>
                  <a:cubicBezTo>
                    <a:pt x="11" y="150"/>
                    <a:pt x="11" y="150"/>
                    <a:pt x="11" y="150"/>
                  </a:cubicBezTo>
                  <a:cubicBezTo>
                    <a:pt x="11" y="150"/>
                    <a:pt x="12" y="150"/>
                    <a:pt x="12" y="150"/>
                  </a:cubicBezTo>
                  <a:cubicBezTo>
                    <a:pt x="12" y="150"/>
                    <a:pt x="12" y="150"/>
                    <a:pt x="13" y="150"/>
                  </a:cubicBezTo>
                  <a:cubicBezTo>
                    <a:pt x="13" y="150"/>
                    <a:pt x="13" y="150"/>
                    <a:pt x="14" y="150"/>
                  </a:cubicBezTo>
                  <a:cubicBezTo>
                    <a:pt x="14" y="151"/>
                    <a:pt x="14" y="151"/>
                    <a:pt x="15" y="152"/>
                  </a:cubicBezTo>
                  <a:cubicBezTo>
                    <a:pt x="15" y="152"/>
                    <a:pt x="16" y="154"/>
                    <a:pt x="16" y="154"/>
                  </a:cubicBezTo>
                  <a:cubicBezTo>
                    <a:pt x="16" y="154"/>
                    <a:pt x="17" y="154"/>
                    <a:pt x="18" y="154"/>
                  </a:cubicBezTo>
                  <a:cubicBezTo>
                    <a:pt x="18" y="154"/>
                    <a:pt x="18" y="154"/>
                    <a:pt x="19" y="154"/>
                  </a:cubicBezTo>
                  <a:cubicBezTo>
                    <a:pt x="19" y="154"/>
                    <a:pt x="19" y="155"/>
                    <a:pt x="20" y="155"/>
                  </a:cubicBezTo>
                  <a:cubicBezTo>
                    <a:pt x="20" y="155"/>
                    <a:pt x="20" y="155"/>
                    <a:pt x="21" y="155"/>
                  </a:cubicBezTo>
                  <a:cubicBezTo>
                    <a:pt x="21" y="155"/>
                    <a:pt x="21" y="155"/>
                    <a:pt x="21" y="155"/>
                  </a:cubicBezTo>
                  <a:cubicBezTo>
                    <a:pt x="22" y="155"/>
                    <a:pt x="22" y="155"/>
                    <a:pt x="22" y="155"/>
                  </a:cubicBezTo>
                  <a:cubicBezTo>
                    <a:pt x="22" y="155"/>
                    <a:pt x="22" y="156"/>
                    <a:pt x="22" y="156"/>
                  </a:cubicBezTo>
                  <a:cubicBezTo>
                    <a:pt x="22" y="156"/>
                    <a:pt x="22" y="156"/>
                    <a:pt x="22" y="157"/>
                  </a:cubicBezTo>
                  <a:cubicBezTo>
                    <a:pt x="23" y="157"/>
                    <a:pt x="24" y="158"/>
                    <a:pt x="24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4" y="160"/>
                    <a:pt x="24" y="160"/>
                    <a:pt x="24" y="161"/>
                  </a:cubicBezTo>
                  <a:cubicBezTo>
                    <a:pt x="24" y="161"/>
                    <a:pt x="25" y="161"/>
                    <a:pt x="25" y="162"/>
                  </a:cubicBezTo>
                  <a:cubicBezTo>
                    <a:pt x="25" y="162"/>
                    <a:pt x="25" y="161"/>
                    <a:pt x="25" y="161"/>
                  </a:cubicBezTo>
                  <a:cubicBezTo>
                    <a:pt x="25" y="161"/>
                    <a:pt x="26" y="161"/>
                    <a:pt x="26" y="162"/>
                  </a:cubicBezTo>
                  <a:cubicBezTo>
                    <a:pt x="26" y="162"/>
                    <a:pt x="26" y="162"/>
                    <a:pt x="26" y="162"/>
                  </a:cubicBezTo>
                  <a:cubicBezTo>
                    <a:pt x="27" y="163"/>
                    <a:pt x="27" y="163"/>
                    <a:pt x="27" y="163"/>
                  </a:cubicBezTo>
                  <a:cubicBezTo>
                    <a:pt x="27" y="164"/>
                    <a:pt x="27" y="164"/>
                    <a:pt x="27" y="164"/>
                  </a:cubicBezTo>
                  <a:cubicBezTo>
                    <a:pt x="28" y="164"/>
                    <a:pt x="28" y="164"/>
                    <a:pt x="28" y="165"/>
                  </a:cubicBezTo>
                  <a:cubicBezTo>
                    <a:pt x="28" y="165"/>
                    <a:pt x="29" y="165"/>
                    <a:pt x="29" y="165"/>
                  </a:cubicBezTo>
                  <a:cubicBezTo>
                    <a:pt x="29" y="165"/>
                    <a:pt x="30" y="165"/>
                    <a:pt x="30" y="165"/>
                  </a:cubicBezTo>
                  <a:cubicBezTo>
                    <a:pt x="30" y="166"/>
                    <a:pt x="30" y="166"/>
                    <a:pt x="30" y="166"/>
                  </a:cubicBezTo>
                  <a:cubicBezTo>
                    <a:pt x="31" y="166"/>
                    <a:pt x="31" y="166"/>
                    <a:pt x="31" y="166"/>
                  </a:cubicBezTo>
                  <a:cubicBezTo>
                    <a:pt x="31" y="166"/>
                    <a:pt x="31" y="166"/>
                    <a:pt x="31" y="166"/>
                  </a:cubicBezTo>
                  <a:cubicBezTo>
                    <a:pt x="31" y="166"/>
                    <a:pt x="32" y="166"/>
                    <a:pt x="32" y="166"/>
                  </a:cubicBezTo>
                  <a:cubicBezTo>
                    <a:pt x="32" y="165"/>
                    <a:pt x="32" y="165"/>
                    <a:pt x="32" y="165"/>
                  </a:cubicBezTo>
                  <a:cubicBezTo>
                    <a:pt x="32" y="164"/>
                    <a:pt x="32" y="164"/>
                    <a:pt x="32" y="164"/>
                  </a:cubicBezTo>
                  <a:cubicBezTo>
                    <a:pt x="32" y="164"/>
                    <a:pt x="32" y="164"/>
                    <a:pt x="32" y="164"/>
                  </a:cubicBezTo>
                  <a:cubicBezTo>
                    <a:pt x="32" y="163"/>
                    <a:pt x="33" y="163"/>
                    <a:pt x="33" y="163"/>
                  </a:cubicBezTo>
                  <a:cubicBezTo>
                    <a:pt x="33" y="163"/>
                    <a:pt x="33" y="163"/>
                    <a:pt x="33" y="163"/>
                  </a:cubicBezTo>
                  <a:cubicBezTo>
                    <a:pt x="33" y="164"/>
                    <a:pt x="34" y="164"/>
                    <a:pt x="34" y="164"/>
                  </a:cubicBezTo>
                  <a:cubicBezTo>
                    <a:pt x="34" y="165"/>
                    <a:pt x="34" y="165"/>
                    <a:pt x="34" y="166"/>
                  </a:cubicBezTo>
                  <a:cubicBezTo>
                    <a:pt x="34" y="166"/>
                    <a:pt x="35" y="166"/>
                    <a:pt x="35" y="167"/>
                  </a:cubicBezTo>
                  <a:cubicBezTo>
                    <a:pt x="35" y="167"/>
                    <a:pt x="35" y="167"/>
                    <a:pt x="35" y="168"/>
                  </a:cubicBezTo>
                  <a:cubicBezTo>
                    <a:pt x="36" y="168"/>
                    <a:pt x="35" y="168"/>
                    <a:pt x="35" y="168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69"/>
                    <a:pt x="35" y="170"/>
                    <a:pt x="35" y="170"/>
                  </a:cubicBezTo>
                  <a:cubicBezTo>
                    <a:pt x="36" y="171"/>
                    <a:pt x="35" y="171"/>
                    <a:pt x="35" y="172"/>
                  </a:cubicBezTo>
                  <a:cubicBezTo>
                    <a:pt x="35" y="172"/>
                    <a:pt x="35" y="172"/>
                    <a:pt x="35" y="173"/>
                  </a:cubicBezTo>
                  <a:cubicBezTo>
                    <a:pt x="36" y="173"/>
                    <a:pt x="36" y="173"/>
                    <a:pt x="35" y="174"/>
                  </a:cubicBezTo>
                  <a:cubicBezTo>
                    <a:pt x="35" y="174"/>
                    <a:pt x="35" y="174"/>
                    <a:pt x="35" y="175"/>
                  </a:cubicBezTo>
                  <a:cubicBezTo>
                    <a:pt x="34" y="175"/>
                    <a:pt x="34" y="176"/>
                    <a:pt x="34" y="176"/>
                  </a:cubicBezTo>
                  <a:cubicBezTo>
                    <a:pt x="34" y="177"/>
                    <a:pt x="34" y="177"/>
                    <a:pt x="33" y="177"/>
                  </a:cubicBezTo>
                  <a:cubicBezTo>
                    <a:pt x="33" y="177"/>
                    <a:pt x="33" y="177"/>
                    <a:pt x="33" y="177"/>
                  </a:cubicBezTo>
                  <a:cubicBezTo>
                    <a:pt x="33" y="177"/>
                    <a:pt x="33" y="178"/>
                    <a:pt x="33" y="178"/>
                  </a:cubicBezTo>
                  <a:cubicBezTo>
                    <a:pt x="32" y="178"/>
                    <a:pt x="32" y="179"/>
                    <a:pt x="32" y="179"/>
                  </a:cubicBezTo>
                  <a:cubicBezTo>
                    <a:pt x="32" y="179"/>
                    <a:pt x="32" y="179"/>
                    <a:pt x="32" y="180"/>
                  </a:cubicBezTo>
                  <a:cubicBezTo>
                    <a:pt x="32" y="180"/>
                    <a:pt x="31" y="180"/>
                    <a:pt x="31" y="181"/>
                  </a:cubicBezTo>
                  <a:cubicBezTo>
                    <a:pt x="31" y="181"/>
                    <a:pt x="31" y="181"/>
                    <a:pt x="31" y="182"/>
                  </a:cubicBezTo>
                  <a:cubicBezTo>
                    <a:pt x="31" y="182"/>
                    <a:pt x="31" y="182"/>
                    <a:pt x="31" y="183"/>
                  </a:cubicBezTo>
                  <a:cubicBezTo>
                    <a:pt x="31" y="183"/>
                    <a:pt x="31" y="183"/>
                    <a:pt x="31" y="184"/>
                  </a:cubicBezTo>
                  <a:cubicBezTo>
                    <a:pt x="31" y="184"/>
                    <a:pt x="31" y="184"/>
                    <a:pt x="31" y="185"/>
                  </a:cubicBezTo>
                  <a:cubicBezTo>
                    <a:pt x="32" y="186"/>
                    <a:pt x="32" y="185"/>
                    <a:pt x="32" y="185"/>
                  </a:cubicBezTo>
                  <a:cubicBezTo>
                    <a:pt x="32" y="185"/>
                    <a:pt x="32" y="186"/>
                    <a:pt x="32" y="186"/>
                  </a:cubicBezTo>
                  <a:cubicBezTo>
                    <a:pt x="32" y="186"/>
                    <a:pt x="31" y="186"/>
                    <a:pt x="31" y="187"/>
                  </a:cubicBezTo>
                  <a:cubicBezTo>
                    <a:pt x="31" y="187"/>
                    <a:pt x="31" y="187"/>
                    <a:pt x="30" y="188"/>
                  </a:cubicBezTo>
                  <a:cubicBezTo>
                    <a:pt x="30" y="188"/>
                    <a:pt x="30" y="188"/>
                    <a:pt x="30" y="189"/>
                  </a:cubicBezTo>
                  <a:cubicBezTo>
                    <a:pt x="30" y="189"/>
                    <a:pt x="30" y="189"/>
                    <a:pt x="30" y="190"/>
                  </a:cubicBezTo>
                  <a:cubicBezTo>
                    <a:pt x="30" y="191"/>
                    <a:pt x="31" y="190"/>
                    <a:pt x="31" y="191"/>
                  </a:cubicBezTo>
                  <a:cubicBezTo>
                    <a:pt x="31" y="191"/>
                    <a:pt x="31" y="191"/>
                    <a:pt x="30" y="191"/>
                  </a:cubicBezTo>
                  <a:cubicBezTo>
                    <a:pt x="30" y="191"/>
                    <a:pt x="30" y="191"/>
                    <a:pt x="31" y="192"/>
                  </a:cubicBezTo>
                  <a:cubicBezTo>
                    <a:pt x="31" y="192"/>
                    <a:pt x="31" y="192"/>
                    <a:pt x="32" y="193"/>
                  </a:cubicBezTo>
                  <a:cubicBezTo>
                    <a:pt x="32" y="193"/>
                    <a:pt x="32" y="193"/>
                    <a:pt x="32" y="194"/>
                  </a:cubicBezTo>
                  <a:cubicBezTo>
                    <a:pt x="33" y="194"/>
                    <a:pt x="33" y="196"/>
                    <a:pt x="34" y="197"/>
                  </a:cubicBezTo>
                  <a:cubicBezTo>
                    <a:pt x="34" y="198"/>
                    <a:pt x="35" y="200"/>
                    <a:pt x="35" y="200"/>
                  </a:cubicBezTo>
                  <a:cubicBezTo>
                    <a:pt x="35" y="201"/>
                    <a:pt x="36" y="202"/>
                    <a:pt x="36" y="203"/>
                  </a:cubicBezTo>
                  <a:cubicBezTo>
                    <a:pt x="36" y="203"/>
                    <a:pt x="36" y="205"/>
                    <a:pt x="37" y="205"/>
                  </a:cubicBezTo>
                  <a:cubicBezTo>
                    <a:pt x="37" y="205"/>
                    <a:pt x="37" y="206"/>
                    <a:pt x="37" y="206"/>
                  </a:cubicBezTo>
                  <a:cubicBezTo>
                    <a:pt x="37" y="206"/>
                    <a:pt x="37" y="206"/>
                    <a:pt x="37" y="207"/>
                  </a:cubicBezTo>
                  <a:cubicBezTo>
                    <a:pt x="37" y="208"/>
                    <a:pt x="38" y="208"/>
                    <a:pt x="38" y="209"/>
                  </a:cubicBezTo>
                  <a:cubicBezTo>
                    <a:pt x="38" y="209"/>
                    <a:pt x="39" y="209"/>
                    <a:pt x="39" y="209"/>
                  </a:cubicBezTo>
                  <a:cubicBezTo>
                    <a:pt x="40" y="210"/>
                    <a:pt x="40" y="210"/>
                    <a:pt x="41" y="211"/>
                  </a:cubicBezTo>
                  <a:cubicBezTo>
                    <a:pt x="41" y="211"/>
                    <a:pt x="42" y="212"/>
                    <a:pt x="43" y="212"/>
                  </a:cubicBezTo>
                  <a:cubicBezTo>
                    <a:pt x="43" y="212"/>
                    <a:pt x="43" y="213"/>
                    <a:pt x="44" y="213"/>
                  </a:cubicBezTo>
                  <a:cubicBezTo>
                    <a:pt x="44" y="213"/>
                    <a:pt x="44" y="214"/>
                    <a:pt x="45" y="214"/>
                  </a:cubicBezTo>
                  <a:cubicBezTo>
                    <a:pt x="45" y="214"/>
                    <a:pt x="45" y="215"/>
                    <a:pt x="45" y="215"/>
                  </a:cubicBezTo>
                  <a:cubicBezTo>
                    <a:pt x="45" y="216"/>
                    <a:pt x="45" y="217"/>
                    <a:pt x="45" y="218"/>
                  </a:cubicBezTo>
                  <a:cubicBezTo>
                    <a:pt x="45" y="219"/>
                    <a:pt x="45" y="219"/>
                    <a:pt x="45" y="220"/>
                  </a:cubicBezTo>
                  <a:cubicBezTo>
                    <a:pt x="45" y="220"/>
                    <a:pt x="45" y="222"/>
                    <a:pt x="45" y="222"/>
                  </a:cubicBezTo>
                  <a:cubicBezTo>
                    <a:pt x="45" y="222"/>
                    <a:pt x="45" y="223"/>
                    <a:pt x="45" y="223"/>
                  </a:cubicBezTo>
                  <a:cubicBezTo>
                    <a:pt x="44" y="223"/>
                    <a:pt x="44" y="224"/>
                    <a:pt x="45" y="224"/>
                  </a:cubicBezTo>
                  <a:cubicBezTo>
                    <a:pt x="45" y="224"/>
                    <a:pt x="45" y="224"/>
                    <a:pt x="45" y="225"/>
                  </a:cubicBezTo>
                  <a:cubicBezTo>
                    <a:pt x="44" y="226"/>
                    <a:pt x="45" y="226"/>
                    <a:pt x="45" y="227"/>
                  </a:cubicBezTo>
                  <a:cubicBezTo>
                    <a:pt x="45" y="228"/>
                    <a:pt x="45" y="228"/>
                    <a:pt x="44" y="228"/>
                  </a:cubicBezTo>
                  <a:cubicBezTo>
                    <a:pt x="44" y="228"/>
                    <a:pt x="44" y="229"/>
                    <a:pt x="44" y="230"/>
                  </a:cubicBezTo>
                  <a:cubicBezTo>
                    <a:pt x="44" y="231"/>
                    <a:pt x="44" y="231"/>
                    <a:pt x="44" y="231"/>
                  </a:cubicBezTo>
                  <a:cubicBezTo>
                    <a:pt x="44" y="232"/>
                    <a:pt x="44" y="232"/>
                    <a:pt x="44" y="233"/>
                  </a:cubicBezTo>
                  <a:cubicBezTo>
                    <a:pt x="44" y="233"/>
                    <a:pt x="43" y="234"/>
                    <a:pt x="43" y="234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4" y="235"/>
                    <a:pt x="43" y="236"/>
                    <a:pt x="43" y="236"/>
                  </a:cubicBezTo>
                  <a:cubicBezTo>
                    <a:pt x="43" y="236"/>
                    <a:pt x="43" y="237"/>
                    <a:pt x="43" y="238"/>
                  </a:cubicBezTo>
                  <a:cubicBezTo>
                    <a:pt x="43" y="239"/>
                    <a:pt x="43" y="240"/>
                    <a:pt x="43" y="241"/>
                  </a:cubicBezTo>
                  <a:cubicBezTo>
                    <a:pt x="43" y="241"/>
                    <a:pt x="43" y="242"/>
                    <a:pt x="43" y="243"/>
                  </a:cubicBezTo>
                  <a:cubicBezTo>
                    <a:pt x="43" y="243"/>
                    <a:pt x="43" y="244"/>
                    <a:pt x="43" y="244"/>
                  </a:cubicBezTo>
                  <a:cubicBezTo>
                    <a:pt x="42" y="244"/>
                    <a:pt x="42" y="245"/>
                    <a:pt x="42" y="246"/>
                  </a:cubicBezTo>
                  <a:cubicBezTo>
                    <a:pt x="42" y="246"/>
                    <a:pt x="42" y="246"/>
                    <a:pt x="42" y="246"/>
                  </a:cubicBezTo>
                  <a:cubicBezTo>
                    <a:pt x="21" y="221"/>
                    <a:pt x="8" y="189"/>
                    <a:pt x="8" y="153"/>
                  </a:cubicBezTo>
                  <a:cubicBezTo>
                    <a:pt x="8" y="152"/>
                    <a:pt x="8" y="151"/>
                    <a:pt x="8" y="150"/>
                  </a:cubicBezTo>
                  <a:close/>
                  <a:moveTo>
                    <a:pt x="153" y="299"/>
                  </a:moveTo>
                  <a:cubicBezTo>
                    <a:pt x="114" y="299"/>
                    <a:pt x="78" y="283"/>
                    <a:pt x="52" y="257"/>
                  </a:cubicBezTo>
                  <a:cubicBezTo>
                    <a:pt x="52" y="257"/>
                    <a:pt x="52" y="257"/>
                    <a:pt x="52" y="257"/>
                  </a:cubicBezTo>
                  <a:cubicBezTo>
                    <a:pt x="52" y="256"/>
                    <a:pt x="52" y="256"/>
                    <a:pt x="52" y="256"/>
                  </a:cubicBezTo>
                  <a:cubicBezTo>
                    <a:pt x="52" y="257"/>
                    <a:pt x="53" y="257"/>
                    <a:pt x="54" y="257"/>
                  </a:cubicBezTo>
                  <a:cubicBezTo>
                    <a:pt x="54" y="257"/>
                    <a:pt x="55" y="257"/>
                    <a:pt x="55" y="256"/>
                  </a:cubicBezTo>
                  <a:cubicBezTo>
                    <a:pt x="55" y="256"/>
                    <a:pt x="56" y="256"/>
                    <a:pt x="56" y="255"/>
                  </a:cubicBezTo>
                  <a:cubicBezTo>
                    <a:pt x="56" y="255"/>
                    <a:pt x="56" y="254"/>
                    <a:pt x="56" y="254"/>
                  </a:cubicBezTo>
                  <a:cubicBezTo>
                    <a:pt x="56" y="254"/>
                    <a:pt x="56" y="253"/>
                    <a:pt x="56" y="253"/>
                  </a:cubicBezTo>
                  <a:cubicBezTo>
                    <a:pt x="57" y="253"/>
                    <a:pt x="57" y="253"/>
                    <a:pt x="58" y="253"/>
                  </a:cubicBezTo>
                  <a:cubicBezTo>
                    <a:pt x="58" y="253"/>
                    <a:pt x="59" y="253"/>
                    <a:pt x="59" y="252"/>
                  </a:cubicBezTo>
                  <a:cubicBezTo>
                    <a:pt x="59" y="252"/>
                    <a:pt x="60" y="252"/>
                    <a:pt x="60" y="252"/>
                  </a:cubicBezTo>
                  <a:cubicBezTo>
                    <a:pt x="60" y="252"/>
                    <a:pt x="61" y="252"/>
                    <a:pt x="61" y="252"/>
                  </a:cubicBezTo>
                  <a:cubicBezTo>
                    <a:pt x="62" y="251"/>
                    <a:pt x="62" y="251"/>
                    <a:pt x="62" y="250"/>
                  </a:cubicBezTo>
                  <a:cubicBezTo>
                    <a:pt x="62" y="250"/>
                    <a:pt x="63" y="250"/>
                    <a:pt x="63" y="249"/>
                  </a:cubicBezTo>
                  <a:cubicBezTo>
                    <a:pt x="63" y="249"/>
                    <a:pt x="63" y="249"/>
                    <a:pt x="63" y="248"/>
                  </a:cubicBezTo>
                  <a:cubicBezTo>
                    <a:pt x="63" y="248"/>
                    <a:pt x="63" y="248"/>
                    <a:pt x="63" y="248"/>
                  </a:cubicBezTo>
                  <a:cubicBezTo>
                    <a:pt x="62" y="248"/>
                    <a:pt x="62" y="247"/>
                    <a:pt x="62" y="247"/>
                  </a:cubicBezTo>
                  <a:cubicBezTo>
                    <a:pt x="62" y="247"/>
                    <a:pt x="62" y="247"/>
                    <a:pt x="63" y="247"/>
                  </a:cubicBezTo>
                  <a:cubicBezTo>
                    <a:pt x="63" y="246"/>
                    <a:pt x="63" y="246"/>
                    <a:pt x="63" y="246"/>
                  </a:cubicBezTo>
                  <a:cubicBezTo>
                    <a:pt x="63" y="246"/>
                    <a:pt x="63" y="245"/>
                    <a:pt x="64" y="245"/>
                  </a:cubicBezTo>
                  <a:cubicBezTo>
                    <a:pt x="64" y="245"/>
                    <a:pt x="64" y="245"/>
                    <a:pt x="64" y="245"/>
                  </a:cubicBezTo>
                  <a:cubicBezTo>
                    <a:pt x="65" y="245"/>
                    <a:pt x="65" y="245"/>
                    <a:pt x="66" y="245"/>
                  </a:cubicBezTo>
                  <a:cubicBezTo>
                    <a:pt x="66" y="245"/>
                    <a:pt x="66" y="244"/>
                    <a:pt x="67" y="244"/>
                  </a:cubicBezTo>
                  <a:cubicBezTo>
                    <a:pt x="67" y="244"/>
                    <a:pt x="68" y="243"/>
                    <a:pt x="68" y="243"/>
                  </a:cubicBezTo>
                  <a:cubicBezTo>
                    <a:pt x="68" y="242"/>
                    <a:pt x="68" y="241"/>
                    <a:pt x="69" y="241"/>
                  </a:cubicBezTo>
                  <a:cubicBezTo>
                    <a:pt x="69" y="240"/>
                    <a:pt x="69" y="240"/>
                    <a:pt x="69" y="239"/>
                  </a:cubicBezTo>
                  <a:cubicBezTo>
                    <a:pt x="69" y="239"/>
                    <a:pt x="70" y="239"/>
                    <a:pt x="70" y="239"/>
                  </a:cubicBezTo>
                  <a:cubicBezTo>
                    <a:pt x="70" y="239"/>
                    <a:pt x="70" y="239"/>
                    <a:pt x="70" y="239"/>
                  </a:cubicBezTo>
                  <a:cubicBezTo>
                    <a:pt x="71" y="238"/>
                    <a:pt x="71" y="238"/>
                    <a:pt x="71" y="237"/>
                  </a:cubicBezTo>
                  <a:cubicBezTo>
                    <a:pt x="71" y="237"/>
                    <a:pt x="71" y="237"/>
                    <a:pt x="72" y="236"/>
                  </a:cubicBezTo>
                  <a:cubicBezTo>
                    <a:pt x="72" y="235"/>
                    <a:pt x="72" y="234"/>
                    <a:pt x="73" y="234"/>
                  </a:cubicBezTo>
                  <a:cubicBezTo>
                    <a:pt x="73" y="234"/>
                    <a:pt x="73" y="233"/>
                    <a:pt x="73" y="233"/>
                  </a:cubicBezTo>
                  <a:cubicBezTo>
                    <a:pt x="73" y="233"/>
                    <a:pt x="74" y="232"/>
                    <a:pt x="74" y="231"/>
                  </a:cubicBezTo>
                  <a:cubicBezTo>
                    <a:pt x="74" y="231"/>
                    <a:pt x="74" y="231"/>
                    <a:pt x="74" y="230"/>
                  </a:cubicBezTo>
                  <a:cubicBezTo>
                    <a:pt x="74" y="230"/>
                    <a:pt x="74" y="228"/>
                    <a:pt x="74" y="228"/>
                  </a:cubicBezTo>
                  <a:cubicBezTo>
                    <a:pt x="74" y="227"/>
                    <a:pt x="74" y="227"/>
                    <a:pt x="74" y="227"/>
                  </a:cubicBezTo>
                  <a:cubicBezTo>
                    <a:pt x="75" y="227"/>
                    <a:pt x="75" y="226"/>
                    <a:pt x="75" y="226"/>
                  </a:cubicBezTo>
                  <a:cubicBezTo>
                    <a:pt x="75" y="226"/>
                    <a:pt x="76" y="226"/>
                    <a:pt x="76" y="225"/>
                  </a:cubicBezTo>
                  <a:cubicBezTo>
                    <a:pt x="76" y="224"/>
                    <a:pt x="77" y="225"/>
                    <a:pt x="77" y="225"/>
                  </a:cubicBezTo>
                  <a:cubicBezTo>
                    <a:pt x="77" y="225"/>
                    <a:pt x="78" y="224"/>
                    <a:pt x="78" y="224"/>
                  </a:cubicBezTo>
                  <a:cubicBezTo>
                    <a:pt x="78" y="224"/>
                    <a:pt x="78" y="224"/>
                    <a:pt x="78" y="224"/>
                  </a:cubicBezTo>
                  <a:cubicBezTo>
                    <a:pt x="79" y="223"/>
                    <a:pt x="79" y="223"/>
                    <a:pt x="79" y="223"/>
                  </a:cubicBezTo>
                  <a:cubicBezTo>
                    <a:pt x="79" y="223"/>
                    <a:pt x="79" y="223"/>
                    <a:pt x="79" y="223"/>
                  </a:cubicBezTo>
                  <a:cubicBezTo>
                    <a:pt x="80" y="223"/>
                    <a:pt x="80" y="223"/>
                    <a:pt x="80" y="223"/>
                  </a:cubicBezTo>
                  <a:cubicBezTo>
                    <a:pt x="80" y="223"/>
                    <a:pt x="81" y="223"/>
                    <a:pt x="81" y="223"/>
                  </a:cubicBezTo>
                  <a:cubicBezTo>
                    <a:pt x="81" y="223"/>
                    <a:pt x="82" y="223"/>
                    <a:pt x="82" y="223"/>
                  </a:cubicBezTo>
                  <a:cubicBezTo>
                    <a:pt x="82" y="223"/>
                    <a:pt x="82" y="222"/>
                    <a:pt x="82" y="222"/>
                  </a:cubicBezTo>
                  <a:cubicBezTo>
                    <a:pt x="82" y="222"/>
                    <a:pt x="83" y="222"/>
                    <a:pt x="83" y="222"/>
                  </a:cubicBezTo>
                  <a:cubicBezTo>
                    <a:pt x="83" y="221"/>
                    <a:pt x="84" y="221"/>
                    <a:pt x="84" y="221"/>
                  </a:cubicBezTo>
                  <a:cubicBezTo>
                    <a:pt x="84" y="221"/>
                    <a:pt x="84" y="220"/>
                    <a:pt x="84" y="219"/>
                  </a:cubicBezTo>
                  <a:cubicBezTo>
                    <a:pt x="85" y="219"/>
                    <a:pt x="85" y="218"/>
                    <a:pt x="85" y="218"/>
                  </a:cubicBezTo>
                  <a:cubicBezTo>
                    <a:pt x="85" y="217"/>
                    <a:pt x="85" y="217"/>
                    <a:pt x="85" y="216"/>
                  </a:cubicBezTo>
                  <a:cubicBezTo>
                    <a:pt x="86" y="216"/>
                    <a:pt x="85" y="215"/>
                    <a:pt x="85" y="214"/>
                  </a:cubicBezTo>
                  <a:cubicBezTo>
                    <a:pt x="86" y="214"/>
                    <a:pt x="86" y="213"/>
                    <a:pt x="86" y="213"/>
                  </a:cubicBezTo>
                  <a:cubicBezTo>
                    <a:pt x="86" y="213"/>
                    <a:pt x="86" y="212"/>
                    <a:pt x="86" y="212"/>
                  </a:cubicBezTo>
                  <a:cubicBezTo>
                    <a:pt x="86" y="211"/>
                    <a:pt x="86" y="211"/>
                    <a:pt x="86" y="210"/>
                  </a:cubicBezTo>
                  <a:cubicBezTo>
                    <a:pt x="87" y="210"/>
                    <a:pt x="86" y="209"/>
                    <a:pt x="86" y="209"/>
                  </a:cubicBezTo>
                  <a:cubicBezTo>
                    <a:pt x="86" y="208"/>
                    <a:pt x="86" y="207"/>
                    <a:pt x="86" y="206"/>
                  </a:cubicBezTo>
                  <a:cubicBezTo>
                    <a:pt x="86" y="206"/>
                    <a:pt x="86" y="205"/>
                    <a:pt x="87" y="204"/>
                  </a:cubicBezTo>
                  <a:cubicBezTo>
                    <a:pt x="87" y="204"/>
                    <a:pt x="87" y="204"/>
                    <a:pt x="87" y="204"/>
                  </a:cubicBezTo>
                  <a:cubicBezTo>
                    <a:pt x="87" y="204"/>
                    <a:pt x="87" y="204"/>
                    <a:pt x="88" y="204"/>
                  </a:cubicBezTo>
                  <a:cubicBezTo>
                    <a:pt x="88" y="203"/>
                    <a:pt x="89" y="202"/>
                    <a:pt x="89" y="201"/>
                  </a:cubicBezTo>
                  <a:cubicBezTo>
                    <a:pt x="89" y="201"/>
                    <a:pt x="89" y="200"/>
                    <a:pt x="90" y="200"/>
                  </a:cubicBezTo>
                  <a:cubicBezTo>
                    <a:pt x="90" y="199"/>
                    <a:pt x="90" y="199"/>
                    <a:pt x="91" y="198"/>
                  </a:cubicBezTo>
                  <a:cubicBezTo>
                    <a:pt x="91" y="198"/>
                    <a:pt x="91" y="197"/>
                    <a:pt x="92" y="197"/>
                  </a:cubicBezTo>
                  <a:cubicBezTo>
                    <a:pt x="92" y="196"/>
                    <a:pt x="92" y="194"/>
                    <a:pt x="92" y="193"/>
                  </a:cubicBezTo>
                  <a:cubicBezTo>
                    <a:pt x="92" y="192"/>
                    <a:pt x="91" y="191"/>
                    <a:pt x="91" y="190"/>
                  </a:cubicBezTo>
                  <a:cubicBezTo>
                    <a:pt x="91" y="190"/>
                    <a:pt x="91" y="190"/>
                    <a:pt x="91" y="190"/>
                  </a:cubicBezTo>
                  <a:cubicBezTo>
                    <a:pt x="90" y="189"/>
                    <a:pt x="90" y="190"/>
                    <a:pt x="90" y="190"/>
                  </a:cubicBezTo>
                  <a:cubicBezTo>
                    <a:pt x="89" y="190"/>
                    <a:pt x="88" y="188"/>
                    <a:pt x="88" y="188"/>
                  </a:cubicBezTo>
                  <a:cubicBezTo>
                    <a:pt x="87" y="187"/>
                    <a:pt x="86" y="186"/>
                    <a:pt x="86" y="186"/>
                  </a:cubicBezTo>
                  <a:cubicBezTo>
                    <a:pt x="86" y="186"/>
                    <a:pt x="84" y="185"/>
                    <a:pt x="84" y="185"/>
                  </a:cubicBezTo>
                  <a:cubicBezTo>
                    <a:pt x="84" y="185"/>
                    <a:pt x="83" y="185"/>
                    <a:pt x="82" y="185"/>
                  </a:cubicBezTo>
                  <a:cubicBezTo>
                    <a:pt x="82" y="185"/>
                    <a:pt x="81" y="185"/>
                    <a:pt x="81" y="185"/>
                  </a:cubicBezTo>
                  <a:cubicBezTo>
                    <a:pt x="80" y="184"/>
                    <a:pt x="80" y="185"/>
                    <a:pt x="80" y="185"/>
                  </a:cubicBezTo>
                  <a:cubicBezTo>
                    <a:pt x="79" y="185"/>
                    <a:pt x="79" y="184"/>
                    <a:pt x="79" y="184"/>
                  </a:cubicBezTo>
                  <a:cubicBezTo>
                    <a:pt x="79" y="183"/>
                    <a:pt x="78" y="183"/>
                    <a:pt x="78" y="183"/>
                  </a:cubicBezTo>
                  <a:cubicBezTo>
                    <a:pt x="78" y="183"/>
                    <a:pt x="78" y="182"/>
                    <a:pt x="77" y="182"/>
                  </a:cubicBezTo>
                  <a:cubicBezTo>
                    <a:pt x="77" y="182"/>
                    <a:pt x="76" y="181"/>
                    <a:pt x="75" y="181"/>
                  </a:cubicBezTo>
                  <a:cubicBezTo>
                    <a:pt x="75" y="181"/>
                    <a:pt x="75" y="181"/>
                    <a:pt x="74" y="181"/>
                  </a:cubicBezTo>
                  <a:cubicBezTo>
                    <a:pt x="74" y="181"/>
                    <a:pt x="74" y="180"/>
                    <a:pt x="74" y="180"/>
                  </a:cubicBezTo>
                  <a:cubicBezTo>
                    <a:pt x="74" y="180"/>
                    <a:pt x="74" y="178"/>
                    <a:pt x="73" y="178"/>
                  </a:cubicBezTo>
                  <a:cubicBezTo>
                    <a:pt x="73" y="177"/>
                    <a:pt x="73" y="176"/>
                    <a:pt x="73" y="176"/>
                  </a:cubicBezTo>
                  <a:cubicBezTo>
                    <a:pt x="72" y="175"/>
                    <a:pt x="72" y="175"/>
                    <a:pt x="72" y="175"/>
                  </a:cubicBezTo>
                  <a:cubicBezTo>
                    <a:pt x="72" y="175"/>
                    <a:pt x="71" y="174"/>
                    <a:pt x="71" y="174"/>
                  </a:cubicBezTo>
                  <a:cubicBezTo>
                    <a:pt x="71" y="173"/>
                    <a:pt x="70" y="173"/>
                    <a:pt x="70" y="172"/>
                  </a:cubicBezTo>
                  <a:cubicBezTo>
                    <a:pt x="70" y="171"/>
                    <a:pt x="69" y="171"/>
                    <a:pt x="69" y="171"/>
                  </a:cubicBezTo>
                  <a:cubicBezTo>
                    <a:pt x="69" y="170"/>
                    <a:pt x="68" y="170"/>
                    <a:pt x="68" y="170"/>
                  </a:cubicBezTo>
                  <a:cubicBezTo>
                    <a:pt x="67" y="170"/>
                    <a:pt x="67" y="169"/>
                    <a:pt x="66" y="169"/>
                  </a:cubicBezTo>
                  <a:cubicBezTo>
                    <a:pt x="65" y="168"/>
                    <a:pt x="65" y="169"/>
                    <a:pt x="65" y="169"/>
                  </a:cubicBezTo>
                  <a:cubicBezTo>
                    <a:pt x="65" y="169"/>
                    <a:pt x="64" y="169"/>
                    <a:pt x="64" y="169"/>
                  </a:cubicBezTo>
                  <a:cubicBezTo>
                    <a:pt x="63" y="169"/>
                    <a:pt x="63" y="169"/>
                    <a:pt x="62" y="168"/>
                  </a:cubicBezTo>
                  <a:cubicBezTo>
                    <a:pt x="62" y="168"/>
                    <a:pt x="62" y="168"/>
                    <a:pt x="61" y="167"/>
                  </a:cubicBezTo>
                  <a:cubicBezTo>
                    <a:pt x="61" y="166"/>
                    <a:pt x="60" y="165"/>
                    <a:pt x="60" y="165"/>
                  </a:cubicBezTo>
                  <a:cubicBezTo>
                    <a:pt x="60" y="165"/>
                    <a:pt x="58" y="163"/>
                    <a:pt x="58" y="163"/>
                  </a:cubicBezTo>
                  <a:cubicBezTo>
                    <a:pt x="58" y="163"/>
                    <a:pt x="58" y="162"/>
                    <a:pt x="57" y="162"/>
                  </a:cubicBezTo>
                  <a:cubicBezTo>
                    <a:pt x="57" y="162"/>
                    <a:pt x="56" y="161"/>
                    <a:pt x="56" y="161"/>
                  </a:cubicBezTo>
                  <a:cubicBezTo>
                    <a:pt x="56" y="161"/>
                    <a:pt x="55" y="161"/>
                    <a:pt x="55" y="161"/>
                  </a:cubicBezTo>
                  <a:cubicBezTo>
                    <a:pt x="55" y="160"/>
                    <a:pt x="56" y="160"/>
                    <a:pt x="56" y="160"/>
                  </a:cubicBezTo>
                  <a:cubicBezTo>
                    <a:pt x="56" y="160"/>
                    <a:pt x="56" y="160"/>
                    <a:pt x="55" y="160"/>
                  </a:cubicBezTo>
                  <a:cubicBezTo>
                    <a:pt x="55" y="160"/>
                    <a:pt x="54" y="160"/>
                    <a:pt x="54" y="160"/>
                  </a:cubicBezTo>
                  <a:cubicBezTo>
                    <a:pt x="54" y="160"/>
                    <a:pt x="54" y="160"/>
                    <a:pt x="53" y="160"/>
                  </a:cubicBezTo>
                  <a:cubicBezTo>
                    <a:pt x="53" y="160"/>
                    <a:pt x="52" y="161"/>
                    <a:pt x="52" y="161"/>
                  </a:cubicBezTo>
                  <a:cubicBezTo>
                    <a:pt x="52" y="162"/>
                    <a:pt x="51" y="161"/>
                    <a:pt x="51" y="161"/>
                  </a:cubicBezTo>
                  <a:cubicBezTo>
                    <a:pt x="50" y="160"/>
                    <a:pt x="50" y="160"/>
                    <a:pt x="50" y="160"/>
                  </a:cubicBezTo>
                  <a:cubicBezTo>
                    <a:pt x="49" y="160"/>
                    <a:pt x="49" y="160"/>
                    <a:pt x="49" y="160"/>
                  </a:cubicBezTo>
                  <a:cubicBezTo>
                    <a:pt x="48" y="161"/>
                    <a:pt x="48" y="160"/>
                    <a:pt x="48" y="160"/>
                  </a:cubicBezTo>
                  <a:cubicBezTo>
                    <a:pt x="48" y="160"/>
                    <a:pt x="47" y="159"/>
                    <a:pt x="47" y="159"/>
                  </a:cubicBezTo>
                  <a:cubicBezTo>
                    <a:pt x="47" y="159"/>
                    <a:pt x="46" y="159"/>
                    <a:pt x="46" y="159"/>
                  </a:cubicBezTo>
                  <a:cubicBezTo>
                    <a:pt x="46" y="159"/>
                    <a:pt x="45" y="158"/>
                    <a:pt x="45" y="158"/>
                  </a:cubicBezTo>
                  <a:cubicBezTo>
                    <a:pt x="45" y="158"/>
                    <a:pt x="45" y="157"/>
                    <a:pt x="45" y="157"/>
                  </a:cubicBezTo>
                  <a:cubicBezTo>
                    <a:pt x="45" y="157"/>
                    <a:pt x="45" y="157"/>
                    <a:pt x="45" y="158"/>
                  </a:cubicBezTo>
                  <a:cubicBezTo>
                    <a:pt x="45" y="158"/>
                    <a:pt x="45" y="158"/>
                    <a:pt x="45" y="159"/>
                  </a:cubicBezTo>
                  <a:cubicBezTo>
                    <a:pt x="45" y="159"/>
                    <a:pt x="44" y="159"/>
                    <a:pt x="44" y="159"/>
                  </a:cubicBezTo>
                  <a:cubicBezTo>
                    <a:pt x="43" y="159"/>
                    <a:pt x="43" y="160"/>
                    <a:pt x="43" y="160"/>
                  </a:cubicBezTo>
                  <a:cubicBezTo>
                    <a:pt x="43" y="160"/>
                    <a:pt x="43" y="159"/>
                    <a:pt x="43" y="159"/>
                  </a:cubicBezTo>
                  <a:cubicBezTo>
                    <a:pt x="43" y="159"/>
                    <a:pt x="43" y="159"/>
                    <a:pt x="43" y="158"/>
                  </a:cubicBezTo>
                  <a:cubicBezTo>
                    <a:pt x="43" y="158"/>
                    <a:pt x="43" y="158"/>
                    <a:pt x="43" y="158"/>
                  </a:cubicBezTo>
                  <a:cubicBezTo>
                    <a:pt x="43" y="158"/>
                    <a:pt x="44" y="158"/>
                    <a:pt x="44" y="157"/>
                  </a:cubicBezTo>
                  <a:cubicBezTo>
                    <a:pt x="44" y="157"/>
                    <a:pt x="43" y="157"/>
                    <a:pt x="43" y="157"/>
                  </a:cubicBezTo>
                  <a:cubicBezTo>
                    <a:pt x="43" y="157"/>
                    <a:pt x="42" y="157"/>
                    <a:pt x="42" y="157"/>
                  </a:cubicBezTo>
                  <a:cubicBezTo>
                    <a:pt x="42" y="158"/>
                    <a:pt x="42" y="158"/>
                    <a:pt x="42" y="158"/>
                  </a:cubicBezTo>
                  <a:cubicBezTo>
                    <a:pt x="42" y="158"/>
                    <a:pt x="41" y="158"/>
                    <a:pt x="41" y="159"/>
                  </a:cubicBezTo>
                  <a:cubicBezTo>
                    <a:pt x="41" y="159"/>
                    <a:pt x="41" y="159"/>
                    <a:pt x="40" y="159"/>
                  </a:cubicBezTo>
                  <a:cubicBezTo>
                    <a:pt x="40" y="159"/>
                    <a:pt x="40" y="159"/>
                    <a:pt x="40" y="159"/>
                  </a:cubicBezTo>
                  <a:cubicBezTo>
                    <a:pt x="39" y="159"/>
                    <a:pt x="39" y="159"/>
                    <a:pt x="39" y="159"/>
                  </a:cubicBezTo>
                  <a:cubicBezTo>
                    <a:pt x="38" y="160"/>
                    <a:pt x="38" y="160"/>
                    <a:pt x="38" y="161"/>
                  </a:cubicBezTo>
                  <a:cubicBezTo>
                    <a:pt x="38" y="161"/>
                    <a:pt x="38" y="162"/>
                    <a:pt x="38" y="162"/>
                  </a:cubicBezTo>
                  <a:cubicBezTo>
                    <a:pt x="37" y="162"/>
                    <a:pt x="37" y="162"/>
                    <a:pt x="37" y="163"/>
                  </a:cubicBezTo>
                  <a:cubicBezTo>
                    <a:pt x="37" y="163"/>
                    <a:pt x="36" y="164"/>
                    <a:pt x="36" y="164"/>
                  </a:cubicBezTo>
                  <a:cubicBezTo>
                    <a:pt x="36" y="164"/>
                    <a:pt x="36" y="165"/>
                    <a:pt x="36" y="165"/>
                  </a:cubicBezTo>
                  <a:cubicBezTo>
                    <a:pt x="36" y="165"/>
                    <a:pt x="36" y="164"/>
                    <a:pt x="35" y="164"/>
                  </a:cubicBezTo>
                  <a:cubicBezTo>
                    <a:pt x="35" y="163"/>
                    <a:pt x="35" y="163"/>
                    <a:pt x="34" y="163"/>
                  </a:cubicBezTo>
                  <a:cubicBezTo>
                    <a:pt x="34" y="162"/>
                    <a:pt x="33" y="162"/>
                    <a:pt x="33" y="162"/>
                  </a:cubicBezTo>
                  <a:cubicBezTo>
                    <a:pt x="33" y="162"/>
                    <a:pt x="32" y="162"/>
                    <a:pt x="32" y="163"/>
                  </a:cubicBezTo>
                  <a:cubicBezTo>
                    <a:pt x="32" y="163"/>
                    <a:pt x="31" y="163"/>
                    <a:pt x="31" y="163"/>
                  </a:cubicBezTo>
                  <a:cubicBezTo>
                    <a:pt x="30" y="164"/>
                    <a:pt x="30" y="164"/>
                    <a:pt x="29" y="163"/>
                  </a:cubicBezTo>
                  <a:cubicBezTo>
                    <a:pt x="29" y="163"/>
                    <a:pt x="29" y="162"/>
                    <a:pt x="28" y="162"/>
                  </a:cubicBezTo>
                  <a:cubicBezTo>
                    <a:pt x="28" y="161"/>
                    <a:pt x="27" y="160"/>
                    <a:pt x="27" y="159"/>
                  </a:cubicBezTo>
                  <a:cubicBezTo>
                    <a:pt x="27" y="159"/>
                    <a:pt x="27" y="159"/>
                    <a:pt x="27" y="158"/>
                  </a:cubicBezTo>
                  <a:cubicBezTo>
                    <a:pt x="27" y="158"/>
                    <a:pt x="27" y="157"/>
                    <a:pt x="27" y="156"/>
                  </a:cubicBezTo>
                  <a:cubicBezTo>
                    <a:pt x="27" y="155"/>
                    <a:pt x="27" y="154"/>
                    <a:pt x="27" y="154"/>
                  </a:cubicBezTo>
                  <a:cubicBezTo>
                    <a:pt x="27" y="153"/>
                    <a:pt x="28" y="152"/>
                    <a:pt x="28" y="152"/>
                  </a:cubicBezTo>
                  <a:cubicBezTo>
                    <a:pt x="28" y="151"/>
                    <a:pt x="27" y="151"/>
                    <a:pt x="27" y="151"/>
                  </a:cubicBezTo>
                  <a:cubicBezTo>
                    <a:pt x="27" y="151"/>
                    <a:pt x="26" y="150"/>
                    <a:pt x="26" y="150"/>
                  </a:cubicBezTo>
                  <a:cubicBezTo>
                    <a:pt x="26" y="150"/>
                    <a:pt x="25" y="150"/>
                    <a:pt x="25" y="150"/>
                  </a:cubicBezTo>
                  <a:cubicBezTo>
                    <a:pt x="25" y="150"/>
                    <a:pt x="24" y="150"/>
                    <a:pt x="24" y="150"/>
                  </a:cubicBezTo>
                  <a:cubicBezTo>
                    <a:pt x="24" y="151"/>
                    <a:pt x="23" y="150"/>
                    <a:pt x="23" y="150"/>
                  </a:cubicBezTo>
                  <a:cubicBezTo>
                    <a:pt x="22" y="151"/>
                    <a:pt x="22" y="150"/>
                    <a:pt x="22" y="151"/>
                  </a:cubicBezTo>
                  <a:cubicBezTo>
                    <a:pt x="21" y="151"/>
                    <a:pt x="21" y="150"/>
                    <a:pt x="21" y="150"/>
                  </a:cubicBezTo>
                  <a:cubicBezTo>
                    <a:pt x="20" y="150"/>
                    <a:pt x="20" y="150"/>
                    <a:pt x="20" y="150"/>
                  </a:cubicBezTo>
                  <a:cubicBezTo>
                    <a:pt x="20" y="150"/>
                    <a:pt x="20" y="150"/>
                    <a:pt x="21" y="149"/>
                  </a:cubicBezTo>
                  <a:cubicBezTo>
                    <a:pt x="21" y="149"/>
                    <a:pt x="21" y="148"/>
                    <a:pt x="21" y="148"/>
                  </a:cubicBezTo>
                  <a:cubicBezTo>
                    <a:pt x="21" y="148"/>
                    <a:pt x="21" y="145"/>
                    <a:pt x="21" y="145"/>
                  </a:cubicBezTo>
                  <a:cubicBezTo>
                    <a:pt x="21" y="145"/>
                    <a:pt x="21" y="146"/>
                    <a:pt x="21" y="147"/>
                  </a:cubicBezTo>
                  <a:cubicBezTo>
                    <a:pt x="21" y="147"/>
                    <a:pt x="21" y="146"/>
                    <a:pt x="22" y="146"/>
                  </a:cubicBezTo>
                  <a:cubicBezTo>
                    <a:pt x="22" y="146"/>
                    <a:pt x="22" y="145"/>
                    <a:pt x="22" y="144"/>
                  </a:cubicBezTo>
                  <a:cubicBezTo>
                    <a:pt x="22" y="144"/>
                    <a:pt x="22" y="143"/>
                    <a:pt x="22" y="143"/>
                  </a:cubicBezTo>
                  <a:cubicBezTo>
                    <a:pt x="22" y="143"/>
                    <a:pt x="22" y="142"/>
                    <a:pt x="22" y="141"/>
                  </a:cubicBezTo>
                  <a:cubicBezTo>
                    <a:pt x="23" y="141"/>
                    <a:pt x="23" y="140"/>
                    <a:pt x="23" y="140"/>
                  </a:cubicBezTo>
                  <a:cubicBezTo>
                    <a:pt x="23" y="140"/>
                    <a:pt x="22" y="140"/>
                    <a:pt x="22" y="140"/>
                  </a:cubicBezTo>
                  <a:cubicBezTo>
                    <a:pt x="22" y="140"/>
                    <a:pt x="21" y="140"/>
                    <a:pt x="21" y="140"/>
                  </a:cubicBezTo>
                  <a:cubicBezTo>
                    <a:pt x="21" y="140"/>
                    <a:pt x="20" y="140"/>
                    <a:pt x="19" y="140"/>
                  </a:cubicBezTo>
                  <a:cubicBezTo>
                    <a:pt x="19" y="140"/>
                    <a:pt x="18" y="141"/>
                    <a:pt x="18" y="141"/>
                  </a:cubicBezTo>
                  <a:cubicBezTo>
                    <a:pt x="18" y="141"/>
                    <a:pt x="18" y="142"/>
                    <a:pt x="18" y="142"/>
                  </a:cubicBezTo>
                  <a:cubicBezTo>
                    <a:pt x="18" y="143"/>
                    <a:pt x="18" y="143"/>
                    <a:pt x="17" y="144"/>
                  </a:cubicBezTo>
                  <a:cubicBezTo>
                    <a:pt x="17" y="144"/>
                    <a:pt x="17" y="144"/>
                    <a:pt x="17" y="145"/>
                  </a:cubicBezTo>
                  <a:cubicBezTo>
                    <a:pt x="17" y="145"/>
                    <a:pt x="17" y="145"/>
                    <a:pt x="17" y="145"/>
                  </a:cubicBezTo>
                  <a:cubicBezTo>
                    <a:pt x="16" y="145"/>
                    <a:pt x="16" y="145"/>
                    <a:pt x="16" y="145"/>
                  </a:cubicBezTo>
                  <a:cubicBezTo>
                    <a:pt x="16" y="145"/>
                    <a:pt x="15" y="145"/>
                    <a:pt x="15" y="145"/>
                  </a:cubicBezTo>
                  <a:cubicBezTo>
                    <a:pt x="15" y="145"/>
                    <a:pt x="15" y="146"/>
                    <a:pt x="14" y="146"/>
                  </a:cubicBezTo>
                  <a:cubicBezTo>
                    <a:pt x="14" y="146"/>
                    <a:pt x="13" y="146"/>
                    <a:pt x="13" y="146"/>
                  </a:cubicBezTo>
                  <a:cubicBezTo>
                    <a:pt x="12" y="146"/>
                    <a:pt x="12" y="145"/>
                    <a:pt x="12" y="145"/>
                  </a:cubicBezTo>
                  <a:cubicBezTo>
                    <a:pt x="11" y="145"/>
                    <a:pt x="11" y="145"/>
                    <a:pt x="11" y="145"/>
                  </a:cubicBezTo>
                  <a:cubicBezTo>
                    <a:pt x="11" y="145"/>
                    <a:pt x="10" y="144"/>
                    <a:pt x="10" y="144"/>
                  </a:cubicBezTo>
                  <a:cubicBezTo>
                    <a:pt x="10" y="143"/>
                    <a:pt x="9" y="141"/>
                    <a:pt x="9" y="141"/>
                  </a:cubicBezTo>
                  <a:cubicBezTo>
                    <a:pt x="9" y="141"/>
                    <a:pt x="9" y="140"/>
                    <a:pt x="9" y="140"/>
                  </a:cubicBezTo>
                  <a:cubicBezTo>
                    <a:pt x="9" y="135"/>
                    <a:pt x="10" y="131"/>
                    <a:pt x="11" y="127"/>
                  </a:cubicBezTo>
                  <a:cubicBezTo>
                    <a:pt x="11" y="126"/>
                    <a:pt x="11" y="126"/>
                    <a:pt x="12" y="126"/>
                  </a:cubicBezTo>
                  <a:cubicBezTo>
                    <a:pt x="12" y="126"/>
                    <a:pt x="13" y="124"/>
                    <a:pt x="14" y="124"/>
                  </a:cubicBezTo>
                  <a:cubicBezTo>
                    <a:pt x="14" y="124"/>
                    <a:pt x="14" y="125"/>
                    <a:pt x="15" y="125"/>
                  </a:cubicBezTo>
                  <a:cubicBezTo>
                    <a:pt x="15" y="125"/>
                    <a:pt x="15" y="125"/>
                    <a:pt x="16" y="125"/>
                  </a:cubicBezTo>
                  <a:cubicBezTo>
                    <a:pt x="16" y="125"/>
                    <a:pt x="18" y="126"/>
                    <a:pt x="18" y="126"/>
                  </a:cubicBezTo>
                  <a:cubicBezTo>
                    <a:pt x="18" y="126"/>
                    <a:pt x="19" y="125"/>
                    <a:pt x="19" y="125"/>
                  </a:cubicBezTo>
                  <a:cubicBezTo>
                    <a:pt x="19" y="125"/>
                    <a:pt x="19" y="126"/>
                    <a:pt x="19" y="126"/>
                  </a:cubicBezTo>
                  <a:cubicBezTo>
                    <a:pt x="19" y="126"/>
                    <a:pt x="20" y="126"/>
                    <a:pt x="20" y="126"/>
                  </a:cubicBezTo>
                  <a:cubicBezTo>
                    <a:pt x="20" y="125"/>
                    <a:pt x="20" y="125"/>
                    <a:pt x="20" y="125"/>
                  </a:cubicBezTo>
                  <a:cubicBezTo>
                    <a:pt x="20" y="125"/>
                    <a:pt x="19" y="125"/>
                    <a:pt x="19" y="124"/>
                  </a:cubicBezTo>
                  <a:cubicBezTo>
                    <a:pt x="19" y="124"/>
                    <a:pt x="20" y="124"/>
                    <a:pt x="20" y="124"/>
                  </a:cubicBezTo>
                  <a:cubicBezTo>
                    <a:pt x="20" y="123"/>
                    <a:pt x="20" y="124"/>
                    <a:pt x="20" y="123"/>
                  </a:cubicBezTo>
                  <a:cubicBezTo>
                    <a:pt x="21" y="123"/>
                    <a:pt x="21" y="123"/>
                    <a:pt x="21" y="123"/>
                  </a:cubicBezTo>
                  <a:cubicBezTo>
                    <a:pt x="22" y="123"/>
                    <a:pt x="23" y="123"/>
                    <a:pt x="23" y="123"/>
                  </a:cubicBezTo>
                  <a:cubicBezTo>
                    <a:pt x="23" y="123"/>
                    <a:pt x="24" y="124"/>
                    <a:pt x="24" y="124"/>
                  </a:cubicBezTo>
                  <a:cubicBezTo>
                    <a:pt x="25" y="124"/>
                    <a:pt x="25" y="124"/>
                    <a:pt x="25" y="124"/>
                  </a:cubicBezTo>
                  <a:cubicBezTo>
                    <a:pt x="25" y="124"/>
                    <a:pt x="26" y="124"/>
                    <a:pt x="26" y="124"/>
                  </a:cubicBezTo>
                  <a:cubicBezTo>
                    <a:pt x="26" y="124"/>
                    <a:pt x="26" y="124"/>
                    <a:pt x="26" y="124"/>
                  </a:cubicBezTo>
                  <a:cubicBezTo>
                    <a:pt x="27" y="124"/>
                    <a:pt x="27" y="125"/>
                    <a:pt x="27" y="125"/>
                  </a:cubicBezTo>
                  <a:cubicBezTo>
                    <a:pt x="28" y="125"/>
                    <a:pt x="28" y="126"/>
                    <a:pt x="28" y="126"/>
                  </a:cubicBezTo>
                  <a:cubicBezTo>
                    <a:pt x="28" y="126"/>
                    <a:pt x="28" y="127"/>
                    <a:pt x="28" y="127"/>
                  </a:cubicBezTo>
                  <a:cubicBezTo>
                    <a:pt x="28" y="127"/>
                    <a:pt x="28" y="128"/>
                    <a:pt x="28" y="129"/>
                  </a:cubicBezTo>
                  <a:cubicBezTo>
                    <a:pt x="28" y="129"/>
                    <a:pt x="29" y="130"/>
                    <a:pt x="29" y="130"/>
                  </a:cubicBezTo>
                  <a:cubicBezTo>
                    <a:pt x="29" y="130"/>
                    <a:pt x="29" y="130"/>
                    <a:pt x="29" y="131"/>
                  </a:cubicBezTo>
                  <a:cubicBezTo>
                    <a:pt x="30" y="131"/>
                    <a:pt x="30" y="132"/>
                    <a:pt x="30" y="132"/>
                  </a:cubicBezTo>
                  <a:cubicBezTo>
                    <a:pt x="30" y="132"/>
                    <a:pt x="30" y="133"/>
                    <a:pt x="30" y="133"/>
                  </a:cubicBezTo>
                  <a:cubicBezTo>
                    <a:pt x="30" y="133"/>
                    <a:pt x="31" y="133"/>
                    <a:pt x="31" y="133"/>
                  </a:cubicBezTo>
                  <a:cubicBezTo>
                    <a:pt x="31" y="133"/>
                    <a:pt x="31" y="132"/>
                    <a:pt x="32" y="132"/>
                  </a:cubicBezTo>
                  <a:cubicBezTo>
                    <a:pt x="32" y="132"/>
                    <a:pt x="32" y="130"/>
                    <a:pt x="32" y="130"/>
                  </a:cubicBezTo>
                  <a:cubicBezTo>
                    <a:pt x="31" y="129"/>
                    <a:pt x="31" y="129"/>
                    <a:pt x="31" y="128"/>
                  </a:cubicBezTo>
                  <a:cubicBezTo>
                    <a:pt x="31" y="127"/>
                    <a:pt x="31" y="127"/>
                    <a:pt x="31" y="126"/>
                  </a:cubicBezTo>
                  <a:cubicBezTo>
                    <a:pt x="31" y="126"/>
                    <a:pt x="30" y="125"/>
                    <a:pt x="30" y="124"/>
                  </a:cubicBezTo>
                  <a:cubicBezTo>
                    <a:pt x="30" y="124"/>
                    <a:pt x="30" y="123"/>
                    <a:pt x="30" y="122"/>
                  </a:cubicBezTo>
                  <a:cubicBezTo>
                    <a:pt x="30" y="121"/>
                    <a:pt x="31" y="120"/>
                    <a:pt x="31" y="120"/>
                  </a:cubicBezTo>
                  <a:cubicBezTo>
                    <a:pt x="32" y="119"/>
                    <a:pt x="32" y="118"/>
                    <a:pt x="33" y="118"/>
                  </a:cubicBezTo>
                  <a:cubicBezTo>
                    <a:pt x="33" y="118"/>
                    <a:pt x="33" y="118"/>
                    <a:pt x="33" y="117"/>
                  </a:cubicBezTo>
                  <a:cubicBezTo>
                    <a:pt x="33" y="117"/>
                    <a:pt x="34" y="117"/>
                    <a:pt x="34" y="117"/>
                  </a:cubicBezTo>
                  <a:cubicBezTo>
                    <a:pt x="34" y="117"/>
                    <a:pt x="34" y="117"/>
                    <a:pt x="35" y="116"/>
                  </a:cubicBezTo>
                  <a:cubicBezTo>
                    <a:pt x="35" y="116"/>
                    <a:pt x="35" y="116"/>
                    <a:pt x="35" y="115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37" y="115"/>
                    <a:pt x="37" y="115"/>
                    <a:pt x="37" y="114"/>
                  </a:cubicBezTo>
                  <a:cubicBezTo>
                    <a:pt x="37" y="114"/>
                    <a:pt x="37" y="114"/>
                    <a:pt x="38" y="114"/>
                  </a:cubicBezTo>
                  <a:cubicBezTo>
                    <a:pt x="38" y="114"/>
                    <a:pt x="38" y="114"/>
                    <a:pt x="38" y="113"/>
                  </a:cubicBezTo>
                  <a:cubicBezTo>
                    <a:pt x="38" y="113"/>
                    <a:pt x="38" y="113"/>
                    <a:pt x="38" y="112"/>
                  </a:cubicBezTo>
                  <a:cubicBezTo>
                    <a:pt x="37" y="112"/>
                    <a:pt x="37" y="111"/>
                    <a:pt x="37" y="111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0"/>
                    <a:pt x="37" y="109"/>
                    <a:pt x="37" y="109"/>
                  </a:cubicBezTo>
                  <a:cubicBezTo>
                    <a:pt x="37" y="109"/>
                    <a:pt x="37" y="109"/>
                    <a:pt x="36" y="108"/>
                  </a:cubicBezTo>
                  <a:cubicBezTo>
                    <a:pt x="36" y="107"/>
                    <a:pt x="37" y="107"/>
                    <a:pt x="37" y="107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10"/>
                    <a:pt x="37" y="110"/>
                    <a:pt x="37" y="111"/>
                  </a:cubicBezTo>
                  <a:cubicBezTo>
                    <a:pt x="37" y="111"/>
                    <a:pt x="37" y="111"/>
                    <a:pt x="37" y="110"/>
                  </a:cubicBezTo>
                  <a:cubicBezTo>
                    <a:pt x="37" y="110"/>
                    <a:pt x="38" y="109"/>
                    <a:pt x="38" y="109"/>
                  </a:cubicBezTo>
                  <a:cubicBezTo>
                    <a:pt x="38" y="109"/>
                    <a:pt x="38" y="108"/>
                    <a:pt x="38" y="107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107"/>
                    <a:pt x="38" y="107"/>
                    <a:pt x="39" y="107"/>
                  </a:cubicBezTo>
                  <a:cubicBezTo>
                    <a:pt x="39" y="107"/>
                    <a:pt x="39" y="107"/>
                    <a:pt x="39" y="106"/>
                  </a:cubicBezTo>
                  <a:cubicBezTo>
                    <a:pt x="40" y="106"/>
                    <a:pt x="40" y="105"/>
                    <a:pt x="40" y="105"/>
                  </a:cubicBezTo>
                  <a:cubicBezTo>
                    <a:pt x="40" y="104"/>
                    <a:pt x="40" y="104"/>
                    <a:pt x="40" y="104"/>
                  </a:cubicBezTo>
                  <a:cubicBezTo>
                    <a:pt x="40" y="104"/>
                    <a:pt x="41" y="104"/>
                    <a:pt x="41" y="104"/>
                  </a:cubicBezTo>
                  <a:cubicBezTo>
                    <a:pt x="42" y="104"/>
                    <a:pt x="42" y="103"/>
                    <a:pt x="42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1" y="103"/>
                    <a:pt x="41" y="103"/>
                  </a:cubicBezTo>
                  <a:cubicBezTo>
                    <a:pt x="40" y="103"/>
                    <a:pt x="40" y="103"/>
                    <a:pt x="40" y="103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1" y="103"/>
                    <a:pt x="42" y="103"/>
                    <a:pt x="43" y="103"/>
                  </a:cubicBezTo>
                  <a:cubicBezTo>
                    <a:pt x="43" y="103"/>
                    <a:pt x="44" y="102"/>
                    <a:pt x="44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4" y="102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4" y="100"/>
                    <a:pt x="44" y="100"/>
                    <a:pt x="44" y="100"/>
                  </a:cubicBezTo>
                  <a:cubicBezTo>
                    <a:pt x="44" y="100"/>
                    <a:pt x="44" y="99"/>
                    <a:pt x="44" y="99"/>
                  </a:cubicBezTo>
                  <a:cubicBezTo>
                    <a:pt x="45" y="99"/>
                    <a:pt x="45" y="98"/>
                    <a:pt x="45" y="98"/>
                  </a:cubicBezTo>
                  <a:cubicBezTo>
                    <a:pt x="45" y="98"/>
                    <a:pt x="46" y="98"/>
                    <a:pt x="46" y="98"/>
                  </a:cubicBezTo>
                  <a:cubicBezTo>
                    <a:pt x="47" y="97"/>
                    <a:pt x="47" y="97"/>
                    <a:pt x="47" y="97"/>
                  </a:cubicBezTo>
                  <a:cubicBezTo>
                    <a:pt x="47" y="97"/>
                    <a:pt x="48" y="97"/>
                    <a:pt x="48" y="97"/>
                  </a:cubicBezTo>
                  <a:cubicBezTo>
                    <a:pt x="48" y="97"/>
                    <a:pt x="49" y="96"/>
                    <a:pt x="49" y="96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50" y="96"/>
                    <a:pt x="50" y="96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2" y="95"/>
                    <a:pt x="53" y="95"/>
                    <a:pt x="53" y="95"/>
                  </a:cubicBezTo>
                  <a:cubicBezTo>
                    <a:pt x="53" y="95"/>
                    <a:pt x="52" y="95"/>
                    <a:pt x="52" y="95"/>
                  </a:cubicBezTo>
                  <a:cubicBezTo>
                    <a:pt x="52" y="96"/>
                    <a:pt x="52" y="96"/>
                    <a:pt x="51" y="96"/>
                  </a:cubicBezTo>
                  <a:cubicBezTo>
                    <a:pt x="51" y="96"/>
                    <a:pt x="50" y="97"/>
                    <a:pt x="50" y="97"/>
                  </a:cubicBezTo>
                  <a:cubicBezTo>
                    <a:pt x="50" y="97"/>
                    <a:pt x="50" y="97"/>
                    <a:pt x="50" y="98"/>
                  </a:cubicBezTo>
                  <a:cubicBezTo>
                    <a:pt x="50" y="98"/>
                    <a:pt x="50" y="98"/>
                    <a:pt x="51" y="98"/>
                  </a:cubicBezTo>
                  <a:cubicBezTo>
                    <a:pt x="51" y="98"/>
                    <a:pt x="51" y="99"/>
                    <a:pt x="51" y="99"/>
                  </a:cubicBezTo>
                  <a:cubicBezTo>
                    <a:pt x="51" y="99"/>
                    <a:pt x="52" y="98"/>
                    <a:pt x="52" y="98"/>
                  </a:cubicBezTo>
                  <a:cubicBezTo>
                    <a:pt x="52" y="98"/>
                    <a:pt x="52" y="98"/>
                    <a:pt x="52" y="97"/>
                  </a:cubicBezTo>
                  <a:cubicBezTo>
                    <a:pt x="53" y="97"/>
                    <a:pt x="53" y="97"/>
                    <a:pt x="53" y="97"/>
                  </a:cubicBezTo>
                  <a:cubicBezTo>
                    <a:pt x="53" y="97"/>
                    <a:pt x="53" y="97"/>
                    <a:pt x="53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96"/>
                    <a:pt x="55" y="96"/>
                    <a:pt x="55" y="96"/>
                  </a:cubicBezTo>
                  <a:cubicBezTo>
                    <a:pt x="55" y="96"/>
                    <a:pt x="56" y="96"/>
                    <a:pt x="57" y="96"/>
                  </a:cubicBezTo>
                  <a:cubicBezTo>
                    <a:pt x="57" y="96"/>
                    <a:pt x="57" y="95"/>
                    <a:pt x="57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7" y="95"/>
                    <a:pt x="57" y="95"/>
                    <a:pt x="58" y="95"/>
                  </a:cubicBezTo>
                  <a:cubicBezTo>
                    <a:pt x="58" y="94"/>
                    <a:pt x="58" y="94"/>
                    <a:pt x="59" y="94"/>
                  </a:cubicBezTo>
                  <a:cubicBezTo>
                    <a:pt x="59" y="94"/>
                    <a:pt x="59" y="94"/>
                    <a:pt x="58" y="94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8" y="93"/>
                    <a:pt x="58" y="92"/>
                    <a:pt x="58" y="92"/>
                  </a:cubicBezTo>
                  <a:cubicBezTo>
                    <a:pt x="58" y="92"/>
                    <a:pt x="57" y="93"/>
                    <a:pt x="57" y="93"/>
                  </a:cubicBezTo>
                  <a:cubicBezTo>
                    <a:pt x="57" y="93"/>
                    <a:pt x="57" y="94"/>
                    <a:pt x="57" y="94"/>
                  </a:cubicBezTo>
                  <a:cubicBezTo>
                    <a:pt x="56" y="94"/>
                    <a:pt x="56" y="94"/>
                    <a:pt x="56" y="94"/>
                  </a:cubicBezTo>
                  <a:cubicBezTo>
                    <a:pt x="56" y="94"/>
                    <a:pt x="56" y="94"/>
                    <a:pt x="56" y="94"/>
                  </a:cubicBezTo>
                  <a:cubicBezTo>
                    <a:pt x="56" y="94"/>
                    <a:pt x="56" y="95"/>
                    <a:pt x="55" y="95"/>
                  </a:cubicBezTo>
                  <a:cubicBezTo>
                    <a:pt x="55" y="95"/>
                    <a:pt x="55" y="95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3"/>
                    <a:pt x="52" y="93"/>
                  </a:cubicBezTo>
                  <a:cubicBezTo>
                    <a:pt x="52" y="93"/>
                    <a:pt x="52" y="93"/>
                    <a:pt x="52" y="92"/>
                  </a:cubicBezTo>
                  <a:cubicBezTo>
                    <a:pt x="52" y="92"/>
                    <a:pt x="52" y="92"/>
                    <a:pt x="52" y="92"/>
                  </a:cubicBezTo>
                  <a:cubicBezTo>
                    <a:pt x="52" y="92"/>
                    <a:pt x="52" y="92"/>
                    <a:pt x="52" y="92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52" y="91"/>
                    <a:pt x="52" y="90"/>
                    <a:pt x="52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1" y="91"/>
                    <a:pt x="51" y="91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1" y="90"/>
                    <a:pt x="51" y="90"/>
                  </a:cubicBezTo>
                  <a:cubicBezTo>
                    <a:pt x="51" y="90"/>
                    <a:pt x="51" y="90"/>
                    <a:pt x="52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89"/>
                    <a:pt x="53" y="8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3" y="88"/>
                    <a:pt x="53" y="88"/>
                  </a:cubicBezTo>
                  <a:cubicBezTo>
                    <a:pt x="52" y="88"/>
                    <a:pt x="52" y="88"/>
                    <a:pt x="51" y="88"/>
                  </a:cubicBezTo>
                  <a:cubicBezTo>
                    <a:pt x="51" y="88"/>
                    <a:pt x="50" y="88"/>
                    <a:pt x="50" y="88"/>
                  </a:cubicBezTo>
                  <a:cubicBezTo>
                    <a:pt x="49" y="88"/>
                    <a:pt x="48" y="89"/>
                    <a:pt x="48" y="89"/>
                  </a:cubicBezTo>
                  <a:cubicBezTo>
                    <a:pt x="47" y="89"/>
                    <a:pt x="47" y="90"/>
                    <a:pt x="46" y="90"/>
                  </a:cubicBezTo>
                  <a:cubicBezTo>
                    <a:pt x="46" y="90"/>
                    <a:pt x="46" y="90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0"/>
                    <a:pt x="46" y="90"/>
                    <a:pt x="46" y="90"/>
                  </a:cubicBezTo>
                  <a:cubicBezTo>
                    <a:pt x="46" y="90"/>
                    <a:pt x="46" y="89"/>
                    <a:pt x="47" y="89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9" y="88"/>
                    <a:pt x="49" y="87"/>
                    <a:pt x="49" y="87"/>
                  </a:cubicBezTo>
                  <a:cubicBezTo>
                    <a:pt x="49" y="87"/>
                    <a:pt x="49" y="87"/>
                    <a:pt x="50" y="86"/>
                  </a:cubicBezTo>
                  <a:cubicBezTo>
                    <a:pt x="50" y="86"/>
                    <a:pt x="51" y="86"/>
                    <a:pt x="51" y="86"/>
                  </a:cubicBezTo>
                  <a:cubicBezTo>
                    <a:pt x="52" y="86"/>
                    <a:pt x="52" y="86"/>
                    <a:pt x="53" y="86"/>
                  </a:cubicBezTo>
                  <a:cubicBezTo>
                    <a:pt x="54" y="86"/>
                    <a:pt x="54" y="86"/>
                    <a:pt x="55" y="86"/>
                  </a:cubicBezTo>
                  <a:cubicBezTo>
                    <a:pt x="56" y="86"/>
                    <a:pt x="57" y="86"/>
                    <a:pt x="57" y="86"/>
                  </a:cubicBezTo>
                  <a:cubicBezTo>
                    <a:pt x="57" y="86"/>
                    <a:pt x="58" y="86"/>
                    <a:pt x="59" y="86"/>
                  </a:cubicBezTo>
                  <a:cubicBezTo>
                    <a:pt x="59" y="86"/>
                    <a:pt x="59" y="85"/>
                    <a:pt x="59" y="85"/>
                  </a:cubicBezTo>
                  <a:cubicBezTo>
                    <a:pt x="60" y="85"/>
                    <a:pt x="60" y="85"/>
                    <a:pt x="60" y="84"/>
                  </a:cubicBezTo>
                  <a:cubicBezTo>
                    <a:pt x="61" y="84"/>
                    <a:pt x="61" y="84"/>
                    <a:pt x="62" y="84"/>
                  </a:cubicBezTo>
                  <a:cubicBezTo>
                    <a:pt x="62" y="84"/>
                    <a:pt x="62" y="84"/>
                    <a:pt x="62" y="84"/>
                  </a:cubicBezTo>
                  <a:cubicBezTo>
                    <a:pt x="63" y="84"/>
                    <a:pt x="63" y="84"/>
                    <a:pt x="63" y="83"/>
                  </a:cubicBezTo>
                  <a:cubicBezTo>
                    <a:pt x="63" y="83"/>
                    <a:pt x="64" y="83"/>
                    <a:pt x="64" y="82"/>
                  </a:cubicBezTo>
                  <a:cubicBezTo>
                    <a:pt x="64" y="82"/>
                    <a:pt x="64" y="82"/>
                    <a:pt x="64" y="81"/>
                  </a:cubicBezTo>
                  <a:cubicBezTo>
                    <a:pt x="64" y="81"/>
                    <a:pt x="64" y="80"/>
                    <a:pt x="64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80"/>
                    <a:pt x="63" y="80"/>
                    <a:pt x="63" y="79"/>
                  </a:cubicBezTo>
                  <a:cubicBezTo>
                    <a:pt x="63" y="79"/>
                    <a:pt x="62" y="80"/>
                    <a:pt x="62" y="80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9"/>
                    <a:pt x="61" y="79"/>
                  </a:cubicBezTo>
                  <a:cubicBezTo>
                    <a:pt x="61" y="79"/>
                    <a:pt x="60" y="79"/>
                    <a:pt x="60" y="79"/>
                  </a:cubicBezTo>
                  <a:cubicBezTo>
                    <a:pt x="60" y="79"/>
                    <a:pt x="59" y="80"/>
                    <a:pt x="59" y="80"/>
                  </a:cubicBezTo>
                  <a:cubicBezTo>
                    <a:pt x="59" y="80"/>
                    <a:pt x="58" y="80"/>
                    <a:pt x="58" y="80"/>
                  </a:cubicBezTo>
                  <a:cubicBezTo>
                    <a:pt x="58" y="79"/>
                    <a:pt x="59" y="79"/>
                    <a:pt x="59" y="79"/>
                  </a:cubicBezTo>
                  <a:cubicBezTo>
                    <a:pt x="59" y="79"/>
                    <a:pt x="60" y="79"/>
                    <a:pt x="60" y="79"/>
                  </a:cubicBezTo>
                  <a:cubicBezTo>
                    <a:pt x="61" y="78"/>
                    <a:pt x="61" y="78"/>
                    <a:pt x="62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62" y="78"/>
                    <a:pt x="61" y="78"/>
                    <a:pt x="61" y="78"/>
                  </a:cubicBezTo>
                  <a:cubicBezTo>
                    <a:pt x="61" y="77"/>
                    <a:pt x="61" y="78"/>
                    <a:pt x="61" y="78"/>
                  </a:cubicBezTo>
                  <a:cubicBezTo>
                    <a:pt x="61" y="78"/>
                    <a:pt x="60" y="78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59" y="77"/>
                    <a:pt x="59" y="77"/>
                    <a:pt x="59" y="76"/>
                  </a:cubicBezTo>
                  <a:cubicBezTo>
                    <a:pt x="59" y="76"/>
                    <a:pt x="58" y="76"/>
                    <a:pt x="58" y="76"/>
                  </a:cubicBezTo>
                  <a:cubicBezTo>
                    <a:pt x="58" y="75"/>
                    <a:pt x="57" y="76"/>
                    <a:pt x="57" y="75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7" y="73"/>
                    <a:pt x="56" y="73"/>
                    <a:pt x="56" y="73"/>
                  </a:cubicBezTo>
                  <a:cubicBezTo>
                    <a:pt x="56" y="73"/>
                    <a:pt x="56" y="72"/>
                    <a:pt x="56" y="72"/>
                  </a:cubicBezTo>
                  <a:cubicBezTo>
                    <a:pt x="56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0"/>
                  </a:cubicBezTo>
                  <a:cubicBezTo>
                    <a:pt x="55" y="70"/>
                    <a:pt x="54" y="68"/>
                    <a:pt x="53" y="68"/>
                  </a:cubicBezTo>
                  <a:cubicBezTo>
                    <a:pt x="53" y="68"/>
                    <a:pt x="52" y="67"/>
                    <a:pt x="52" y="67"/>
                  </a:cubicBezTo>
                  <a:cubicBezTo>
                    <a:pt x="52" y="66"/>
                    <a:pt x="52" y="67"/>
                    <a:pt x="52" y="67"/>
                  </a:cubicBezTo>
                  <a:cubicBezTo>
                    <a:pt x="52" y="67"/>
                    <a:pt x="52" y="68"/>
                    <a:pt x="52" y="68"/>
                  </a:cubicBezTo>
                  <a:cubicBezTo>
                    <a:pt x="52" y="68"/>
                    <a:pt x="51" y="68"/>
                    <a:pt x="51" y="68"/>
                  </a:cubicBezTo>
                  <a:cubicBezTo>
                    <a:pt x="51" y="68"/>
                    <a:pt x="51" y="69"/>
                    <a:pt x="51" y="69"/>
                  </a:cubicBezTo>
                  <a:cubicBezTo>
                    <a:pt x="51" y="69"/>
                    <a:pt x="51" y="70"/>
                    <a:pt x="51" y="70"/>
                  </a:cubicBezTo>
                  <a:cubicBezTo>
                    <a:pt x="51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49" y="70"/>
                    <a:pt x="49" y="71"/>
                    <a:pt x="49" y="71"/>
                  </a:cubicBezTo>
                  <a:cubicBezTo>
                    <a:pt x="48" y="71"/>
                    <a:pt x="48" y="70"/>
                    <a:pt x="48" y="70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0"/>
                    <a:pt x="47" y="70"/>
                    <a:pt x="46" y="70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6" y="68"/>
                    <a:pt x="46" y="67"/>
                    <a:pt x="46" y="67"/>
                  </a:cubicBezTo>
                  <a:cubicBezTo>
                    <a:pt x="46" y="67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4" y="66"/>
                    <a:pt x="44" y="66"/>
                  </a:cubicBezTo>
                  <a:cubicBezTo>
                    <a:pt x="44" y="66"/>
                    <a:pt x="43" y="65"/>
                    <a:pt x="43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43" y="65"/>
                    <a:pt x="43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1" y="64"/>
                    <a:pt x="41" y="63"/>
                  </a:cubicBezTo>
                  <a:cubicBezTo>
                    <a:pt x="41" y="63"/>
                    <a:pt x="41" y="63"/>
                    <a:pt x="40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63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40" y="63"/>
                    <a:pt x="41" y="62"/>
                    <a:pt x="41" y="61"/>
                  </a:cubicBezTo>
                  <a:cubicBezTo>
                    <a:pt x="41" y="61"/>
                    <a:pt x="42" y="61"/>
                    <a:pt x="42" y="61"/>
                  </a:cubicBezTo>
                  <a:cubicBezTo>
                    <a:pt x="42" y="61"/>
                    <a:pt x="42" y="61"/>
                    <a:pt x="43" y="62"/>
                  </a:cubicBezTo>
                  <a:cubicBezTo>
                    <a:pt x="43" y="62"/>
                    <a:pt x="43" y="62"/>
                    <a:pt x="44" y="63"/>
                  </a:cubicBezTo>
                  <a:cubicBezTo>
                    <a:pt x="44" y="63"/>
                    <a:pt x="44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6" y="63"/>
                    <a:pt x="46" y="63"/>
                  </a:cubicBezTo>
                  <a:cubicBezTo>
                    <a:pt x="47" y="64"/>
                    <a:pt x="48" y="64"/>
                    <a:pt x="48" y="64"/>
                  </a:cubicBezTo>
                  <a:cubicBezTo>
                    <a:pt x="49" y="64"/>
                    <a:pt x="50" y="64"/>
                    <a:pt x="50" y="64"/>
                  </a:cubicBezTo>
                  <a:cubicBezTo>
                    <a:pt x="50" y="65"/>
                    <a:pt x="50" y="65"/>
                    <a:pt x="51" y="64"/>
                  </a:cubicBezTo>
                  <a:cubicBezTo>
                    <a:pt x="51" y="64"/>
                    <a:pt x="51" y="64"/>
                    <a:pt x="50" y="64"/>
                  </a:cubicBezTo>
                  <a:cubicBezTo>
                    <a:pt x="50" y="64"/>
                    <a:pt x="50" y="63"/>
                    <a:pt x="50" y="63"/>
                  </a:cubicBezTo>
                  <a:cubicBezTo>
                    <a:pt x="49" y="62"/>
                    <a:pt x="48" y="62"/>
                    <a:pt x="48" y="62"/>
                  </a:cubicBezTo>
                  <a:cubicBezTo>
                    <a:pt x="48" y="62"/>
                    <a:pt x="48" y="62"/>
                    <a:pt x="47" y="61"/>
                  </a:cubicBezTo>
                  <a:cubicBezTo>
                    <a:pt x="47" y="61"/>
                    <a:pt x="47" y="61"/>
                    <a:pt x="47" y="61"/>
                  </a:cubicBezTo>
                  <a:cubicBezTo>
                    <a:pt x="47" y="61"/>
                    <a:pt x="47" y="61"/>
                    <a:pt x="47" y="61"/>
                  </a:cubicBezTo>
                  <a:cubicBezTo>
                    <a:pt x="47" y="61"/>
                    <a:pt x="48" y="61"/>
                    <a:pt x="48" y="61"/>
                  </a:cubicBezTo>
                  <a:cubicBezTo>
                    <a:pt x="49" y="61"/>
                    <a:pt x="49" y="62"/>
                    <a:pt x="49" y="62"/>
                  </a:cubicBezTo>
                  <a:cubicBezTo>
                    <a:pt x="50" y="62"/>
                    <a:pt x="50" y="62"/>
                    <a:pt x="51" y="62"/>
                  </a:cubicBezTo>
                  <a:cubicBezTo>
                    <a:pt x="51" y="63"/>
                    <a:pt x="52" y="63"/>
                    <a:pt x="52" y="63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3" y="62"/>
                    <a:pt x="52" y="62"/>
                    <a:pt x="52" y="62"/>
                  </a:cubicBezTo>
                  <a:cubicBezTo>
                    <a:pt x="52" y="61"/>
                    <a:pt x="53" y="62"/>
                    <a:pt x="53" y="61"/>
                  </a:cubicBezTo>
                  <a:cubicBezTo>
                    <a:pt x="53" y="61"/>
                    <a:pt x="53" y="60"/>
                    <a:pt x="52" y="60"/>
                  </a:cubicBezTo>
                  <a:cubicBezTo>
                    <a:pt x="52" y="60"/>
                    <a:pt x="52" y="59"/>
                    <a:pt x="51" y="59"/>
                  </a:cubicBezTo>
                  <a:cubicBezTo>
                    <a:pt x="50" y="59"/>
                    <a:pt x="50" y="59"/>
                    <a:pt x="50" y="58"/>
                  </a:cubicBezTo>
                  <a:cubicBezTo>
                    <a:pt x="49" y="58"/>
                    <a:pt x="49" y="57"/>
                    <a:pt x="49" y="57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56"/>
                    <a:pt x="48" y="56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8" y="56"/>
                    <a:pt x="49" y="56"/>
                    <a:pt x="49" y="56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0" y="56"/>
                    <a:pt x="51" y="57"/>
                    <a:pt x="51" y="57"/>
                  </a:cubicBezTo>
                  <a:cubicBezTo>
                    <a:pt x="51" y="58"/>
                    <a:pt x="52" y="58"/>
                    <a:pt x="52" y="58"/>
                  </a:cubicBezTo>
                  <a:cubicBezTo>
                    <a:pt x="53" y="58"/>
                    <a:pt x="53" y="58"/>
                    <a:pt x="54" y="58"/>
                  </a:cubicBezTo>
                  <a:cubicBezTo>
                    <a:pt x="54" y="58"/>
                    <a:pt x="54" y="57"/>
                    <a:pt x="54" y="57"/>
                  </a:cubicBezTo>
                  <a:cubicBezTo>
                    <a:pt x="54" y="57"/>
                    <a:pt x="54" y="57"/>
                    <a:pt x="55" y="57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6" y="56"/>
                    <a:pt x="55" y="56"/>
                    <a:pt x="55" y="56"/>
                  </a:cubicBezTo>
                  <a:cubicBezTo>
                    <a:pt x="55" y="56"/>
                    <a:pt x="56" y="56"/>
                    <a:pt x="56" y="56"/>
                  </a:cubicBezTo>
                  <a:cubicBezTo>
                    <a:pt x="56" y="56"/>
                    <a:pt x="57" y="55"/>
                    <a:pt x="57" y="55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54"/>
                    <a:pt x="55" y="54"/>
                    <a:pt x="55" y="54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54" y="54"/>
                    <a:pt x="53" y="54"/>
                    <a:pt x="53" y="54"/>
                  </a:cubicBezTo>
                  <a:cubicBezTo>
                    <a:pt x="53" y="53"/>
                    <a:pt x="53" y="53"/>
                    <a:pt x="52" y="53"/>
                  </a:cubicBezTo>
                  <a:cubicBezTo>
                    <a:pt x="52" y="53"/>
                    <a:pt x="52" y="53"/>
                    <a:pt x="51" y="53"/>
                  </a:cubicBezTo>
                  <a:cubicBezTo>
                    <a:pt x="51" y="53"/>
                    <a:pt x="51" y="53"/>
                    <a:pt x="51" y="53"/>
                  </a:cubicBezTo>
                  <a:cubicBezTo>
                    <a:pt x="50" y="53"/>
                    <a:pt x="50" y="53"/>
                    <a:pt x="50" y="52"/>
                  </a:cubicBezTo>
                  <a:cubicBezTo>
                    <a:pt x="50" y="52"/>
                    <a:pt x="50" y="52"/>
                    <a:pt x="49" y="52"/>
                  </a:cubicBezTo>
                  <a:cubicBezTo>
                    <a:pt x="54" y="48"/>
                    <a:pt x="58" y="44"/>
                    <a:pt x="62" y="40"/>
                  </a:cubicBezTo>
                  <a:cubicBezTo>
                    <a:pt x="63" y="40"/>
                    <a:pt x="63" y="41"/>
                    <a:pt x="63" y="41"/>
                  </a:cubicBezTo>
                  <a:cubicBezTo>
                    <a:pt x="63" y="41"/>
                    <a:pt x="63" y="41"/>
                    <a:pt x="63" y="42"/>
                  </a:cubicBezTo>
                  <a:cubicBezTo>
                    <a:pt x="63" y="42"/>
                    <a:pt x="63" y="43"/>
                    <a:pt x="64" y="43"/>
                  </a:cubicBezTo>
                  <a:cubicBezTo>
                    <a:pt x="64" y="43"/>
                    <a:pt x="64" y="44"/>
                    <a:pt x="64" y="44"/>
                  </a:cubicBezTo>
                  <a:cubicBezTo>
                    <a:pt x="64" y="45"/>
                    <a:pt x="64" y="45"/>
                    <a:pt x="64" y="46"/>
                  </a:cubicBezTo>
                  <a:cubicBezTo>
                    <a:pt x="64" y="46"/>
                    <a:pt x="65" y="46"/>
                    <a:pt x="65" y="46"/>
                  </a:cubicBezTo>
                  <a:cubicBezTo>
                    <a:pt x="65" y="47"/>
                    <a:pt x="66" y="46"/>
                    <a:pt x="66" y="46"/>
                  </a:cubicBezTo>
                  <a:cubicBezTo>
                    <a:pt x="66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7"/>
                  </a:cubicBezTo>
                  <a:cubicBezTo>
                    <a:pt x="67" y="47"/>
                    <a:pt x="68" y="47"/>
                    <a:pt x="68" y="47"/>
                  </a:cubicBezTo>
                  <a:cubicBezTo>
                    <a:pt x="68" y="47"/>
                    <a:pt x="69" y="47"/>
                    <a:pt x="69" y="48"/>
                  </a:cubicBezTo>
                  <a:cubicBezTo>
                    <a:pt x="69" y="48"/>
                    <a:pt x="69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9" y="48"/>
                    <a:pt x="69" y="48"/>
                    <a:pt x="68" y="48"/>
                  </a:cubicBezTo>
                  <a:cubicBezTo>
                    <a:pt x="68" y="47"/>
                    <a:pt x="68" y="47"/>
                    <a:pt x="67" y="47"/>
                  </a:cubicBezTo>
                  <a:cubicBezTo>
                    <a:pt x="67" y="47"/>
                    <a:pt x="67" y="47"/>
                    <a:pt x="66" y="47"/>
                  </a:cubicBezTo>
                  <a:cubicBezTo>
                    <a:pt x="66" y="47"/>
                    <a:pt x="66" y="48"/>
                    <a:pt x="66" y="48"/>
                  </a:cubicBezTo>
                  <a:cubicBezTo>
                    <a:pt x="66" y="48"/>
                    <a:pt x="66" y="48"/>
                    <a:pt x="67" y="48"/>
                  </a:cubicBezTo>
                  <a:cubicBezTo>
                    <a:pt x="67" y="48"/>
                    <a:pt x="67" y="49"/>
                    <a:pt x="68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70" y="49"/>
                    <a:pt x="70" y="49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1" y="50"/>
                    <a:pt x="71" y="49"/>
                    <a:pt x="71" y="49"/>
                  </a:cubicBezTo>
                  <a:cubicBezTo>
                    <a:pt x="71" y="49"/>
                    <a:pt x="71" y="50"/>
                    <a:pt x="71" y="50"/>
                  </a:cubicBezTo>
                  <a:cubicBezTo>
                    <a:pt x="71" y="50"/>
                    <a:pt x="70" y="51"/>
                    <a:pt x="70" y="51"/>
                  </a:cubicBezTo>
                  <a:cubicBezTo>
                    <a:pt x="70" y="52"/>
                    <a:pt x="70" y="52"/>
                    <a:pt x="69" y="52"/>
                  </a:cubicBezTo>
                  <a:cubicBezTo>
                    <a:pt x="69" y="52"/>
                    <a:pt x="68" y="52"/>
                    <a:pt x="68" y="51"/>
                  </a:cubicBezTo>
                  <a:cubicBezTo>
                    <a:pt x="68" y="51"/>
                    <a:pt x="68" y="52"/>
                    <a:pt x="67" y="52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7" y="54"/>
                    <a:pt x="66" y="54"/>
                    <a:pt x="67" y="55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55"/>
                    <a:pt x="67" y="55"/>
                    <a:pt x="67" y="56"/>
                  </a:cubicBezTo>
                  <a:cubicBezTo>
                    <a:pt x="67" y="56"/>
                    <a:pt x="67" y="57"/>
                    <a:pt x="67" y="57"/>
                  </a:cubicBezTo>
                  <a:cubicBezTo>
                    <a:pt x="67" y="57"/>
                    <a:pt x="68" y="58"/>
                    <a:pt x="68" y="58"/>
                  </a:cubicBezTo>
                  <a:cubicBezTo>
                    <a:pt x="69" y="58"/>
                    <a:pt x="69" y="59"/>
                    <a:pt x="69" y="59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60"/>
                    <a:pt x="70" y="60"/>
                    <a:pt x="70" y="61"/>
                  </a:cubicBezTo>
                  <a:cubicBezTo>
                    <a:pt x="70" y="61"/>
                    <a:pt x="71" y="62"/>
                    <a:pt x="71" y="63"/>
                  </a:cubicBezTo>
                  <a:cubicBezTo>
                    <a:pt x="71" y="63"/>
                    <a:pt x="71" y="63"/>
                    <a:pt x="72" y="63"/>
                  </a:cubicBezTo>
                  <a:cubicBezTo>
                    <a:pt x="72" y="64"/>
                    <a:pt x="73" y="66"/>
                    <a:pt x="74" y="66"/>
                  </a:cubicBezTo>
                  <a:cubicBezTo>
                    <a:pt x="74" y="66"/>
                    <a:pt x="74" y="66"/>
                    <a:pt x="74" y="67"/>
                  </a:cubicBezTo>
                  <a:cubicBezTo>
                    <a:pt x="75" y="67"/>
                    <a:pt x="75" y="66"/>
                    <a:pt x="75" y="66"/>
                  </a:cubicBezTo>
                  <a:cubicBezTo>
                    <a:pt x="76" y="66"/>
                    <a:pt x="77" y="67"/>
                    <a:pt x="77" y="67"/>
                  </a:cubicBezTo>
                  <a:cubicBezTo>
                    <a:pt x="77" y="67"/>
                    <a:pt x="78" y="67"/>
                    <a:pt x="78" y="67"/>
                  </a:cubicBezTo>
                  <a:cubicBezTo>
                    <a:pt x="78" y="68"/>
                    <a:pt x="78" y="67"/>
                    <a:pt x="79" y="68"/>
                  </a:cubicBezTo>
                  <a:cubicBezTo>
                    <a:pt x="79" y="68"/>
                    <a:pt x="80" y="68"/>
                    <a:pt x="80" y="68"/>
                  </a:cubicBezTo>
                  <a:cubicBezTo>
                    <a:pt x="80" y="68"/>
                    <a:pt x="80" y="68"/>
                    <a:pt x="81" y="68"/>
                  </a:cubicBezTo>
                  <a:cubicBezTo>
                    <a:pt x="81" y="67"/>
                    <a:pt x="81" y="67"/>
                    <a:pt x="81" y="66"/>
                  </a:cubicBezTo>
                  <a:cubicBezTo>
                    <a:pt x="81" y="66"/>
                    <a:pt x="82" y="65"/>
                    <a:pt x="82" y="64"/>
                  </a:cubicBezTo>
                  <a:cubicBezTo>
                    <a:pt x="82" y="63"/>
                    <a:pt x="82" y="64"/>
                    <a:pt x="82" y="63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62"/>
                    <a:pt x="84" y="61"/>
                    <a:pt x="84" y="61"/>
                  </a:cubicBezTo>
                  <a:cubicBezTo>
                    <a:pt x="84" y="60"/>
                    <a:pt x="84" y="60"/>
                    <a:pt x="84" y="59"/>
                  </a:cubicBezTo>
                  <a:cubicBezTo>
                    <a:pt x="84" y="59"/>
                    <a:pt x="85" y="59"/>
                    <a:pt x="85" y="58"/>
                  </a:cubicBezTo>
                  <a:cubicBezTo>
                    <a:pt x="85" y="58"/>
                    <a:pt x="87" y="57"/>
                    <a:pt x="87" y="57"/>
                  </a:cubicBezTo>
                  <a:cubicBezTo>
                    <a:pt x="88" y="57"/>
                    <a:pt x="88" y="57"/>
                    <a:pt x="89" y="57"/>
                  </a:cubicBezTo>
                  <a:cubicBezTo>
                    <a:pt x="89" y="57"/>
                    <a:pt x="90" y="56"/>
                    <a:pt x="91" y="56"/>
                  </a:cubicBezTo>
                  <a:cubicBezTo>
                    <a:pt x="91" y="56"/>
                    <a:pt x="92" y="56"/>
                    <a:pt x="92" y="55"/>
                  </a:cubicBezTo>
                  <a:cubicBezTo>
                    <a:pt x="93" y="55"/>
                    <a:pt x="94" y="54"/>
                    <a:pt x="94" y="54"/>
                  </a:cubicBezTo>
                  <a:cubicBezTo>
                    <a:pt x="94" y="53"/>
                    <a:pt x="95" y="53"/>
                    <a:pt x="96" y="53"/>
                  </a:cubicBezTo>
                  <a:cubicBezTo>
                    <a:pt x="96" y="53"/>
                    <a:pt x="95" y="52"/>
                    <a:pt x="95" y="52"/>
                  </a:cubicBezTo>
                  <a:cubicBezTo>
                    <a:pt x="95" y="52"/>
                    <a:pt x="96" y="52"/>
                    <a:pt x="97" y="53"/>
                  </a:cubicBezTo>
                  <a:cubicBezTo>
                    <a:pt x="98" y="53"/>
                    <a:pt x="100" y="52"/>
                    <a:pt x="100" y="52"/>
                  </a:cubicBezTo>
                  <a:cubicBezTo>
                    <a:pt x="101" y="52"/>
                    <a:pt x="105" y="51"/>
                    <a:pt x="106" y="50"/>
                  </a:cubicBezTo>
                  <a:cubicBezTo>
                    <a:pt x="106" y="50"/>
                    <a:pt x="108" y="49"/>
                    <a:pt x="108" y="49"/>
                  </a:cubicBezTo>
                  <a:cubicBezTo>
                    <a:pt x="108" y="49"/>
                    <a:pt x="109" y="49"/>
                    <a:pt x="109" y="49"/>
                  </a:cubicBezTo>
                  <a:cubicBezTo>
                    <a:pt x="109" y="49"/>
                    <a:pt x="108" y="49"/>
                    <a:pt x="107" y="49"/>
                  </a:cubicBezTo>
                  <a:cubicBezTo>
                    <a:pt x="107" y="49"/>
                    <a:pt x="106" y="49"/>
                    <a:pt x="106" y="49"/>
                  </a:cubicBezTo>
                  <a:cubicBezTo>
                    <a:pt x="105" y="48"/>
                    <a:pt x="105" y="48"/>
                    <a:pt x="104" y="48"/>
                  </a:cubicBezTo>
                  <a:cubicBezTo>
                    <a:pt x="104" y="48"/>
                    <a:pt x="103" y="49"/>
                    <a:pt x="103" y="48"/>
                  </a:cubicBezTo>
                  <a:cubicBezTo>
                    <a:pt x="103" y="48"/>
                    <a:pt x="104" y="48"/>
                    <a:pt x="104" y="48"/>
                  </a:cubicBezTo>
                  <a:cubicBezTo>
                    <a:pt x="105" y="48"/>
                    <a:pt x="104" y="48"/>
                    <a:pt x="104" y="47"/>
                  </a:cubicBezTo>
                  <a:cubicBezTo>
                    <a:pt x="104" y="47"/>
                    <a:pt x="104" y="47"/>
                    <a:pt x="105" y="47"/>
                  </a:cubicBezTo>
                  <a:cubicBezTo>
                    <a:pt x="105" y="47"/>
                    <a:pt x="105" y="47"/>
                    <a:pt x="106" y="47"/>
                  </a:cubicBezTo>
                  <a:cubicBezTo>
                    <a:pt x="106" y="47"/>
                    <a:pt x="106" y="48"/>
                    <a:pt x="107" y="48"/>
                  </a:cubicBezTo>
                  <a:cubicBezTo>
                    <a:pt x="107" y="48"/>
                    <a:pt x="108" y="48"/>
                    <a:pt x="108" y="48"/>
                  </a:cubicBezTo>
                  <a:cubicBezTo>
                    <a:pt x="109" y="48"/>
                    <a:pt x="109" y="48"/>
                    <a:pt x="109" y="48"/>
                  </a:cubicBezTo>
                  <a:cubicBezTo>
                    <a:pt x="110" y="48"/>
                    <a:pt x="109" y="48"/>
                    <a:pt x="109" y="47"/>
                  </a:cubicBezTo>
                  <a:cubicBezTo>
                    <a:pt x="109" y="47"/>
                    <a:pt x="109" y="46"/>
                    <a:pt x="109" y="46"/>
                  </a:cubicBezTo>
                  <a:cubicBezTo>
                    <a:pt x="109" y="46"/>
                    <a:pt x="109" y="46"/>
                    <a:pt x="108" y="46"/>
                  </a:cubicBezTo>
                  <a:cubicBezTo>
                    <a:pt x="108" y="46"/>
                    <a:pt x="107" y="45"/>
                    <a:pt x="107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5" y="45"/>
                    <a:pt x="105" y="44"/>
                    <a:pt x="105" y="44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6" y="44"/>
                    <a:pt x="106" y="44"/>
                    <a:pt x="106" y="44"/>
                  </a:cubicBezTo>
                  <a:cubicBezTo>
                    <a:pt x="106" y="44"/>
                    <a:pt x="106" y="45"/>
                    <a:pt x="107" y="45"/>
                  </a:cubicBezTo>
                  <a:cubicBezTo>
                    <a:pt x="107" y="45"/>
                    <a:pt x="108" y="45"/>
                    <a:pt x="108" y="45"/>
                  </a:cubicBezTo>
                  <a:cubicBezTo>
                    <a:pt x="109" y="45"/>
                    <a:pt x="109" y="45"/>
                    <a:pt x="109" y="45"/>
                  </a:cubicBezTo>
                  <a:cubicBezTo>
                    <a:pt x="109" y="44"/>
                    <a:pt x="109" y="44"/>
                    <a:pt x="109" y="44"/>
                  </a:cubicBezTo>
                  <a:cubicBezTo>
                    <a:pt x="109" y="44"/>
                    <a:pt x="107" y="43"/>
                    <a:pt x="107" y="43"/>
                  </a:cubicBezTo>
                  <a:cubicBezTo>
                    <a:pt x="107" y="43"/>
                    <a:pt x="106" y="43"/>
                    <a:pt x="106" y="43"/>
                  </a:cubicBezTo>
                  <a:cubicBezTo>
                    <a:pt x="105" y="42"/>
                    <a:pt x="105" y="42"/>
                    <a:pt x="106" y="42"/>
                  </a:cubicBezTo>
                  <a:cubicBezTo>
                    <a:pt x="106" y="42"/>
                    <a:pt x="106" y="42"/>
                    <a:pt x="107" y="43"/>
                  </a:cubicBezTo>
                  <a:cubicBezTo>
                    <a:pt x="107" y="43"/>
                    <a:pt x="107" y="43"/>
                    <a:pt x="108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9" y="44"/>
                    <a:pt x="109" y="43"/>
                    <a:pt x="109" y="43"/>
                  </a:cubicBezTo>
                  <a:cubicBezTo>
                    <a:pt x="110" y="43"/>
                    <a:pt x="110" y="43"/>
                    <a:pt x="111" y="43"/>
                  </a:cubicBezTo>
                  <a:cubicBezTo>
                    <a:pt x="111" y="43"/>
                    <a:pt x="111" y="42"/>
                    <a:pt x="111" y="42"/>
                  </a:cubicBezTo>
                  <a:cubicBezTo>
                    <a:pt x="111" y="42"/>
                    <a:pt x="110" y="42"/>
                    <a:pt x="110" y="42"/>
                  </a:cubicBezTo>
                  <a:cubicBezTo>
                    <a:pt x="111" y="42"/>
                    <a:pt x="111" y="41"/>
                    <a:pt x="111" y="41"/>
                  </a:cubicBezTo>
                  <a:cubicBezTo>
                    <a:pt x="111" y="40"/>
                    <a:pt x="111" y="41"/>
                    <a:pt x="112" y="41"/>
                  </a:cubicBezTo>
                  <a:cubicBezTo>
                    <a:pt x="112" y="41"/>
                    <a:pt x="112" y="41"/>
                    <a:pt x="113" y="41"/>
                  </a:cubicBezTo>
                  <a:cubicBezTo>
                    <a:pt x="113" y="41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2" y="40"/>
                    <a:pt x="112" y="40"/>
                  </a:cubicBezTo>
                  <a:cubicBezTo>
                    <a:pt x="112" y="40"/>
                    <a:pt x="111" y="40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2" y="39"/>
                    <a:pt x="112" y="39"/>
                    <a:pt x="113" y="39"/>
                  </a:cubicBezTo>
                  <a:cubicBezTo>
                    <a:pt x="113" y="39"/>
                    <a:pt x="113" y="39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0" y="37"/>
                    <a:pt x="110" y="37"/>
                    <a:pt x="110" y="36"/>
                  </a:cubicBezTo>
                  <a:cubicBezTo>
                    <a:pt x="110" y="36"/>
                    <a:pt x="110" y="36"/>
                    <a:pt x="111" y="36"/>
                  </a:cubicBezTo>
                  <a:cubicBezTo>
                    <a:pt x="111" y="36"/>
                    <a:pt x="111" y="36"/>
                    <a:pt x="112" y="36"/>
                  </a:cubicBezTo>
                  <a:cubicBezTo>
                    <a:pt x="112" y="36"/>
                    <a:pt x="112" y="37"/>
                    <a:pt x="112" y="36"/>
                  </a:cubicBezTo>
                  <a:cubicBezTo>
                    <a:pt x="112" y="36"/>
                    <a:pt x="113" y="36"/>
                    <a:pt x="113" y="37"/>
                  </a:cubicBezTo>
                  <a:cubicBezTo>
                    <a:pt x="113" y="37"/>
                    <a:pt x="113" y="37"/>
                    <a:pt x="113" y="38"/>
                  </a:cubicBezTo>
                  <a:cubicBezTo>
                    <a:pt x="113" y="38"/>
                    <a:pt x="114" y="38"/>
                    <a:pt x="114" y="38"/>
                  </a:cubicBezTo>
                  <a:cubicBezTo>
                    <a:pt x="114" y="37"/>
                    <a:pt x="113" y="37"/>
                    <a:pt x="113" y="37"/>
                  </a:cubicBezTo>
                  <a:cubicBezTo>
                    <a:pt x="113" y="37"/>
                    <a:pt x="114" y="36"/>
                    <a:pt x="114" y="36"/>
                  </a:cubicBezTo>
                  <a:cubicBezTo>
                    <a:pt x="114" y="36"/>
                    <a:pt x="114" y="36"/>
                    <a:pt x="114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6"/>
                    <a:pt x="112" y="35"/>
                    <a:pt x="112" y="35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4"/>
                    <a:pt x="113" y="34"/>
                    <a:pt x="112" y="34"/>
                  </a:cubicBezTo>
                  <a:cubicBezTo>
                    <a:pt x="112" y="34"/>
                    <a:pt x="111" y="34"/>
                    <a:pt x="111" y="34"/>
                  </a:cubicBezTo>
                  <a:cubicBezTo>
                    <a:pt x="111" y="34"/>
                    <a:pt x="111" y="34"/>
                    <a:pt x="111" y="34"/>
                  </a:cubicBezTo>
                  <a:cubicBezTo>
                    <a:pt x="111" y="34"/>
                    <a:pt x="110" y="34"/>
                    <a:pt x="110" y="33"/>
                  </a:cubicBezTo>
                  <a:cubicBezTo>
                    <a:pt x="110" y="33"/>
                    <a:pt x="111" y="33"/>
                    <a:pt x="111" y="33"/>
                  </a:cubicBezTo>
                  <a:cubicBezTo>
                    <a:pt x="111" y="32"/>
                    <a:pt x="111" y="33"/>
                    <a:pt x="112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2" y="32"/>
                    <a:pt x="113" y="32"/>
                    <a:pt x="113" y="32"/>
                  </a:cubicBezTo>
                  <a:cubicBezTo>
                    <a:pt x="113" y="31"/>
                    <a:pt x="112" y="31"/>
                    <a:pt x="113" y="31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5" y="31"/>
                    <a:pt x="115" y="30"/>
                    <a:pt x="115" y="30"/>
                  </a:cubicBezTo>
                  <a:cubicBezTo>
                    <a:pt x="115" y="30"/>
                    <a:pt x="114" y="30"/>
                    <a:pt x="114" y="30"/>
                  </a:cubicBezTo>
                  <a:cubicBezTo>
                    <a:pt x="114" y="30"/>
                    <a:pt x="115" y="30"/>
                    <a:pt x="115" y="30"/>
                  </a:cubicBezTo>
                  <a:cubicBezTo>
                    <a:pt x="115" y="30"/>
                    <a:pt x="116" y="30"/>
                    <a:pt x="116" y="30"/>
                  </a:cubicBezTo>
                  <a:cubicBezTo>
                    <a:pt x="116" y="29"/>
                    <a:pt x="115" y="29"/>
                    <a:pt x="115" y="29"/>
                  </a:cubicBezTo>
                  <a:cubicBezTo>
                    <a:pt x="115" y="29"/>
                    <a:pt x="115" y="29"/>
                    <a:pt x="115" y="29"/>
                  </a:cubicBezTo>
                  <a:cubicBezTo>
                    <a:pt x="115" y="29"/>
                    <a:pt x="116" y="29"/>
                    <a:pt x="116" y="29"/>
                  </a:cubicBezTo>
                  <a:cubicBezTo>
                    <a:pt x="116" y="29"/>
                    <a:pt x="117" y="29"/>
                    <a:pt x="117" y="29"/>
                  </a:cubicBezTo>
                  <a:cubicBezTo>
                    <a:pt x="118" y="29"/>
                    <a:pt x="118" y="29"/>
                    <a:pt x="118" y="29"/>
                  </a:cubicBezTo>
                  <a:cubicBezTo>
                    <a:pt x="117" y="28"/>
                    <a:pt x="117" y="28"/>
                    <a:pt x="117" y="28"/>
                  </a:cubicBezTo>
                  <a:cubicBezTo>
                    <a:pt x="117" y="28"/>
                    <a:pt x="118" y="28"/>
                    <a:pt x="118" y="28"/>
                  </a:cubicBezTo>
                  <a:cubicBezTo>
                    <a:pt x="119" y="28"/>
                    <a:pt x="119" y="28"/>
                    <a:pt x="119" y="28"/>
                  </a:cubicBezTo>
                  <a:cubicBezTo>
                    <a:pt x="120" y="28"/>
                    <a:pt x="120" y="28"/>
                    <a:pt x="121" y="28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21" y="27"/>
                    <a:pt x="121" y="27"/>
                    <a:pt x="121" y="27"/>
                  </a:cubicBezTo>
                  <a:cubicBezTo>
                    <a:pt x="120" y="27"/>
                    <a:pt x="119" y="27"/>
                    <a:pt x="118" y="27"/>
                  </a:cubicBezTo>
                  <a:cubicBezTo>
                    <a:pt x="117" y="27"/>
                    <a:pt x="116" y="27"/>
                    <a:pt x="116" y="28"/>
                  </a:cubicBezTo>
                  <a:cubicBezTo>
                    <a:pt x="115" y="28"/>
                    <a:pt x="115" y="28"/>
                    <a:pt x="115" y="28"/>
                  </a:cubicBezTo>
                  <a:cubicBezTo>
                    <a:pt x="114" y="28"/>
                    <a:pt x="114" y="28"/>
                    <a:pt x="113" y="28"/>
                  </a:cubicBezTo>
                  <a:cubicBezTo>
                    <a:pt x="113" y="28"/>
                    <a:pt x="112" y="27"/>
                    <a:pt x="112" y="27"/>
                  </a:cubicBezTo>
                  <a:cubicBezTo>
                    <a:pt x="112" y="27"/>
                    <a:pt x="111" y="28"/>
                    <a:pt x="110" y="28"/>
                  </a:cubicBezTo>
                  <a:cubicBezTo>
                    <a:pt x="110" y="28"/>
                    <a:pt x="109" y="29"/>
                    <a:pt x="108" y="29"/>
                  </a:cubicBezTo>
                  <a:cubicBezTo>
                    <a:pt x="108" y="29"/>
                    <a:pt x="106" y="29"/>
                    <a:pt x="107" y="29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8" y="29"/>
                    <a:pt x="109" y="28"/>
                    <a:pt x="109" y="28"/>
                  </a:cubicBezTo>
                  <a:cubicBezTo>
                    <a:pt x="109" y="28"/>
                    <a:pt x="110" y="27"/>
                    <a:pt x="110" y="27"/>
                  </a:cubicBezTo>
                  <a:cubicBezTo>
                    <a:pt x="110" y="26"/>
                    <a:pt x="109" y="27"/>
                    <a:pt x="109" y="27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7" y="27"/>
                    <a:pt x="107" y="27"/>
                    <a:pt x="107" y="27"/>
                  </a:cubicBezTo>
                  <a:cubicBezTo>
                    <a:pt x="106" y="27"/>
                    <a:pt x="106" y="27"/>
                    <a:pt x="106" y="27"/>
                  </a:cubicBezTo>
                  <a:cubicBezTo>
                    <a:pt x="105" y="27"/>
                    <a:pt x="105" y="27"/>
                    <a:pt x="105" y="27"/>
                  </a:cubicBezTo>
                  <a:cubicBezTo>
                    <a:pt x="104" y="27"/>
                    <a:pt x="102" y="27"/>
                    <a:pt x="102" y="27"/>
                  </a:cubicBezTo>
                  <a:cubicBezTo>
                    <a:pt x="102" y="27"/>
                    <a:pt x="97" y="27"/>
                    <a:pt x="96" y="27"/>
                  </a:cubicBezTo>
                  <a:cubicBezTo>
                    <a:pt x="96" y="27"/>
                    <a:pt x="95" y="27"/>
                    <a:pt x="95" y="27"/>
                  </a:cubicBezTo>
                  <a:cubicBezTo>
                    <a:pt x="94" y="27"/>
                    <a:pt x="95" y="27"/>
                    <a:pt x="96" y="27"/>
                  </a:cubicBezTo>
                  <a:cubicBezTo>
                    <a:pt x="96" y="26"/>
                    <a:pt x="100" y="26"/>
                    <a:pt x="100" y="26"/>
                  </a:cubicBezTo>
                  <a:cubicBezTo>
                    <a:pt x="101" y="26"/>
                    <a:pt x="103" y="26"/>
                    <a:pt x="104" y="26"/>
                  </a:cubicBezTo>
                  <a:cubicBezTo>
                    <a:pt x="104" y="26"/>
                    <a:pt x="106" y="26"/>
                    <a:pt x="107" y="26"/>
                  </a:cubicBezTo>
                  <a:cubicBezTo>
                    <a:pt x="107" y="26"/>
                    <a:pt x="109" y="26"/>
                    <a:pt x="109" y="26"/>
                  </a:cubicBezTo>
                  <a:cubicBezTo>
                    <a:pt x="110" y="26"/>
                    <a:pt x="109" y="25"/>
                    <a:pt x="109" y="25"/>
                  </a:cubicBezTo>
                  <a:cubicBezTo>
                    <a:pt x="109" y="25"/>
                    <a:pt x="108" y="25"/>
                    <a:pt x="107" y="25"/>
                  </a:cubicBezTo>
                  <a:cubicBezTo>
                    <a:pt x="107" y="25"/>
                    <a:pt x="106" y="25"/>
                    <a:pt x="106" y="25"/>
                  </a:cubicBezTo>
                  <a:cubicBezTo>
                    <a:pt x="105" y="25"/>
                    <a:pt x="105" y="25"/>
                    <a:pt x="105" y="24"/>
                  </a:cubicBezTo>
                  <a:cubicBezTo>
                    <a:pt x="104" y="24"/>
                    <a:pt x="104" y="24"/>
                    <a:pt x="104" y="24"/>
                  </a:cubicBezTo>
                  <a:cubicBezTo>
                    <a:pt x="104" y="24"/>
                    <a:pt x="102" y="24"/>
                    <a:pt x="102" y="24"/>
                  </a:cubicBezTo>
                  <a:cubicBezTo>
                    <a:pt x="102" y="24"/>
                    <a:pt x="99" y="24"/>
                    <a:pt x="98" y="24"/>
                  </a:cubicBezTo>
                  <a:cubicBezTo>
                    <a:pt x="98" y="24"/>
                    <a:pt x="96" y="23"/>
                    <a:pt x="95" y="24"/>
                  </a:cubicBezTo>
                  <a:cubicBezTo>
                    <a:pt x="94" y="24"/>
                    <a:pt x="92" y="24"/>
                    <a:pt x="92" y="24"/>
                  </a:cubicBezTo>
                  <a:cubicBezTo>
                    <a:pt x="91" y="24"/>
                    <a:pt x="89" y="24"/>
                    <a:pt x="89" y="24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107" y="14"/>
                    <a:pt x="130" y="8"/>
                    <a:pt x="153" y="8"/>
                  </a:cubicBezTo>
                  <a:cubicBezTo>
                    <a:pt x="189" y="8"/>
                    <a:pt x="222" y="21"/>
                    <a:pt x="247" y="42"/>
                  </a:cubicBezTo>
                  <a:cubicBezTo>
                    <a:pt x="247" y="42"/>
                    <a:pt x="246" y="42"/>
                    <a:pt x="246" y="42"/>
                  </a:cubicBezTo>
                  <a:cubicBezTo>
                    <a:pt x="246" y="42"/>
                    <a:pt x="246" y="42"/>
                    <a:pt x="245" y="42"/>
                  </a:cubicBezTo>
                  <a:cubicBezTo>
                    <a:pt x="245" y="42"/>
                    <a:pt x="245" y="43"/>
                    <a:pt x="245" y="43"/>
                  </a:cubicBezTo>
                  <a:cubicBezTo>
                    <a:pt x="245" y="43"/>
                    <a:pt x="245" y="43"/>
                    <a:pt x="245" y="43"/>
                  </a:cubicBezTo>
                  <a:cubicBezTo>
                    <a:pt x="245" y="43"/>
                    <a:pt x="246" y="43"/>
                    <a:pt x="246" y="44"/>
                  </a:cubicBezTo>
                  <a:cubicBezTo>
                    <a:pt x="246" y="44"/>
                    <a:pt x="246" y="44"/>
                    <a:pt x="246" y="45"/>
                  </a:cubicBezTo>
                  <a:cubicBezTo>
                    <a:pt x="246" y="45"/>
                    <a:pt x="246" y="45"/>
                    <a:pt x="246" y="45"/>
                  </a:cubicBezTo>
                  <a:cubicBezTo>
                    <a:pt x="246" y="45"/>
                    <a:pt x="247" y="45"/>
                    <a:pt x="247" y="45"/>
                  </a:cubicBezTo>
                  <a:cubicBezTo>
                    <a:pt x="248" y="45"/>
                    <a:pt x="248" y="45"/>
                    <a:pt x="248" y="45"/>
                  </a:cubicBezTo>
                  <a:cubicBezTo>
                    <a:pt x="248" y="45"/>
                    <a:pt x="249" y="46"/>
                    <a:pt x="249" y="46"/>
                  </a:cubicBezTo>
                  <a:cubicBezTo>
                    <a:pt x="249" y="46"/>
                    <a:pt x="249" y="46"/>
                    <a:pt x="249" y="46"/>
                  </a:cubicBezTo>
                  <a:cubicBezTo>
                    <a:pt x="249" y="46"/>
                    <a:pt x="249" y="47"/>
                    <a:pt x="249" y="47"/>
                  </a:cubicBezTo>
                  <a:cubicBezTo>
                    <a:pt x="249" y="47"/>
                    <a:pt x="249" y="47"/>
                    <a:pt x="249" y="48"/>
                  </a:cubicBezTo>
                  <a:cubicBezTo>
                    <a:pt x="249" y="48"/>
                    <a:pt x="249" y="48"/>
                    <a:pt x="249" y="48"/>
                  </a:cubicBezTo>
                  <a:cubicBezTo>
                    <a:pt x="249" y="48"/>
                    <a:pt x="249" y="48"/>
                    <a:pt x="249" y="49"/>
                  </a:cubicBezTo>
                  <a:cubicBezTo>
                    <a:pt x="249" y="49"/>
                    <a:pt x="248" y="49"/>
                    <a:pt x="249" y="49"/>
                  </a:cubicBezTo>
                  <a:cubicBezTo>
                    <a:pt x="249" y="49"/>
                    <a:pt x="249" y="49"/>
                    <a:pt x="249" y="49"/>
                  </a:cubicBezTo>
                  <a:cubicBezTo>
                    <a:pt x="250" y="49"/>
                    <a:pt x="250" y="49"/>
                    <a:pt x="250" y="49"/>
                  </a:cubicBezTo>
                  <a:cubicBezTo>
                    <a:pt x="250" y="50"/>
                    <a:pt x="250" y="50"/>
                    <a:pt x="250" y="50"/>
                  </a:cubicBezTo>
                  <a:cubicBezTo>
                    <a:pt x="250" y="50"/>
                    <a:pt x="251" y="50"/>
                    <a:pt x="251" y="50"/>
                  </a:cubicBezTo>
                  <a:cubicBezTo>
                    <a:pt x="251" y="50"/>
                    <a:pt x="250" y="50"/>
                    <a:pt x="250" y="50"/>
                  </a:cubicBezTo>
                  <a:cubicBezTo>
                    <a:pt x="250" y="50"/>
                    <a:pt x="250" y="50"/>
                    <a:pt x="249" y="49"/>
                  </a:cubicBezTo>
                  <a:cubicBezTo>
                    <a:pt x="249" y="49"/>
                    <a:pt x="249" y="49"/>
                    <a:pt x="249" y="49"/>
                  </a:cubicBezTo>
                  <a:cubicBezTo>
                    <a:pt x="249" y="49"/>
                    <a:pt x="248" y="49"/>
                    <a:pt x="248" y="49"/>
                  </a:cubicBezTo>
                  <a:cubicBezTo>
                    <a:pt x="248" y="49"/>
                    <a:pt x="248" y="49"/>
                    <a:pt x="248" y="49"/>
                  </a:cubicBezTo>
                  <a:cubicBezTo>
                    <a:pt x="248" y="48"/>
                    <a:pt x="248" y="48"/>
                    <a:pt x="249" y="48"/>
                  </a:cubicBezTo>
                  <a:cubicBezTo>
                    <a:pt x="249" y="48"/>
                    <a:pt x="249" y="48"/>
                    <a:pt x="249" y="48"/>
                  </a:cubicBezTo>
                  <a:cubicBezTo>
                    <a:pt x="249" y="48"/>
                    <a:pt x="249" y="48"/>
                    <a:pt x="249" y="48"/>
                  </a:cubicBezTo>
                  <a:cubicBezTo>
                    <a:pt x="249" y="47"/>
                    <a:pt x="249" y="47"/>
                    <a:pt x="248" y="47"/>
                  </a:cubicBezTo>
                  <a:cubicBezTo>
                    <a:pt x="248" y="47"/>
                    <a:pt x="249" y="47"/>
                    <a:pt x="249" y="46"/>
                  </a:cubicBezTo>
                  <a:cubicBezTo>
                    <a:pt x="249" y="46"/>
                    <a:pt x="249" y="46"/>
                    <a:pt x="249" y="46"/>
                  </a:cubicBezTo>
                  <a:cubicBezTo>
                    <a:pt x="249" y="46"/>
                    <a:pt x="249" y="46"/>
                    <a:pt x="249" y="46"/>
                  </a:cubicBezTo>
                  <a:cubicBezTo>
                    <a:pt x="248" y="46"/>
                    <a:pt x="248" y="46"/>
                    <a:pt x="248" y="46"/>
                  </a:cubicBezTo>
                  <a:cubicBezTo>
                    <a:pt x="248" y="46"/>
                    <a:pt x="248" y="46"/>
                    <a:pt x="247" y="46"/>
                  </a:cubicBezTo>
                  <a:cubicBezTo>
                    <a:pt x="247" y="46"/>
                    <a:pt x="246" y="46"/>
                    <a:pt x="246" y="46"/>
                  </a:cubicBezTo>
                  <a:cubicBezTo>
                    <a:pt x="246" y="46"/>
                    <a:pt x="245" y="45"/>
                    <a:pt x="245" y="45"/>
                  </a:cubicBezTo>
                  <a:cubicBezTo>
                    <a:pt x="245" y="45"/>
                    <a:pt x="245" y="45"/>
                    <a:pt x="245" y="45"/>
                  </a:cubicBezTo>
                  <a:cubicBezTo>
                    <a:pt x="244" y="45"/>
                    <a:pt x="244" y="45"/>
                    <a:pt x="243" y="45"/>
                  </a:cubicBezTo>
                  <a:cubicBezTo>
                    <a:pt x="243" y="45"/>
                    <a:pt x="243" y="44"/>
                    <a:pt x="243" y="44"/>
                  </a:cubicBezTo>
                  <a:cubicBezTo>
                    <a:pt x="242" y="44"/>
                    <a:pt x="242" y="44"/>
                    <a:pt x="242" y="44"/>
                  </a:cubicBezTo>
                  <a:cubicBezTo>
                    <a:pt x="242" y="44"/>
                    <a:pt x="241" y="44"/>
                    <a:pt x="241" y="43"/>
                  </a:cubicBezTo>
                  <a:cubicBezTo>
                    <a:pt x="241" y="43"/>
                    <a:pt x="241" y="43"/>
                    <a:pt x="240" y="43"/>
                  </a:cubicBezTo>
                  <a:cubicBezTo>
                    <a:pt x="240" y="43"/>
                    <a:pt x="240" y="42"/>
                    <a:pt x="240" y="42"/>
                  </a:cubicBezTo>
                  <a:cubicBezTo>
                    <a:pt x="240" y="42"/>
                    <a:pt x="239" y="42"/>
                    <a:pt x="239" y="42"/>
                  </a:cubicBezTo>
                  <a:cubicBezTo>
                    <a:pt x="239" y="42"/>
                    <a:pt x="238" y="43"/>
                    <a:pt x="238" y="43"/>
                  </a:cubicBezTo>
                  <a:cubicBezTo>
                    <a:pt x="238" y="43"/>
                    <a:pt x="238" y="43"/>
                    <a:pt x="238" y="43"/>
                  </a:cubicBezTo>
                  <a:cubicBezTo>
                    <a:pt x="238" y="43"/>
                    <a:pt x="239" y="43"/>
                    <a:pt x="239" y="43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40" y="43"/>
                    <a:pt x="240" y="43"/>
                    <a:pt x="240" y="43"/>
                  </a:cubicBezTo>
                  <a:cubicBezTo>
                    <a:pt x="240" y="44"/>
                    <a:pt x="239" y="44"/>
                    <a:pt x="239" y="44"/>
                  </a:cubicBezTo>
                  <a:cubicBezTo>
                    <a:pt x="239" y="44"/>
                    <a:pt x="239" y="44"/>
                    <a:pt x="239" y="44"/>
                  </a:cubicBezTo>
                  <a:cubicBezTo>
                    <a:pt x="239" y="44"/>
                    <a:pt x="240" y="44"/>
                    <a:pt x="240" y="44"/>
                  </a:cubicBezTo>
                  <a:cubicBezTo>
                    <a:pt x="240" y="44"/>
                    <a:pt x="240" y="44"/>
                    <a:pt x="240" y="44"/>
                  </a:cubicBezTo>
                  <a:cubicBezTo>
                    <a:pt x="240" y="44"/>
                    <a:pt x="240" y="44"/>
                    <a:pt x="240" y="45"/>
                  </a:cubicBezTo>
                  <a:cubicBezTo>
                    <a:pt x="240" y="45"/>
                    <a:pt x="239" y="45"/>
                    <a:pt x="240" y="45"/>
                  </a:cubicBezTo>
                  <a:cubicBezTo>
                    <a:pt x="240" y="45"/>
                    <a:pt x="240" y="45"/>
                    <a:pt x="239" y="45"/>
                  </a:cubicBezTo>
                  <a:cubicBezTo>
                    <a:pt x="239" y="45"/>
                    <a:pt x="239" y="46"/>
                    <a:pt x="239" y="46"/>
                  </a:cubicBezTo>
                  <a:cubicBezTo>
                    <a:pt x="239" y="46"/>
                    <a:pt x="239" y="45"/>
                    <a:pt x="239" y="45"/>
                  </a:cubicBezTo>
                  <a:cubicBezTo>
                    <a:pt x="239" y="45"/>
                    <a:pt x="239" y="45"/>
                    <a:pt x="239" y="45"/>
                  </a:cubicBezTo>
                  <a:cubicBezTo>
                    <a:pt x="239" y="45"/>
                    <a:pt x="239" y="44"/>
                    <a:pt x="239" y="44"/>
                  </a:cubicBezTo>
                  <a:cubicBezTo>
                    <a:pt x="239" y="44"/>
                    <a:pt x="239" y="44"/>
                    <a:pt x="239" y="44"/>
                  </a:cubicBezTo>
                  <a:cubicBezTo>
                    <a:pt x="238" y="44"/>
                    <a:pt x="238" y="44"/>
                    <a:pt x="238" y="44"/>
                  </a:cubicBezTo>
                  <a:cubicBezTo>
                    <a:pt x="238" y="44"/>
                    <a:pt x="238" y="43"/>
                    <a:pt x="238" y="43"/>
                  </a:cubicBezTo>
                  <a:cubicBezTo>
                    <a:pt x="237" y="43"/>
                    <a:pt x="237" y="43"/>
                    <a:pt x="237" y="43"/>
                  </a:cubicBezTo>
                  <a:cubicBezTo>
                    <a:pt x="237" y="43"/>
                    <a:pt x="237" y="43"/>
                    <a:pt x="237" y="43"/>
                  </a:cubicBezTo>
                  <a:cubicBezTo>
                    <a:pt x="237" y="43"/>
                    <a:pt x="237" y="44"/>
                    <a:pt x="237" y="44"/>
                  </a:cubicBezTo>
                  <a:cubicBezTo>
                    <a:pt x="237" y="44"/>
                    <a:pt x="238" y="44"/>
                    <a:pt x="238" y="44"/>
                  </a:cubicBezTo>
                  <a:cubicBezTo>
                    <a:pt x="238" y="44"/>
                    <a:pt x="238" y="44"/>
                    <a:pt x="238" y="45"/>
                  </a:cubicBezTo>
                  <a:cubicBezTo>
                    <a:pt x="238" y="45"/>
                    <a:pt x="238" y="45"/>
                    <a:pt x="238" y="45"/>
                  </a:cubicBezTo>
                  <a:cubicBezTo>
                    <a:pt x="238" y="45"/>
                    <a:pt x="237" y="45"/>
                    <a:pt x="237" y="45"/>
                  </a:cubicBezTo>
                  <a:cubicBezTo>
                    <a:pt x="237" y="45"/>
                    <a:pt x="236" y="46"/>
                    <a:pt x="236" y="46"/>
                  </a:cubicBezTo>
                  <a:cubicBezTo>
                    <a:pt x="236" y="46"/>
                    <a:pt x="236" y="46"/>
                    <a:pt x="236" y="46"/>
                  </a:cubicBezTo>
                  <a:cubicBezTo>
                    <a:pt x="236" y="46"/>
                    <a:pt x="236" y="46"/>
                    <a:pt x="235" y="46"/>
                  </a:cubicBezTo>
                  <a:cubicBezTo>
                    <a:pt x="235" y="46"/>
                    <a:pt x="235" y="47"/>
                    <a:pt x="235" y="47"/>
                  </a:cubicBezTo>
                  <a:cubicBezTo>
                    <a:pt x="235" y="47"/>
                    <a:pt x="234" y="47"/>
                    <a:pt x="234" y="47"/>
                  </a:cubicBezTo>
                  <a:cubicBezTo>
                    <a:pt x="234" y="46"/>
                    <a:pt x="234" y="46"/>
                    <a:pt x="234" y="46"/>
                  </a:cubicBezTo>
                  <a:cubicBezTo>
                    <a:pt x="234" y="46"/>
                    <a:pt x="235" y="45"/>
                    <a:pt x="235" y="45"/>
                  </a:cubicBezTo>
                  <a:cubicBezTo>
                    <a:pt x="235" y="45"/>
                    <a:pt x="235" y="45"/>
                    <a:pt x="235" y="45"/>
                  </a:cubicBezTo>
                  <a:cubicBezTo>
                    <a:pt x="235" y="45"/>
                    <a:pt x="235" y="44"/>
                    <a:pt x="235" y="44"/>
                  </a:cubicBezTo>
                  <a:cubicBezTo>
                    <a:pt x="235" y="44"/>
                    <a:pt x="235" y="44"/>
                    <a:pt x="235" y="44"/>
                  </a:cubicBezTo>
                  <a:cubicBezTo>
                    <a:pt x="235" y="44"/>
                    <a:pt x="233" y="44"/>
                    <a:pt x="233" y="44"/>
                  </a:cubicBezTo>
                  <a:cubicBezTo>
                    <a:pt x="233" y="44"/>
                    <a:pt x="233" y="44"/>
                    <a:pt x="232" y="44"/>
                  </a:cubicBezTo>
                  <a:cubicBezTo>
                    <a:pt x="232" y="44"/>
                    <a:pt x="232" y="43"/>
                    <a:pt x="232" y="43"/>
                  </a:cubicBezTo>
                  <a:cubicBezTo>
                    <a:pt x="232" y="43"/>
                    <a:pt x="232" y="43"/>
                    <a:pt x="232" y="43"/>
                  </a:cubicBezTo>
                  <a:cubicBezTo>
                    <a:pt x="232" y="43"/>
                    <a:pt x="233" y="43"/>
                    <a:pt x="233" y="43"/>
                  </a:cubicBezTo>
                  <a:cubicBezTo>
                    <a:pt x="233" y="43"/>
                    <a:pt x="233" y="43"/>
                    <a:pt x="233" y="43"/>
                  </a:cubicBezTo>
                  <a:cubicBezTo>
                    <a:pt x="234" y="43"/>
                    <a:pt x="233" y="43"/>
                    <a:pt x="233" y="43"/>
                  </a:cubicBezTo>
                  <a:cubicBezTo>
                    <a:pt x="233" y="43"/>
                    <a:pt x="233" y="43"/>
                    <a:pt x="233" y="42"/>
                  </a:cubicBezTo>
                  <a:cubicBezTo>
                    <a:pt x="233" y="42"/>
                    <a:pt x="232" y="42"/>
                    <a:pt x="232" y="42"/>
                  </a:cubicBezTo>
                  <a:cubicBezTo>
                    <a:pt x="232" y="43"/>
                    <a:pt x="231" y="43"/>
                    <a:pt x="231" y="4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31" y="43"/>
                    <a:pt x="230" y="43"/>
                    <a:pt x="230" y="44"/>
                  </a:cubicBezTo>
                  <a:cubicBezTo>
                    <a:pt x="230" y="44"/>
                    <a:pt x="230" y="44"/>
                    <a:pt x="230" y="44"/>
                  </a:cubicBezTo>
                  <a:cubicBezTo>
                    <a:pt x="230" y="44"/>
                    <a:pt x="230" y="45"/>
                    <a:pt x="229" y="45"/>
                  </a:cubicBezTo>
                  <a:cubicBezTo>
                    <a:pt x="229" y="45"/>
                    <a:pt x="229" y="46"/>
                    <a:pt x="229" y="46"/>
                  </a:cubicBezTo>
                  <a:cubicBezTo>
                    <a:pt x="229" y="46"/>
                    <a:pt x="229" y="46"/>
                    <a:pt x="229" y="46"/>
                  </a:cubicBezTo>
                  <a:cubicBezTo>
                    <a:pt x="228" y="46"/>
                    <a:pt x="228" y="47"/>
                    <a:pt x="228" y="47"/>
                  </a:cubicBezTo>
                  <a:cubicBezTo>
                    <a:pt x="228" y="47"/>
                    <a:pt x="227" y="47"/>
                    <a:pt x="227" y="47"/>
                  </a:cubicBezTo>
                  <a:cubicBezTo>
                    <a:pt x="227" y="47"/>
                    <a:pt x="227" y="47"/>
                    <a:pt x="227" y="47"/>
                  </a:cubicBezTo>
                  <a:cubicBezTo>
                    <a:pt x="227" y="47"/>
                    <a:pt x="227" y="47"/>
                    <a:pt x="227" y="48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9"/>
                    <a:pt x="227" y="49"/>
                    <a:pt x="227" y="49"/>
                  </a:cubicBezTo>
                  <a:cubicBezTo>
                    <a:pt x="227" y="49"/>
                    <a:pt x="227" y="49"/>
                    <a:pt x="227" y="49"/>
                  </a:cubicBezTo>
                  <a:cubicBezTo>
                    <a:pt x="227" y="50"/>
                    <a:pt x="227" y="50"/>
                    <a:pt x="227" y="50"/>
                  </a:cubicBezTo>
                  <a:cubicBezTo>
                    <a:pt x="227" y="50"/>
                    <a:pt x="227" y="50"/>
                    <a:pt x="228" y="50"/>
                  </a:cubicBezTo>
                  <a:cubicBezTo>
                    <a:pt x="228" y="50"/>
                    <a:pt x="228" y="50"/>
                    <a:pt x="228" y="50"/>
                  </a:cubicBezTo>
                  <a:cubicBezTo>
                    <a:pt x="228" y="50"/>
                    <a:pt x="229" y="50"/>
                    <a:pt x="229" y="50"/>
                  </a:cubicBezTo>
                  <a:cubicBezTo>
                    <a:pt x="229" y="51"/>
                    <a:pt x="229" y="51"/>
                    <a:pt x="229" y="51"/>
                  </a:cubicBezTo>
                  <a:cubicBezTo>
                    <a:pt x="229" y="51"/>
                    <a:pt x="230" y="51"/>
                    <a:pt x="230" y="51"/>
                  </a:cubicBezTo>
                  <a:cubicBezTo>
                    <a:pt x="230" y="51"/>
                    <a:pt x="230" y="52"/>
                    <a:pt x="230" y="52"/>
                  </a:cubicBezTo>
                  <a:cubicBezTo>
                    <a:pt x="229" y="52"/>
                    <a:pt x="229" y="52"/>
                    <a:pt x="229" y="52"/>
                  </a:cubicBezTo>
                  <a:cubicBezTo>
                    <a:pt x="229" y="52"/>
                    <a:pt x="228" y="52"/>
                    <a:pt x="228" y="52"/>
                  </a:cubicBezTo>
                  <a:cubicBezTo>
                    <a:pt x="228" y="52"/>
                    <a:pt x="226" y="51"/>
                    <a:pt x="226" y="51"/>
                  </a:cubicBezTo>
                  <a:cubicBezTo>
                    <a:pt x="226" y="51"/>
                    <a:pt x="225" y="51"/>
                    <a:pt x="225" y="50"/>
                  </a:cubicBezTo>
                  <a:cubicBezTo>
                    <a:pt x="224" y="50"/>
                    <a:pt x="223" y="50"/>
                    <a:pt x="223" y="50"/>
                  </a:cubicBezTo>
                  <a:cubicBezTo>
                    <a:pt x="223" y="50"/>
                    <a:pt x="222" y="50"/>
                    <a:pt x="221" y="50"/>
                  </a:cubicBezTo>
                  <a:cubicBezTo>
                    <a:pt x="221" y="49"/>
                    <a:pt x="220" y="49"/>
                    <a:pt x="220" y="49"/>
                  </a:cubicBezTo>
                  <a:cubicBezTo>
                    <a:pt x="220" y="49"/>
                    <a:pt x="220" y="49"/>
                    <a:pt x="219" y="49"/>
                  </a:cubicBezTo>
                  <a:cubicBezTo>
                    <a:pt x="219" y="49"/>
                    <a:pt x="219" y="49"/>
                    <a:pt x="219" y="50"/>
                  </a:cubicBezTo>
                  <a:cubicBezTo>
                    <a:pt x="219" y="50"/>
                    <a:pt x="219" y="50"/>
                    <a:pt x="218" y="50"/>
                  </a:cubicBezTo>
                  <a:cubicBezTo>
                    <a:pt x="218" y="50"/>
                    <a:pt x="218" y="50"/>
                    <a:pt x="218" y="50"/>
                  </a:cubicBezTo>
                  <a:cubicBezTo>
                    <a:pt x="218" y="50"/>
                    <a:pt x="219" y="50"/>
                    <a:pt x="219" y="50"/>
                  </a:cubicBezTo>
                  <a:cubicBezTo>
                    <a:pt x="219" y="51"/>
                    <a:pt x="219" y="51"/>
                    <a:pt x="219" y="51"/>
                  </a:cubicBezTo>
                  <a:cubicBezTo>
                    <a:pt x="219" y="51"/>
                    <a:pt x="219" y="51"/>
                    <a:pt x="219" y="51"/>
                  </a:cubicBezTo>
                  <a:cubicBezTo>
                    <a:pt x="219" y="52"/>
                    <a:pt x="219" y="51"/>
                    <a:pt x="218" y="51"/>
                  </a:cubicBezTo>
                  <a:cubicBezTo>
                    <a:pt x="218" y="52"/>
                    <a:pt x="218" y="51"/>
                    <a:pt x="218" y="52"/>
                  </a:cubicBezTo>
                  <a:cubicBezTo>
                    <a:pt x="218" y="52"/>
                    <a:pt x="217" y="52"/>
                    <a:pt x="217" y="52"/>
                  </a:cubicBezTo>
                  <a:cubicBezTo>
                    <a:pt x="217" y="52"/>
                    <a:pt x="217" y="52"/>
                    <a:pt x="217" y="52"/>
                  </a:cubicBezTo>
                  <a:cubicBezTo>
                    <a:pt x="217" y="52"/>
                    <a:pt x="217" y="52"/>
                    <a:pt x="217" y="51"/>
                  </a:cubicBezTo>
                  <a:cubicBezTo>
                    <a:pt x="217" y="51"/>
                    <a:pt x="217" y="51"/>
                    <a:pt x="217" y="51"/>
                  </a:cubicBezTo>
                  <a:cubicBezTo>
                    <a:pt x="217" y="51"/>
                    <a:pt x="216" y="51"/>
                    <a:pt x="216" y="51"/>
                  </a:cubicBezTo>
                  <a:cubicBezTo>
                    <a:pt x="216" y="51"/>
                    <a:pt x="216" y="51"/>
                    <a:pt x="215" y="51"/>
                  </a:cubicBezTo>
                  <a:cubicBezTo>
                    <a:pt x="215" y="51"/>
                    <a:pt x="215" y="51"/>
                    <a:pt x="214" y="51"/>
                  </a:cubicBezTo>
                  <a:cubicBezTo>
                    <a:pt x="214" y="51"/>
                    <a:pt x="213" y="51"/>
                    <a:pt x="213" y="51"/>
                  </a:cubicBezTo>
                  <a:cubicBezTo>
                    <a:pt x="212" y="51"/>
                    <a:pt x="211" y="51"/>
                    <a:pt x="211" y="51"/>
                  </a:cubicBezTo>
                  <a:cubicBezTo>
                    <a:pt x="210" y="51"/>
                    <a:pt x="209" y="51"/>
                    <a:pt x="209" y="51"/>
                  </a:cubicBezTo>
                  <a:cubicBezTo>
                    <a:pt x="209" y="51"/>
                    <a:pt x="208" y="52"/>
                    <a:pt x="208" y="52"/>
                  </a:cubicBezTo>
                  <a:cubicBezTo>
                    <a:pt x="207" y="52"/>
                    <a:pt x="206" y="52"/>
                    <a:pt x="206" y="52"/>
                  </a:cubicBezTo>
                  <a:cubicBezTo>
                    <a:pt x="206" y="52"/>
                    <a:pt x="205" y="53"/>
                    <a:pt x="205" y="53"/>
                  </a:cubicBezTo>
                  <a:cubicBezTo>
                    <a:pt x="204" y="53"/>
                    <a:pt x="204" y="53"/>
                    <a:pt x="203" y="53"/>
                  </a:cubicBezTo>
                  <a:cubicBezTo>
                    <a:pt x="203" y="53"/>
                    <a:pt x="203" y="53"/>
                    <a:pt x="203" y="53"/>
                  </a:cubicBezTo>
                  <a:cubicBezTo>
                    <a:pt x="202" y="54"/>
                    <a:pt x="202" y="53"/>
                    <a:pt x="202" y="54"/>
                  </a:cubicBezTo>
                  <a:cubicBezTo>
                    <a:pt x="202" y="54"/>
                    <a:pt x="202" y="54"/>
                    <a:pt x="202" y="54"/>
                  </a:cubicBezTo>
                  <a:cubicBezTo>
                    <a:pt x="201" y="54"/>
                    <a:pt x="201" y="55"/>
                    <a:pt x="201" y="55"/>
                  </a:cubicBezTo>
                  <a:cubicBezTo>
                    <a:pt x="201" y="55"/>
                    <a:pt x="200" y="55"/>
                    <a:pt x="200" y="55"/>
                  </a:cubicBezTo>
                  <a:cubicBezTo>
                    <a:pt x="200" y="55"/>
                    <a:pt x="199" y="55"/>
                    <a:pt x="199" y="55"/>
                  </a:cubicBezTo>
                  <a:cubicBezTo>
                    <a:pt x="199" y="55"/>
                    <a:pt x="198" y="54"/>
                    <a:pt x="198" y="54"/>
                  </a:cubicBezTo>
                  <a:cubicBezTo>
                    <a:pt x="198" y="54"/>
                    <a:pt x="198" y="54"/>
                    <a:pt x="198" y="54"/>
                  </a:cubicBezTo>
                  <a:cubicBezTo>
                    <a:pt x="198" y="54"/>
                    <a:pt x="198" y="54"/>
                    <a:pt x="198" y="54"/>
                  </a:cubicBezTo>
                  <a:cubicBezTo>
                    <a:pt x="198" y="53"/>
                    <a:pt x="199" y="53"/>
                    <a:pt x="199" y="53"/>
                  </a:cubicBezTo>
                  <a:cubicBezTo>
                    <a:pt x="199" y="53"/>
                    <a:pt x="200" y="53"/>
                    <a:pt x="200" y="53"/>
                  </a:cubicBezTo>
                  <a:cubicBezTo>
                    <a:pt x="200" y="53"/>
                    <a:pt x="200" y="53"/>
                    <a:pt x="200" y="53"/>
                  </a:cubicBezTo>
                  <a:cubicBezTo>
                    <a:pt x="200" y="52"/>
                    <a:pt x="199" y="52"/>
                    <a:pt x="199" y="52"/>
                  </a:cubicBezTo>
                  <a:cubicBezTo>
                    <a:pt x="199" y="52"/>
                    <a:pt x="198" y="52"/>
                    <a:pt x="198" y="52"/>
                  </a:cubicBezTo>
                  <a:cubicBezTo>
                    <a:pt x="198" y="52"/>
                    <a:pt x="197" y="52"/>
                    <a:pt x="197" y="52"/>
                  </a:cubicBezTo>
                  <a:cubicBezTo>
                    <a:pt x="197" y="52"/>
                    <a:pt x="196" y="52"/>
                    <a:pt x="196" y="52"/>
                  </a:cubicBezTo>
                  <a:cubicBezTo>
                    <a:pt x="196" y="52"/>
                    <a:pt x="196" y="52"/>
                    <a:pt x="196" y="52"/>
                  </a:cubicBezTo>
                  <a:cubicBezTo>
                    <a:pt x="196" y="52"/>
                    <a:pt x="196" y="52"/>
                    <a:pt x="197" y="52"/>
                  </a:cubicBezTo>
                  <a:cubicBezTo>
                    <a:pt x="197" y="52"/>
                    <a:pt x="197" y="52"/>
                    <a:pt x="197" y="53"/>
                  </a:cubicBezTo>
                  <a:cubicBezTo>
                    <a:pt x="197" y="53"/>
                    <a:pt x="197" y="53"/>
                    <a:pt x="197" y="53"/>
                  </a:cubicBezTo>
                  <a:cubicBezTo>
                    <a:pt x="197" y="53"/>
                    <a:pt x="197" y="53"/>
                    <a:pt x="197" y="53"/>
                  </a:cubicBezTo>
                  <a:cubicBezTo>
                    <a:pt x="197" y="53"/>
                    <a:pt x="197" y="53"/>
                    <a:pt x="197" y="54"/>
                  </a:cubicBezTo>
                  <a:cubicBezTo>
                    <a:pt x="196" y="54"/>
                    <a:pt x="196" y="54"/>
                    <a:pt x="196" y="54"/>
                  </a:cubicBezTo>
                  <a:cubicBezTo>
                    <a:pt x="196" y="54"/>
                    <a:pt x="197" y="54"/>
                    <a:pt x="197" y="55"/>
                  </a:cubicBezTo>
                  <a:cubicBezTo>
                    <a:pt x="197" y="55"/>
                    <a:pt x="197" y="55"/>
                    <a:pt x="197" y="55"/>
                  </a:cubicBezTo>
                  <a:cubicBezTo>
                    <a:pt x="197" y="55"/>
                    <a:pt x="197" y="56"/>
                    <a:pt x="196" y="56"/>
                  </a:cubicBezTo>
                  <a:cubicBezTo>
                    <a:pt x="196" y="56"/>
                    <a:pt x="196" y="56"/>
                    <a:pt x="196" y="56"/>
                  </a:cubicBezTo>
                  <a:cubicBezTo>
                    <a:pt x="195" y="56"/>
                    <a:pt x="195" y="56"/>
                    <a:pt x="195" y="56"/>
                  </a:cubicBezTo>
                  <a:cubicBezTo>
                    <a:pt x="195" y="56"/>
                    <a:pt x="194" y="56"/>
                    <a:pt x="194" y="56"/>
                  </a:cubicBezTo>
                  <a:cubicBezTo>
                    <a:pt x="194" y="56"/>
                    <a:pt x="194" y="56"/>
                    <a:pt x="193" y="56"/>
                  </a:cubicBezTo>
                  <a:cubicBezTo>
                    <a:pt x="193" y="56"/>
                    <a:pt x="193" y="56"/>
                    <a:pt x="192" y="57"/>
                  </a:cubicBezTo>
                  <a:cubicBezTo>
                    <a:pt x="192" y="57"/>
                    <a:pt x="192" y="57"/>
                    <a:pt x="192" y="57"/>
                  </a:cubicBezTo>
                  <a:cubicBezTo>
                    <a:pt x="192" y="57"/>
                    <a:pt x="192" y="57"/>
                    <a:pt x="192" y="57"/>
                  </a:cubicBezTo>
                  <a:cubicBezTo>
                    <a:pt x="192" y="57"/>
                    <a:pt x="191" y="57"/>
                    <a:pt x="191" y="57"/>
                  </a:cubicBezTo>
                  <a:cubicBezTo>
                    <a:pt x="191" y="58"/>
                    <a:pt x="191" y="58"/>
                    <a:pt x="191" y="58"/>
                  </a:cubicBezTo>
                  <a:cubicBezTo>
                    <a:pt x="191" y="58"/>
                    <a:pt x="192" y="58"/>
                    <a:pt x="192" y="58"/>
                  </a:cubicBezTo>
                  <a:cubicBezTo>
                    <a:pt x="192" y="58"/>
                    <a:pt x="192" y="59"/>
                    <a:pt x="192" y="59"/>
                  </a:cubicBezTo>
                  <a:cubicBezTo>
                    <a:pt x="192" y="59"/>
                    <a:pt x="192" y="59"/>
                    <a:pt x="192" y="59"/>
                  </a:cubicBezTo>
                  <a:cubicBezTo>
                    <a:pt x="192" y="59"/>
                    <a:pt x="192" y="59"/>
                    <a:pt x="192" y="59"/>
                  </a:cubicBezTo>
                  <a:cubicBezTo>
                    <a:pt x="191" y="59"/>
                    <a:pt x="191" y="59"/>
                    <a:pt x="191" y="59"/>
                  </a:cubicBezTo>
                  <a:cubicBezTo>
                    <a:pt x="191" y="59"/>
                    <a:pt x="191" y="59"/>
                    <a:pt x="191" y="59"/>
                  </a:cubicBezTo>
                  <a:cubicBezTo>
                    <a:pt x="191" y="59"/>
                    <a:pt x="191" y="59"/>
                    <a:pt x="191" y="59"/>
                  </a:cubicBezTo>
                  <a:cubicBezTo>
                    <a:pt x="190" y="59"/>
                    <a:pt x="190" y="59"/>
                    <a:pt x="190" y="59"/>
                  </a:cubicBezTo>
                  <a:cubicBezTo>
                    <a:pt x="190" y="59"/>
                    <a:pt x="189" y="59"/>
                    <a:pt x="189" y="59"/>
                  </a:cubicBezTo>
                  <a:cubicBezTo>
                    <a:pt x="189" y="59"/>
                    <a:pt x="188" y="59"/>
                    <a:pt x="188" y="59"/>
                  </a:cubicBezTo>
                  <a:cubicBezTo>
                    <a:pt x="188" y="58"/>
                    <a:pt x="188" y="58"/>
                    <a:pt x="188" y="58"/>
                  </a:cubicBezTo>
                  <a:cubicBezTo>
                    <a:pt x="187" y="58"/>
                    <a:pt x="187" y="58"/>
                    <a:pt x="187" y="58"/>
                  </a:cubicBezTo>
                  <a:cubicBezTo>
                    <a:pt x="187" y="58"/>
                    <a:pt x="187" y="58"/>
                    <a:pt x="187" y="58"/>
                  </a:cubicBezTo>
                  <a:cubicBezTo>
                    <a:pt x="187" y="58"/>
                    <a:pt x="187" y="59"/>
                    <a:pt x="187" y="59"/>
                  </a:cubicBezTo>
                  <a:cubicBezTo>
                    <a:pt x="187" y="59"/>
                    <a:pt x="187" y="59"/>
                    <a:pt x="187" y="59"/>
                  </a:cubicBezTo>
                  <a:cubicBezTo>
                    <a:pt x="187" y="59"/>
                    <a:pt x="187" y="59"/>
                    <a:pt x="187" y="59"/>
                  </a:cubicBezTo>
                  <a:cubicBezTo>
                    <a:pt x="187" y="59"/>
                    <a:pt x="188" y="60"/>
                    <a:pt x="188" y="60"/>
                  </a:cubicBezTo>
                  <a:cubicBezTo>
                    <a:pt x="188" y="60"/>
                    <a:pt x="189" y="60"/>
                    <a:pt x="189" y="60"/>
                  </a:cubicBezTo>
                  <a:cubicBezTo>
                    <a:pt x="189" y="60"/>
                    <a:pt x="189" y="60"/>
                    <a:pt x="188" y="60"/>
                  </a:cubicBezTo>
                  <a:cubicBezTo>
                    <a:pt x="188" y="60"/>
                    <a:pt x="188" y="60"/>
                    <a:pt x="187" y="60"/>
                  </a:cubicBezTo>
                  <a:cubicBezTo>
                    <a:pt x="187" y="61"/>
                    <a:pt x="186" y="60"/>
                    <a:pt x="186" y="60"/>
                  </a:cubicBezTo>
                  <a:cubicBezTo>
                    <a:pt x="186" y="60"/>
                    <a:pt x="186" y="60"/>
                    <a:pt x="186" y="60"/>
                  </a:cubicBezTo>
                  <a:cubicBezTo>
                    <a:pt x="186" y="60"/>
                    <a:pt x="185" y="60"/>
                    <a:pt x="185" y="60"/>
                  </a:cubicBezTo>
                  <a:cubicBezTo>
                    <a:pt x="185" y="59"/>
                    <a:pt x="185" y="59"/>
                    <a:pt x="185" y="59"/>
                  </a:cubicBezTo>
                  <a:cubicBezTo>
                    <a:pt x="185" y="59"/>
                    <a:pt x="184" y="58"/>
                    <a:pt x="184" y="58"/>
                  </a:cubicBezTo>
                  <a:cubicBezTo>
                    <a:pt x="184" y="58"/>
                    <a:pt x="184" y="58"/>
                    <a:pt x="184" y="57"/>
                  </a:cubicBezTo>
                  <a:cubicBezTo>
                    <a:pt x="184" y="57"/>
                    <a:pt x="184" y="57"/>
                    <a:pt x="184" y="57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85" y="57"/>
                    <a:pt x="184" y="57"/>
                    <a:pt x="184" y="56"/>
                  </a:cubicBezTo>
                  <a:cubicBezTo>
                    <a:pt x="184" y="56"/>
                    <a:pt x="183" y="56"/>
                    <a:pt x="183" y="56"/>
                  </a:cubicBezTo>
                  <a:cubicBezTo>
                    <a:pt x="183" y="56"/>
                    <a:pt x="182" y="55"/>
                    <a:pt x="182" y="55"/>
                  </a:cubicBezTo>
                  <a:cubicBezTo>
                    <a:pt x="182" y="55"/>
                    <a:pt x="182" y="55"/>
                    <a:pt x="181" y="55"/>
                  </a:cubicBezTo>
                  <a:cubicBezTo>
                    <a:pt x="181" y="55"/>
                    <a:pt x="181" y="54"/>
                    <a:pt x="181" y="54"/>
                  </a:cubicBezTo>
                  <a:cubicBezTo>
                    <a:pt x="181" y="54"/>
                    <a:pt x="182" y="55"/>
                    <a:pt x="182" y="55"/>
                  </a:cubicBezTo>
                  <a:cubicBezTo>
                    <a:pt x="182" y="55"/>
                    <a:pt x="182" y="55"/>
                    <a:pt x="183" y="55"/>
                  </a:cubicBezTo>
                  <a:cubicBezTo>
                    <a:pt x="183" y="55"/>
                    <a:pt x="183" y="55"/>
                    <a:pt x="184" y="55"/>
                  </a:cubicBezTo>
                  <a:cubicBezTo>
                    <a:pt x="184" y="55"/>
                    <a:pt x="184" y="56"/>
                    <a:pt x="184" y="56"/>
                  </a:cubicBezTo>
                  <a:cubicBezTo>
                    <a:pt x="184" y="56"/>
                    <a:pt x="185" y="56"/>
                    <a:pt x="185" y="56"/>
                  </a:cubicBezTo>
                  <a:cubicBezTo>
                    <a:pt x="185" y="56"/>
                    <a:pt x="186" y="56"/>
                    <a:pt x="186" y="56"/>
                  </a:cubicBezTo>
                  <a:cubicBezTo>
                    <a:pt x="186" y="56"/>
                    <a:pt x="187" y="56"/>
                    <a:pt x="187" y="56"/>
                  </a:cubicBezTo>
                  <a:cubicBezTo>
                    <a:pt x="188" y="56"/>
                    <a:pt x="189" y="56"/>
                    <a:pt x="189" y="56"/>
                  </a:cubicBezTo>
                  <a:cubicBezTo>
                    <a:pt x="189" y="56"/>
                    <a:pt x="190" y="56"/>
                    <a:pt x="191" y="56"/>
                  </a:cubicBezTo>
                  <a:cubicBezTo>
                    <a:pt x="191" y="56"/>
                    <a:pt x="192" y="56"/>
                    <a:pt x="192" y="56"/>
                  </a:cubicBezTo>
                  <a:cubicBezTo>
                    <a:pt x="192" y="55"/>
                    <a:pt x="193" y="55"/>
                    <a:pt x="193" y="55"/>
                  </a:cubicBezTo>
                  <a:cubicBezTo>
                    <a:pt x="193" y="55"/>
                    <a:pt x="193" y="55"/>
                    <a:pt x="193" y="55"/>
                  </a:cubicBezTo>
                  <a:cubicBezTo>
                    <a:pt x="193" y="54"/>
                    <a:pt x="193" y="54"/>
                    <a:pt x="193" y="54"/>
                  </a:cubicBezTo>
                  <a:cubicBezTo>
                    <a:pt x="193" y="54"/>
                    <a:pt x="193" y="54"/>
                    <a:pt x="193" y="54"/>
                  </a:cubicBezTo>
                  <a:cubicBezTo>
                    <a:pt x="192" y="54"/>
                    <a:pt x="192" y="53"/>
                    <a:pt x="192" y="53"/>
                  </a:cubicBezTo>
                  <a:cubicBezTo>
                    <a:pt x="192" y="53"/>
                    <a:pt x="191" y="53"/>
                    <a:pt x="191" y="53"/>
                  </a:cubicBezTo>
                  <a:cubicBezTo>
                    <a:pt x="191" y="53"/>
                    <a:pt x="191" y="53"/>
                    <a:pt x="191" y="53"/>
                  </a:cubicBezTo>
                  <a:cubicBezTo>
                    <a:pt x="191" y="53"/>
                    <a:pt x="190" y="52"/>
                    <a:pt x="190" y="52"/>
                  </a:cubicBezTo>
                  <a:cubicBezTo>
                    <a:pt x="190" y="52"/>
                    <a:pt x="189" y="52"/>
                    <a:pt x="189" y="52"/>
                  </a:cubicBezTo>
                  <a:cubicBezTo>
                    <a:pt x="189" y="52"/>
                    <a:pt x="188" y="52"/>
                    <a:pt x="188" y="51"/>
                  </a:cubicBezTo>
                  <a:cubicBezTo>
                    <a:pt x="187" y="51"/>
                    <a:pt x="187" y="51"/>
                    <a:pt x="187" y="51"/>
                  </a:cubicBezTo>
                  <a:cubicBezTo>
                    <a:pt x="186" y="51"/>
                    <a:pt x="186" y="51"/>
                    <a:pt x="186" y="51"/>
                  </a:cubicBezTo>
                  <a:cubicBezTo>
                    <a:pt x="185" y="51"/>
                    <a:pt x="185" y="50"/>
                    <a:pt x="184" y="50"/>
                  </a:cubicBezTo>
                  <a:cubicBezTo>
                    <a:pt x="184" y="50"/>
                    <a:pt x="184" y="50"/>
                    <a:pt x="184" y="50"/>
                  </a:cubicBezTo>
                  <a:cubicBezTo>
                    <a:pt x="183" y="50"/>
                    <a:pt x="183" y="50"/>
                    <a:pt x="183" y="50"/>
                  </a:cubicBezTo>
                  <a:cubicBezTo>
                    <a:pt x="183" y="50"/>
                    <a:pt x="182" y="50"/>
                    <a:pt x="182" y="50"/>
                  </a:cubicBezTo>
                  <a:cubicBezTo>
                    <a:pt x="181" y="50"/>
                    <a:pt x="181" y="50"/>
                    <a:pt x="181" y="50"/>
                  </a:cubicBezTo>
                  <a:cubicBezTo>
                    <a:pt x="181" y="50"/>
                    <a:pt x="181" y="50"/>
                    <a:pt x="181" y="50"/>
                  </a:cubicBezTo>
                  <a:cubicBezTo>
                    <a:pt x="182" y="50"/>
                    <a:pt x="182" y="50"/>
                    <a:pt x="182" y="50"/>
                  </a:cubicBezTo>
                  <a:cubicBezTo>
                    <a:pt x="182" y="50"/>
                    <a:pt x="182" y="50"/>
                    <a:pt x="182" y="50"/>
                  </a:cubicBezTo>
                  <a:cubicBezTo>
                    <a:pt x="182" y="50"/>
                    <a:pt x="181" y="50"/>
                    <a:pt x="181" y="49"/>
                  </a:cubicBezTo>
                  <a:cubicBezTo>
                    <a:pt x="181" y="49"/>
                    <a:pt x="181" y="49"/>
                    <a:pt x="181" y="49"/>
                  </a:cubicBezTo>
                  <a:cubicBezTo>
                    <a:pt x="181" y="49"/>
                    <a:pt x="180" y="49"/>
                    <a:pt x="180" y="49"/>
                  </a:cubicBezTo>
                  <a:cubicBezTo>
                    <a:pt x="180" y="50"/>
                    <a:pt x="180" y="50"/>
                    <a:pt x="180" y="50"/>
                  </a:cubicBezTo>
                  <a:cubicBezTo>
                    <a:pt x="179" y="50"/>
                    <a:pt x="178" y="49"/>
                    <a:pt x="177" y="49"/>
                  </a:cubicBezTo>
                  <a:cubicBezTo>
                    <a:pt x="177" y="49"/>
                    <a:pt x="177" y="49"/>
                    <a:pt x="177" y="49"/>
                  </a:cubicBezTo>
                  <a:cubicBezTo>
                    <a:pt x="176" y="49"/>
                    <a:pt x="177" y="49"/>
                    <a:pt x="177" y="49"/>
                  </a:cubicBezTo>
                  <a:cubicBezTo>
                    <a:pt x="177" y="49"/>
                    <a:pt x="178" y="49"/>
                    <a:pt x="178" y="49"/>
                  </a:cubicBezTo>
                  <a:cubicBezTo>
                    <a:pt x="178" y="49"/>
                    <a:pt x="178" y="49"/>
                    <a:pt x="179" y="49"/>
                  </a:cubicBezTo>
                  <a:cubicBezTo>
                    <a:pt x="179" y="49"/>
                    <a:pt x="180" y="49"/>
                    <a:pt x="180" y="49"/>
                  </a:cubicBezTo>
                  <a:cubicBezTo>
                    <a:pt x="180" y="48"/>
                    <a:pt x="180" y="48"/>
                    <a:pt x="179" y="48"/>
                  </a:cubicBezTo>
                  <a:cubicBezTo>
                    <a:pt x="179" y="48"/>
                    <a:pt x="179" y="48"/>
                    <a:pt x="179" y="48"/>
                  </a:cubicBezTo>
                  <a:cubicBezTo>
                    <a:pt x="179" y="48"/>
                    <a:pt x="178" y="48"/>
                    <a:pt x="178" y="48"/>
                  </a:cubicBezTo>
                  <a:cubicBezTo>
                    <a:pt x="178" y="48"/>
                    <a:pt x="178" y="48"/>
                    <a:pt x="177" y="48"/>
                  </a:cubicBezTo>
                  <a:cubicBezTo>
                    <a:pt x="177" y="48"/>
                    <a:pt x="177" y="48"/>
                    <a:pt x="177" y="48"/>
                  </a:cubicBezTo>
                  <a:cubicBezTo>
                    <a:pt x="177" y="48"/>
                    <a:pt x="177" y="47"/>
                    <a:pt x="177" y="47"/>
                  </a:cubicBezTo>
                  <a:cubicBezTo>
                    <a:pt x="176" y="47"/>
                    <a:pt x="176" y="48"/>
                    <a:pt x="176" y="48"/>
                  </a:cubicBezTo>
                  <a:cubicBezTo>
                    <a:pt x="176" y="48"/>
                    <a:pt x="176" y="48"/>
                    <a:pt x="176" y="48"/>
                  </a:cubicBezTo>
                  <a:cubicBezTo>
                    <a:pt x="176" y="48"/>
                    <a:pt x="176" y="48"/>
                    <a:pt x="176" y="48"/>
                  </a:cubicBezTo>
                  <a:cubicBezTo>
                    <a:pt x="175" y="48"/>
                    <a:pt x="176" y="48"/>
                    <a:pt x="176" y="48"/>
                  </a:cubicBezTo>
                  <a:cubicBezTo>
                    <a:pt x="176" y="47"/>
                    <a:pt x="176" y="47"/>
                    <a:pt x="176" y="47"/>
                  </a:cubicBezTo>
                  <a:cubicBezTo>
                    <a:pt x="176" y="47"/>
                    <a:pt x="175" y="47"/>
                    <a:pt x="175" y="47"/>
                  </a:cubicBezTo>
                  <a:cubicBezTo>
                    <a:pt x="175" y="47"/>
                    <a:pt x="175" y="47"/>
                    <a:pt x="174" y="47"/>
                  </a:cubicBezTo>
                  <a:cubicBezTo>
                    <a:pt x="174" y="47"/>
                    <a:pt x="174" y="47"/>
                    <a:pt x="174" y="47"/>
                  </a:cubicBezTo>
                  <a:cubicBezTo>
                    <a:pt x="174" y="47"/>
                    <a:pt x="174" y="47"/>
                    <a:pt x="175" y="47"/>
                  </a:cubicBezTo>
                  <a:cubicBezTo>
                    <a:pt x="175" y="47"/>
                    <a:pt x="175" y="48"/>
                    <a:pt x="174" y="48"/>
                  </a:cubicBezTo>
                  <a:cubicBezTo>
                    <a:pt x="174" y="48"/>
                    <a:pt x="174" y="48"/>
                    <a:pt x="174" y="48"/>
                  </a:cubicBezTo>
                  <a:cubicBezTo>
                    <a:pt x="174" y="48"/>
                    <a:pt x="174" y="48"/>
                    <a:pt x="174" y="48"/>
                  </a:cubicBezTo>
                  <a:cubicBezTo>
                    <a:pt x="174" y="48"/>
                    <a:pt x="173" y="48"/>
                    <a:pt x="173" y="48"/>
                  </a:cubicBezTo>
                  <a:cubicBezTo>
                    <a:pt x="173" y="48"/>
                    <a:pt x="173" y="48"/>
                    <a:pt x="174" y="48"/>
                  </a:cubicBezTo>
                  <a:cubicBezTo>
                    <a:pt x="174" y="48"/>
                    <a:pt x="174" y="48"/>
                    <a:pt x="174" y="48"/>
                  </a:cubicBezTo>
                  <a:cubicBezTo>
                    <a:pt x="174" y="48"/>
                    <a:pt x="174" y="47"/>
                    <a:pt x="174" y="47"/>
                  </a:cubicBezTo>
                  <a:cubicBezTo>
                    <a:pt x="174" y="47"/>
                    <a:pt x="174" y="47"/>
                    <a:pt x="173" y="47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73" y="48"/>
                    <a:pt x="173" y="48"/>
                    <a:pt x="172" y="48"/>
                  </a:cubicBezTo>
                  <a:cubicBezTo>
                    <a:pt x="172" y="48"/>
                    <a:pt x="172" y="48"/>
                    <a:pt x="172" y="48"/>
                  </a:cubicBezTo>
                  <a:cubicBezTo>
                    <a:pt x="172" y="49"/>
                    <a:pt x="172" y="49"/>
                    <a:pt x="172" y="49"/>
                  </a:cubicBezTo>
                  <a:cubicBezTo>
                    <a:pt x="171" y="49"/>
                    <a:pt x="172" y="49"/>
                    <a:pt x="172" y="49"/>
                  </a:cubicBezTo>
                  <a:cubicBezTo>
                    <a:pt x="172" y="49"/>
                    <a:pt x="171" y="49"/>
                    <a:pt x="171" y="49"/>
                  </a:cubicBezTo>
                  <a:cubicBezTo>
                    <a:pt x="172" y="48"/>
                    <a:pt x="172" y="48"/>
                    <a:pt x="172" y="48"/>
                  </a:cubicBezTo>
                  <a:cubicBezTo>
                    <a:pt x="172" y="48"/>
                    <a:pt x="172" y="48"/>
                    <a:pt x="172" y="48"/>
                  </a:cubicBezTo>
                  <a:cubicBezTo>
                    <a:pt x="172" y="48"/>
                    <a:pt x="173" y="47"/>
                    <a:pt x="173" y="47"/>
                  </a:cubicBezTo>
                  <a:cubicBezTo>
                    <a:pt x="173" y="47"/>
                    <a:pt x="173" y="47"/>
                    <a:pt x="173" y="47"/>
                  </a:cubicBezTo>
                  <a:cubicBezTo>
                    <a:pt x="173" y="47"/>
                    <a:pt x="172" y="47"/>
                    <a:pt x="172" y="47"/>
                  </a:cubicBezTo>
                  <a:cubicBezTo>
                    <a:pt x="172" y="47"/>
                    <a:pt x="172" y="47"/>
                    <a:pt x="172" y="47"/>
                  </a:cubicBezTo>
                  <a:cubicBezTo>
                    <a:pt x="172" y="47"/>
                    <a:pt x="172" y="47"/>
                    <a:pt x="171" y="47"/>
                  </a:cubicBezTo>
                  <a:cubicBezTo>
                    <a:pt x="171" y="47"/>
                    <a:pt x="171" y="47"/>
                    <a:pt x="171" y="47"/>
                  </a:cubicBezTo>
                  <a:cubicBezTo>
                    <a:pt x="171" y="47"/>
                    <a:pt x="171" y="47"/>
                    <a:pt x="171" y="48"/>
                  </a:cubicBezTo>
                  <a:cubicBezTo>
                    <a:pt x="171" y="48"/>
                    <a:pt x="170" y="48"/>
                    <a:pt x="170" y="48"/>
                  </a:cubicBezTo>
                  <a:cubicBezTo>
                    <a:pt x="170" y="48"/>
                    <a:pt x="170" y="47"/>
                    <a:pt x="170" y="48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70" y="48"/>
                    <a:pt x="170" y="48"/>
                    <a:pt x="169" y="48"/>
                  </a:cubicBezTo>
                  <a:cubicBezTo>
                    <a:pt x="169" y="48"/>
                    <a:pt x="169" y="48"/>
                    <a:pt x="169" y="49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9" y="48"/>
                    <a:pt x="169" y="48"/>
                    <a:pt x="168" y="48"/>
                  </a:cubicBezTo>
                  <a:cubicBezTo>
                    <a:pt x="168" y="48"/>
                    <a:pt x="168" y="48"/>
                    <a:pt x="168" y="49"/>
                  </a:cubicBezTo>
                  <a:cubicBezTo>
                    <a:pt x="168" y="49"/>
                    <a:pt x="167" y="49"/>
                    <a:pt x="167" y="49"/>
                  </a:cubicBezTo>
                  <a:cubicBezTo>
                    <a:pt x="167" y="49"/>
                    <a:pt x="167" y="48"/>
                    <a:pt x="167" y="48"/>
                  </a:cubicBezTo>
                  <a:cubicBezTo>
                    <a:pt x="167" y="49"/>
                    <a:pt x="166" y="49"/>
                    <a:pt x="166" y="49"/>
                  </a:cubicBezTo>
                  <a:cubicBezTo>
                    <a:pt x="166" y="49"/>
                    <a:pt x="167" y="49"/>
                    <a:pt x="167" y="49"/>
                  </a:cubicBezTo>
                  <a:cubicBezTo>
                    <a:pt x="167" y="49"/>
                    <a:pt x="167" y="49"/>
                    <a:pt x="167" y="49"/>
                  </a:cubicBezTo>
                  <a:cubicBezTo>
                    <a:pt x="167" y="49"/>
                    <a:pt x="167" y="49"/>
                    <a:pt x="167" y="49"/>
                  </a:cubicBezTo>
                  <a:cubicBezTo>
                    <a:pt x="167" y="49"/>
                    <a:pt x="167" y="49"/>
                    <a:pt x="167" y="49"/>
                  </a:cubicBezTo>
                  <a:cubicBezTo>
                    <a:pt x="167" y="49"/>
                    <a:pt x="166" y="49"/>
                    <a:pt x="166" y="49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66" y="49"/>
                    <a:pt x="165" y="49"/>
                    <a:pt x="165" y="49"/>
                  </a:cubicBezTo>
                  <a:cubicBezTo>
                    <a:pt x="165" y="49"/>
                    <a:pt x="166" y="49"/>
                    <a:pt x="166" y="49"/>
                  </a:cubicBezTo>
                  <a:cubicBezTo>
                    <a:pt x="166" y="49"/>
                    <a:pt x="165" y="50"/>
                    <a:pt x="165" y="50"/>
                  </a:cubicBezTo>
                  <a:cubicBezTo>
                    <a:pt x="166" y="50"/>
                    <a:pt x="165" y="50"/>
                    <a:pt x="165" y="50"/>
                  </a:cubicBezTo>
                  <a:cubicBezTo>
                    <a:pt x="165" y="50"/>
                    <a:pt x="165" y="50"/>
                    <a:pt x="165" y="50"/>
                  </a:cubicBezTo>
                  <a:cubicBezTo>
                    <a:pt x="165" y="50"/>
                    <a:pt x="165" y="50"/>
                    <a:pt x="165" y="49"/>
                  </a:cubicBezTo>
                  <a:cubicBezTo>
                    <a:pt x="165" y="49"/>
                    <a:pt x="165" y="49"/>
                    <a:pt x="165" y="49"/>
                  </a:cubicBezTo>
                  <a:cubicBezTo>
                    <a:pt x="165" y="49"/>
                    <a:pt x="165" y="49"/>
                    <a:pt x="165" y="49"/>
                  </a:cubicBezTo>
                  <a:cubicBezTo>
                    <a:pt x="165" y="49"/>
                    <a:pt x="164" y="50"/>
                    <a:pt x="164" y="50"/>
                  </a:cubicBezTo>
                  <a:cubicBezTo>
                    <a:pt x="164" y="49"/>
                    <a:pt x="164" y="49"/>
                    <a:pt x="165" y="49"/>
                  </a:cubicBezTo>
                  <a:cubicBezTo>
                    <a:pt x="165" y="49"/>
                    <a:pt x="165" y="49"/>
                    <a:pt x="165" y="49"/>
                  </a:cubicBezTo>
                  <a:cubicBezTo>
                    <a:pt x="165" y="49"/>
                    <a:pt x="165" y="49"/>
                    <a:pt x="164" y="49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3" y="49"/>
                    <a:pt x="163" y="49"/>
                  </a:cubicBezTo>
                  <a:cubicBezTo>
                    <a:pt x="163" y="49"/>
                    <a:pt x="163" y="49"/>
                    <a:pt x="163" y="49"/>
                  </a:cubicBezTo>
                  <a:cubicBezTo>
                    <a:pt x="163" y="49"/>
                    <a:pt x="163" y="49"/>
                    <a:pt x="163" y="49"/>
                  </a:cubicBezTo>
                  <a:cubicBezTo>
                    <a:pt x="163" y="49"/>
                    <a:pt x="163" y="49"/>
                    <a:pt x="163" y="49"/>
                  </a:cubicBezTo>
                  <a:cubicBezTo>
                    <a:pt x="163" y="50"/>
                    <a:pt x="163" y="50"/>
                    <a:pt x="163" y="50"/>
                  </a:cubicBezTo>
                  <a:cubicBezTo>
                    <a:pt x="162" y="50"/>
                    <a:pt x="162" y="50"/>
                    <a:pt x="162" y="50"/>
                  </a:cubicBezTo>
                  <a:cubicBezTo>
                    <a:pt x="162" y="50"/>
                    <a:pt x="161" y="50"/>
                    <a:pt x="161" y="50"/>
                  </a:cubicBezTo>
                  <a:cubicBezTo>
                    <a:pt x="161" y="50"/>
                    <a:pt x="161" y="50"/>
                    <a:pt x="161" y="50"/>
                  </a:cubicBezTo>
                  <a:cubicBezTo>
                    <a:pt x="161" y="51"/>
                    <a:pt x="161" y="51"/>
                    <a:pt x="161" y="51"/>
                  </a:cubicBezTo>
                  <a:cubicBezTo>
                    <a:pt x="161" y="51"/>
                    <a:pt x="161" y="51"/>
                    <a:pt x="161" y="51"/>
                  </a:cubicBezTo>
                  <a:cubicBezTo>
                    <a:pt x="162" y="51"/>
                    <a:pt x="161" y="51"/>
                    <a:pt x="161" y="51"/>
                  </a:cubicBezTo>
                  <a:cubicBezTo>
                    <a:pt x="161" y="51"/>
                    <a:pt x="161" y="51"/>
                    <a:pt x="161" y="51"/>
                  </a:cubicBezTo>
                  <a:cubicBezTo>
                    <a:pt x="161" y="51"/>
                    <a:pt x="160" y="52"/>
                    <a:pt x="160" y="52"/>
                  </a:cubicBezTo>
                  <a:cubicBezTo>
                    <a:pt x="160" y="51"/>
                    <a:pt x="160" y="51"/>
                    <a:pt x="160" y="51"/>
                  </a:cubicBezTo>
                  <a:cubicBezTo>
                    <a:pt x="160" y="51"/>
                    <a:pt x="160" y="51"/>
                    <a:pt x="160" y="51"/>
                  </a:cubicBezTo>
                  <a:cubicBezTo>
                    <a:pt x="160" y="51"/>
                    <a:pt x="160" y="51"/>
                    <a:pt x="160" y="51"/>
                  </a:cubicBezTo>
                  <a:cubicBezTo>
                    <a:pt x="160" y="51"/>
                    <a:pt x="159" y="51"/>
                    <a:pt x="159" y="51"/>
                  </a:cubicBezTo>
                  <a:cubicBezTo>
                    <a:pt x="159" y="51"/>
                    <a:pt x="160" y="51"/>
                    <a:pt x="160" y="51"/>
                  </a:cubicBezTo>
                  <a:cubicBezTo>
                    <a:pt x="160" y="51"/>
                    <a:pt x="160" y="50"/>
                    <a:pt x="160" y="50"/>
                  </a:cubicBezTo>
                  <a:cubicBezTo>
                    <a:pt x="160" y="50"/>
                    <a:pt x="160" y="50"/>
                    <a:pt x="159" y="50"/>
                  </a:cubicBezTo>
                  <a:cubicBezTo>
                    <a:pt x="159" y="51"/>
                    <a:pt x="159" y="51"/>
                    <a:pt x="159" y="51"/>
                  </a:cubicBezTo>
                  <a:cubicBezTo>
                    <a:pt x="159" y="51"/>
                    <a:pt x="159" y="51"/>
                    <a:pt x="159" y="51"/>
                  </a:cubicBezTo>
                  <a:cubicBezTo>
                    <a:pt x="159" y="51"/>
                    <a:pt x="159" y="51"/>
                    <a:pt x="159" y="51"/>
                  </a:cubicBezTo>
                  <a:cubicBezTo>
                    <a:pt x="158" y="51"/>
                    <a:pt x="158" y="51"/>
                    <a:pt x="158" y="51"/>
                  </a:cubicBezTo>
                  <a:cubicBezTo>
                    <a:pt x="158" y="51"/>
                    <a:pt x="158" y="51"/>
                    <a:pt x="158" y="51"/>
                  </a:cubicBezTo>
                  <a:cubicBezTo>
                    <a:pt x="158" y="51"/>
                    <a:pt x="157" y="51"/>
                    <a:pt x="157" y="51"/>
                  </a:cubicBezTo>
                  <a:cubicBezTo>
                    <a:pt x="157" y="52"/>
                    <a:pt x="158" y="52"/>
                    <a:pt x="158" y="52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8" y="52"/>
                    <a:pt x="158" y="52"/>
                    <a:pt x="157" y="52"/>
                  </a:cubicBezTo>
                  <a:cubicBezTo>
                    <a:pt x="157" y="52"/>
                    <a:pt x="157" y="52"/>
                    <a:pt x="157" y="52"/>
                  </a:cubicBezTo>
                  <a:cubicBezTo>
                    <a:pt x="156" y="52"/>
                    <a:pt x="156" y="52"/>
                    <a:pt x="156" y="52"/>
                  </a:cubicBezTo>
                  <a:cubicBezTo>
                    <a:pt x="156" y="52"/>
                    <a:pt x="156" y="53"/>
                    <a:pt x="156" y="53"/>
                  </a:cubicBezTo>
                  <a:cubicBezTo>
                    <a:pt x="155" y="53"/>
                    <a:pt x="155" y="53"/>
                    <a:pt x="155" y="53"/>
                  </a:cubicBezTo>
                  <a:cubicBezTo>
                    <a:pt x="155" y="53"/>
                    <a:pt x="155" y="53"/>
                    <a:pt x="155" y="53"/>
                  </a:cubicBezTo>
                  <a:cubicBezTo>
                    <a:pt x="155" y="53"/>
                    <a:pt x="155" y="53"/>
                    <a:pt x="156" y="53"/>
                  </a:cubicBezTo>
                  <a:cubicBezTo>
                    <a:pt x="156" y="53"/>
                    <a:pt x="156" y="53"/>
                    <a:pt x="156" y="53"/>
                  </a:cubicBezTo>
                  <a:cubicBezTo>
                    <a:pt x="157" y="53"/>
                    <a:pt x="157" y="53"/>
                    <a:pt x="158" y="53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8" y="52"/>
                    <a:pt x="159" y="52"/>
                    <a:pt x="159" y="52"/>
                  </a:cubicBezTo>
                  <a:cubicBezTo>
                    <a:pt x="159" y="52"/>
                    <a:pt x="159" y="52"/>
                    <a:pt x="159" y="52"/>
                  </a:cubicBezTo>
                  <a:cubicBezTo>
                    <a:pt x="160" y="52"/>
                    <a:pt x="160" y="52"/>
                    <a:pt x="160" y="52"/>
                  </a:cubicBezTo>
                  <a:cubicBezTo>
                    <a:pt x="160" y="52"/>
                    <a:pt x="160" y="52"/>
                    <a:pt x="160" y="52"/>
                  </a:cubicBezTo>
                  <a:cubicBezTo>
                    <a:pt x="160" y="53"/>
                    <a:pt x="160" y="53"/>
                    <a:pt x="160" y="53"/>
                  </a:cubicBezTo>
                  <a:cubicBezTo>
                    <a:pt x="160" y="52"/>
                    <a:pt x="159" y="52"/>
                    <a:pt x="159" y="52"/>
                  </a:cubicBezTo>
                  <a:cubicBezTo>
                    <a:pt x="159" y="53"/>
                    <a:pt x="159" y="53"/>
                    <a:pt x="159" y="53"/>
                  </a:cubicBezTo>
                  <a:cubicBezTo>
                    <a:pt x="159" y="53"/>
                    <a:pt x="159" y="53"/>
                    <a:pt x="159" y="53"/>
                  </a:cubicBezTo>
                  <a:cubicBezTo>
                    <a:pt x="158" y="53"/>
                    <a:pt x="158" y="53"/>
                    <a:pt x="158" y="53"/>
                  </a:cubicBezTo>
                  <a:cubicBezTo>
                    <a:pt x="158" y="53"/>
                    <a:pt x="158" y="53"/>
                    <a:pt x="158" y="53"/>
                  </a:cubicBezTo>
                  <a:cubicBezTo>
                    <a:pt x="158" y="54"/>
                    <a:pt x="158" y="53"/>
                    <a:pt x="158" y="53"/>
                  </a:cubicBezTo>
                  <a:cubicBezTo>
                    <a:pt x="158" y="54"/>
                    <a:pt x="158" y="54"/>
                    <a:pt x="158" y="54"/>
                  </a:cubicBezTo>
                  <a:cubicBezTo>
                    <a:pt x="158" y="54"/>
                    <a:pt x="157" y="54"/>
                    <a:pt x="157" y="54"/>
                  </a:cubicBezTo>
                  <a:cubicBezTo>
                    <a:pt x="157" y="55"/>
                    <a:pt x="156" y="55"/>
                    <a:pt x="156" y="55"/>
                  </a:cubicBezTo>
                  <a:cubicBezTo>
                    <a:pt x="156" y="55"/>
                    <a:pt x="156" y="55"/>
                    <a:pt x="156" y="56"/>
                  </a:cubicBezTo>
                  <a:cubicBezTo>
                    <a:pt x="156" y="56"/>
                    <a:pt x="155" y="56"/>
                    <a:pt x="155" y="56"/>
                  </a:cubicBezTo>
                  <a:cubicBezTo>
                    <a:pt x="155" y="56"/>
                    <a:pt x="155" y="57"/>
                    <a:pt x="155" y="57"/>
                  </a:cubicBezTo>
                  <a:cubicBezTo>
                    <a:pt x="155" y="57"/>
                    <a:pt x="154" y="58"/>
                    <a:pt x="154" y="58"/>
                  </a:cubicBezTo>
                  <a:cubicBezTo>
                    <a:pt x="154" y="58"/>
                    <a:pt x="154" y="58"/>
                    <a:pt x="154" y="58"/>
                  </a:cubicBezTo>
                  <a:cubicBezTo>
                    <a:pt x="154" y="58"/>
                    <a:pt x="153" y="59"/>
                    <a:pt x="153" y="59"/>
                  </a:cubicBezTo>
                  <a:cubicBezTo>
                    <a:pt x="153" y="59"/>
                    <a:pt x="153" y="58"/>
                    <a:pt x="153" y="59"/>
                  </a:cubicBezTo>
                  <a:cubicBezTo>
                    <a:pt x="152" y="59"/>
                    <a:pt x="152" y="59"/>
                    <a:pt x="153" y="59"/>
                  </a:cubicBezTo>
                  <a:cubicBezTo>
                    <a:pt x="153" y="59"/>
                    <a:pt x="153" y="59"/>
                    <a:pt x="153" y="59"/>
                  </a:cubicBezTo>
                  <a:cubicBezTo>
                    <a:pt x="153" y="59"/>
                    <a:pt x="153" y="59"/>
                    <a:pt x="153" y="59"/>
                  </a:cubicBezTo>
                  <a:cubicBezTo>
                    <a:pt x="153" y="59"/>
                    <a:pt x="152" y="59"/>
                    <a:pt x="152" y="60"/>
                  </a:cubicBezTo>
                  <a:cubicBezTo>
                    <a:pt x="152" y="60"/>
                    <a:pt x="152" y="60"/>
                    <a:pt x="152" y="60"/>
                  </a:cubicBezTo>
                  <a:cubicBezTo>
                    <a:pt x="151" y="60"/>
                    <a:pt x="151" y="60"/>
                    <a:pt x="151" y="61"/>
                  </a:cubicBezTo>
                  <a:cubicBezTo>
                    <a:pt x="151" y="61"/>
                    <a:pt x="151" y="61"/>
                    <a:pt x="151" y="61"/>
                  </a:cubicBezTo>
                  <a:cubicBezTo>
                    <a:pt x="151" y="61"/>
                    <a:pt x="152" y="61"/>
                    <a:pt x="152" y="61"/>
                  </a:cubicBezTo>
                  <a:cubicBezTo>
                    <a:pt x="152" y="61"/>
                    <a:pt x="153" y="61"/>
                    <a:pt x="153" y="61"/>
                  </a:cubicBezTo>
                  <a:cubicBezTo>
                    <a:pt x="153" y="61"/>
                    <a:pt x="153" y="61"/>
                    <a:pt x="153" y="61"/>
                  </a:cubicBezTo>
                  <a:cubicBezTo>
                    <a:pt x="153" y="60"/>
                    <a:pt x="153" y="60"/>
                    <a:pt x="153" y="60"/>
                  </a:cubicBezTo>
                  <a:cubicBezTo>
                    <a:pt x="153" y="60"/>
                    <a:pt x="153" y="60"/>
                    <a:pt x="153" y="60"/>
                  </a:cubicBezTo>
                  <a:cubicBezTo>
                    <a:pt x="153" y="60"/>
                    <a:pt x="153" y="61"/>
                    <a:pt x="153" y="61"/>
                  </a:cubicBezTo>
                  <a:cubicBezTo>
                    <a:pt x="153" y="61"/>
                    <a:pt x="153" y="61"/>
                    <a:pt x="153" y="61"/>
                  </a:cubicBezTo>
                  <a:cubicBezTo>
                    <a:pt x="153" y="61"/>
                    <a:pt x="153" y="61"/>
                    <a:pt x="153" y="61"/>
                  </a:cubicBezTo>
                  <a:cubicBezTo>
                    <a:pt x="153" y="61"/>
                    <a:pt x="153" y="61"/>
                    <a:pt x="152" y="61"/>
                  </a:cubicBezTo>
                  <a:cubicBezTo>
                    <a:pt x="152" y="61"/>
                    <a:pt x="152" y="62"/>
                    <a:pt x="152" y="61"/>
                  </a:cubicBezTo>
                  <a:cubicBezTo>
                    <a:pt x="152" y="61"/>
                    <a:pt x="152" y="61"/>
                    <a:pt x="152" y="61"/>
                  </a:cubicBezTo>
                  <a:cubicBezTo>
                    <a:pt x="151" y="62"/>
                    <a:pt x="151" y="61"/>
                    <a:pt x="151" y="61"/>
                  </a:cubicBezTo>
                  <a:cubicBezTo>
                    <a:pt x="151" y="61"/>
                    <a:pt x="151" y="61"/>
                    <a:pt x="151" y="61"/>
                  </a:cubicBezTo>
                  <a:cubicBezTo>
                    <a:pt x="150" y="61"/>
                    <a:pt x="150" y="61"/>
                    <a:pt x="150" y="61"/>
                  </a:cubicBezTo>
                  <a:cubicBezTo>
                    <a:pt x="150" y="61"/>
                    <a:pt x="150" y="61"/>
                    <a:pt x="150" y="61"/>
                  </a:cubicBezTo>
                  <a:cubicBezTo>
                    <a:pt x="149" y="61"/>
                    <a:pt x="150" y="61"/>
                    <a:pt x="149" y="61"/>
                  </a:cubicBezTo>
                  <a:cubicBezTo>
                    <a:pt x="149" y="61"/>
                    <a:pt x="149" y="61"/>
                    <a:pt x="149" y="61"/>
                  </a:cubicBezTo>
                  <a:cubicBezTo>
                    <a:pt x="149" y="61"/>
                    <a:pt x="149" y="61"/>
                    <a:pt x="148" y="61"/>
                  </a:cubicBezTo>
                  <a:cubicBezTo>
                    <a:pt x="148" y="62"/>
                    <a:pt x="148" y="62"/>
                    <a:pt x="148" y="62"/>
                  </a:cubicBezTo>
                  <a:cubicBezTo>
                    <a:pt x="148" y="62"/>
                    <a:pt x="148" y="62"/>
                    <a:pt x="148" y="62"/>
                  </a:cubicBezTo>
                  <a:cubicBezTo>
                    <a:pt x="147" y="62"/>
                    <a:pt x="147" y="62"/>
                    <a:pt x="147" y="63"/>
                  </a:cubicBezTo>
                  <a:cubicBezTo>
                    <a:pt x="147" y="63"/>
                    <a:pt x="147" y="63"/>
                    <a:pt x="147" y="63"/>
                  </a:cubicBezTo>
                  <a:cubicBezTo>
                    <a:pt x="146" y="63"/>
                    <a:pt x="146" y="63"/>
                    <a:pt x="146" y="63"/>
                  </a:cubicBezTo>
                  <a:cubicBezTo>
                    <a:pt x="146" y="63"/>
                    <a:pt x="146" y="63"/>
                    <a:pt x="146" y="63"/>
                  </a:cubicBezTo>
                  <a:cubicBezTo>
                    <a:pt x="145" y="64"/>
                    <a:pt x="146" y="64"/>
                    <a:pt x="145" y="64"/>
                  </a:cubicBezTo>
                  <a:cubicBezTo>
                    <a:pt x="145" y="64"/>
                    <a:pt x="145" y="64"/>
                    <a:pt x="145" y="64"/>
                  </a:cubicBezTo>
                  <a:cubicBezTo>
                    <a:pt x="145" y="64"/>
                    <a:pt x="145" y="64"/>
                    <a:pt x="145" y="64"/>
                  </a:cubicBezTo>
                  <a:cubicBezTo>
                    <a:pt x="145" y="64"/>
                    <a:pt x="145" y="64"/>
                    <a:pt x="145" y="64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45" y="66"/>
                    <a:pt x="144" y="66"/>
                    <a:pt x="144" y="66"/>
                  </a:cubicBezTo>
                  <a:cubicBezTo>
                    <a:pt x="144" y="66"/>
                    <a:pt x="144" y="66"/>
                    <a:pt x="145" y="66"/>
                  </a:cubicBezTo>
                  <a:cubicBezTo>
                    <a:pt x="145" y="67"/>
                    <a:pt x="145" y="67"/>
                    <a:pt x="145" y="67"/>
                  </a:cubicBezTo>
                  <a:cubicBezTo>
                    <a:pt x="145" y="67"/>
                    <a:pt x="145" y="67"/>
                    <a:pt x="145" y="67"/>
                  </a:cubicBezTo>
                  <a:cubicBezTo>
                    <a:pt x="145" y="68"/>
                    <a:pt x="145" y="67"/>
                    <a:pt x="145" y="68"/>
                  </a:cubicBezTo>
                  <a:cubicBezTo>
                    <a:pt x="145" y="68"/>
                    <a:pt x="145" y="68"/>
                    <a:pt x="145" y="68"/>
                  </a:cubicBezTo>
                  <a:cubicBezTo>
                    <a:pt x="145" y="68"/>
                    <a:pt x="145" y="68"/>
                    <a:pt x="145" y="68"/>
                  </a:cubicBezTo>
                  <a:cubicBezTo>
                    <a:pt x="146" y="68"/>
                    <a:pt x="146" y="68"/>
                    <a:pt x="146" y="68"/>
                  </a:cubicBezTo>
                  <a:cubicBezTo>
                    <a:pt x="146" y="68"/>
                    <a:pt x="146" y="68"/>
                    <a:pt x="145" y="68"/>
                  </a:cubicBezTo>
                  <a:cubicBezTo>
                    <a:pt x="145" y="68"/>
                    <a:pt x="145" y="68"/>
                    <a:pt x="145" y="69"/>
                  </a:cubicBezTo>
                  <a:cubicBezTo>
                    <a:pt x="145" y="69"/>
                    <a:pt x="145" y="69"/>
                    <a:pt x="145" y="69"/>
                  </a:cubicBezTo>
                  <a:cubicBezTo>
                    <a:pt x="145" y="69"/>
                    <a:pt x="146" y="69"/>
                    <a:pt x="146" y="69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46" y="70"/>
                    <a:pt x="146" y="69"/>
                    <a:pt x="146" y="70"/>
                  </a:cubicBezTo>
                  <a:cubicBezTo>
                    <a:pt x="146" y="70"/>
                    <a:pt x="146" y="70"/>
                    <a:pt x="146" y="70"/>
                  </a:cubicBezTo>
                  <a:cubicBezTo>
                    <a:pt x="146" y="70"/>
                    <a:pt x="146" y="71"/>
                    <a:pt x="146" y="71"/>
                  </a:cubicBezTo>
                  <a:cubicBezTo>
                    <a:pt x="147" y="71"/>
                    <a:pt x="147" y="71"/>
                    <a:pt x="147" y="71"/>
                  </a:cubicBezTo>
                  <a:cubicBezTo>
                    <a:pt x="147" y="71"/>
                    <a:pt x="148" y="72"/>
                    <a:pt x="148" y="71"/>
                  </a:cubicBezTo>
                  <a:cubicBezTo>
                    <a:pt x="149" y="71"/>
                    <a:pt x="149" y="71"/>
                    <a:pt x="150" y="71"/>
                  </a:cubicBezTo>
                  <a:cubicBezTo>
                    <a:pt x="150" y="71"/>
                    <a:pt x="150" y="70"/>
                    <a:pt x="150" y="70"/>
                  </a:cubicBezTo>
                  <a:cubicBezTo>
                    <a:pt x="151" y="70"/>
                    <a:pt x="151" y="70"/>
                    <a:pt x="152" y="69"/>
                  </a:cubicBezTo>
                  <a:cubicBezTo>
                    <a:pt x="152" y="69"/>
                    <a:pt x="152" y="69"/>
                    <a:pt x="152" y="69"/>
                  </a:cubicBezTo>
                  <a:cubicBezTo>
                    <a:pt x="152" y="69"/>
                    <a:pt x="152" y="69"/>
                    <a:pt x="152" y="69"/>
                  </a:cubicBezTo>
                  <a:cubicBezTo>
                    <a:pt x="152" y="68"/>
                    <a:pt x="152" y="68"/>
                    <a:pt x="152" y="68"/>
                  </a:cubicBezTo>
                  <a:cubicBezTo>
                    <a:pt x="152" y="68"/>
                    <a:pt x="153" y="68"/>
                    <a:pt x="152" y="68"/>
                  </a:cubicBezTo>
                  <a:cubicBezTo>
                    <a:pt x="152" y="68"/>
                    <a:pt x="152" y="69"/>
                    <a:pt x="152" y="69"/>
                  </a:cubicBezTo>
                  <a:cubicBezTo>
                    <a:pt x="152" y="69"/>
                    <a:pt x="152" y="70"/>
                    <a:pt x="153" y="70"/>
                  </a:cubicBezTo>
                  <a:cubicBezTo>
                    <a:pt x="153" y="70"/>
                    <a:pt x="153" y="70"/>
                    <a:pt x="153" y="70"/>
                  </a:cubicBezTo>
                  <a:cubicBezTo>
                    <a:pt x="153" y="70"/>
                    <a:pt x="153" y="72"/>
                    <a:pt x="154" y="72"/>
                  </a:cubicBezTo>
                  <a:cubicBezTo>
                    <a:pt x="154" y="72"/>
                    <a:pt x="154" y="73"/>
                    <a:pt x="154" y="73"/>
                  </a:cubicBezTo>
                  <a:cubicBezTo>
                    <a:pt x="155" y="74"/>
                    <a:pt x="155" y="74"/>
                    <a:pt x="155" y="74"/>
                  </a:cubicBezTo>
                  <a:cubicBezTo>
                    <a:pt x="155" y="74"/>
                    <a:pt x="155" y="74"/>
                    <a:pt x="155" y="74"/>
                  </a:cubicBezTo>
                  <a:cubicBezTo>
                    <a:pt x="155" y="74"/>
                    <a:pt x="155" y="74"/>
                    <a:pt x="155" y="74"/>
                  </a:cubicBezTo>
                  <a:cubicBezTo>
                    <a:pt x="155" y="75"/>
                    <a:pt x="155" y="75"/>
                    <a:pt x="155" y="75"/>
                  </a:cubicBezTo>
                  <a:cubicBezTo>
                    <a:pt x="155" y="75"/>
                    <a:pt x="155" y="75"/>
                    <a:pt x="155" y="75"/>
                  </a:cubicBezTo>
                  <a:cubicBezTo>
                    <a:pt x="155" y="75"/>
                    <a:pt x="156" y="76"/>
                    <a:pt x="155" y="76"/>
                  </a:cubicBezTo>
                  <a:cubicBezTo>
                    <a:pt x="155" y="76"/>
                    <a:pt x="155" y="76"/>
                    <a:pt x="155" y="76"/>
                  </a:cubicBezTo>
                  <a:cubicBezTo>
                    <a:pt x="155" y="76"/>
                    <a:pt x="156" y="77"/>
                    <a:pt x="156" y="77"/>
                  </a:cubicBezTo>
                  <a:cubicBezTo>
                    <a:pt x="156" y="76"/>
                    <a:pt x="156" y="76"/>
                    <a:pt x="157" y="76"/>
                  </a:cubicBezTo>
                  <a:cubicBezTo>
                    <a:pt x="157" y="76"/>
                    <a:pt x="157" y="76"/>
                    <a:pt x="157" y="76"/>
                  </a:cubicBezTo>
                  <a:cubicBezTo>
                    <a:pt x="157" y="76"/>
                    <a:pt x="157" y="76"/>
                    <a:pt x="157" y="76"/>
                  </a:cubicBezTo>
                  <a:cubicBezTo>
                    <a:pt x="157" y="76"/>
                    <a:pt x="157" y="76"/>
                    <a:pt x="157" y="75"/>
                  </a:cubicBezTo>
                  <a:cubicBezTo>
                    <a:pt x="157" y="75"/>
                    <a:pt x="157" y="75"/>
                    <a:pt x="158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5"/>
                    <a:pt x="159" y="75"/>
                    <a:pt x="159" y="75"/>
                  </a:cubicBezTo>
                  <a:cubicBezTo>
                    <a:pt x="159" y="75"/>
                    <a:pt x="159" y="75"/>
                    <a:pt x="159" y="75"/>
                  </a:cubicBezTo>
                  <a:cubicBezTo>
                    <a:pt x="159" y="75"/>
                    <a:pt x="160" y="74"/>
                    <a:pt x="160" y="74"/>
                  </a:cubicBezTo>
                  <a:cubicBezTo>
                    <a:pt x="160" y="74"/>
                    <a:pt x="160" y="73"/>
                    <a:pt x="160" y="73"/>
                  </a:cubicBezTo>
                  <a:cubicBezTo>
                    <a:pt x="160" y="73"/>
                    <a:pt x="160" y="73"/>
                    <a:pt x="160" y="72"/>
                  </a:cubicBezTo>
                  <a:cubicBezTo>
                    <a:pt x="160" y="72"/>
                    <a:pt x="161" y="72"/>
                    <a:pt x="161" y="72"/>
                  </a:cubicBezTo>
                  <a:cubicBezTo>
                    <a:pt x="161" y="71"/>
                    <a:pt x="161" y="71"/>
                    <a:pt x="161" y="71"/>
                  </a:cubicBezTo>
                  <a:cubicBezTo>
                    <a:pt x="161" y="70"/>
                    <a:pt x="161" y="70"/>
                    <a:pt x="161" y="70"/>
                  </a:cubicBezTo>
                  <a:cubicBezTo>
                    <a:pt x="161" y="70"/>
                    <a:pt x="162" y="70"/>
                    <a:pt x="162" y="70"/>
                  </a:cubicBezTo>
                  <a:cubicBezTo>
                    <a:pt x="162" y="70"/>
                    <a:pt x="163" y="69"/>
                    <a:pt x="163" y="69"/>
                  </a:cubicBezTo>
                  <a:cubicBezTo>
                    <a:pt x="163" y="69"/>
                    <a:pt x="163" y="69"/>
                    <a:pt x="163" y="69"/>
                  </a:cubicBezTo>
                  <a:cubicBezTo>
                    <a:pt x="163" y="68"/>
                    <a:pt x="164" y="68"/>
                    <a:pt x="163" y="68"/>
                  </a:cubicBezTo>
                  <a:cubicBezTo>
                    <a:pt x="163" y="68"/>
                    <a:pt x="163" y="68"/>
                    <a:pt x="163" y="68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63" y="67"/>
                    <a:pt x="163" y="67"/>
                    <a:pt x="162" y="67"/>
                  </a:cubicBezTo>
                  <a:cubicBezTo>
                    <a:pt x="162" y="67"/>
                    <a:pt x="162" y="67"/>
                    <a:pt x="162" y="67"/>
                  </a:cubicBezTo>
                  <a:cubicBezTo>
                    <a:pt x="162" y="67"/>
                    <a:pt x="162" y="67"/>
                    <a:pt x="162" y="67"/>
                  </a:cubicBezTo>
                  <a:cubicBezTo>
                    <a:pt x="162" y="67"/>
                    <a:pt x="162" y="67"/>
                    <a:pt x="161" y="67"/>
                  </a:cubicBezTo>
                  <a:cubicBezTo>
                    <a:pt x="161" y="67"/>
                    <a:pt x="161" y="66"/>
                    <a:pt x="161" y="66"/>
                  </a:cubicBezTo>
                  <a:cubicBezTo>
                    <a:pt x="161" y="66"/>
                    <a:pt x="161" y="66"/>
                    <a:pt x="161" y="65"/>
                  </a:cubicBezTo>
                  <a:cubicBezTo>
                    <a:pt x="161" y="65"/>
                    <a:pt x="161" y="65"/>
                    <a:pt x="161" y="65"/>
                  </a:cubicBezTo>
                  <a:cubicBezTo>
                    <a:pt x="161" y="65"/>
                    <a:pt x="161" y="65"/>
                    <a:pt x="161" y="65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4"/>
                    <a:pt x="161" y="63"/>
                    <a:pt x="162" y="63"/>
                  </a:cubicBezTo>
                  <a:cubicBezTo>
                    <a:pt x="162" y="63"/>
                    <a:pt x="162" y="63"/>
                    <a:pt x="162" y="62"/>
                  </a:cubicBezTo>
                  <a:cubicBezTo>
                    <a:pt x="163" y="62"/>
                    <a:pt x="163" y="62"/>
                    <a:pt x="163" y="62"/>
                  </a:cubicBezTo>
                  <a:cubicBezTo>
                    <a:pt x="163" y="62"/>
                    <a:pt x="164" y="62"/>
                    <a:pt x="164" y="61"/>
                  </a:cubicBezTo>
                  <a:cubicBezTo>
                    <a:pt x="164" y="61"/>
                    <a:pt x="164" y="61"/>
                    <a:pt x="164" y="61"/>
                  </a:cubicBezTo>
                  <a:cubicBezTo>
                    <a:pt x="165" y="61"/>
                    <a:pt x="165" y="61"/>
                    <a:pt x="165" y="61"/>
                  </a:cubicBezTo>
                  <a:cubicBezTo>
                    <a:pt x="165" y="61"/>
                    <a:pt x="166" y="61"/>
                    <a:pt x="166" y="60"/>
                  </a:cubicBezTo>
                  <a:cubicBezTo>
                    <a:pt x="166" y="60"/>
                    <a:pt x="166" y="60"/>
                    <a:pt x="167" y="60"/>
                  </a:cubicBezTo>
                  <a:cubicBezTo>
                    <a:pt x="167" y="60"/>
                    <a:pt x="167" y="59"/>
                    <a:pt x="167" y="59"/>
                  </a:cubicBezTo>
                  <a:cubicBezTo>
                    <a:pt x="167" y="59"/>
                    <a:pt x="166" y="59"/>
                    <a:pt x="166" y="59"/>
                  </a:cubicBezTo>
                  <a:cubicBezTo>
                    <a:pt x="167" y="59"/>
                    <a:pt x="167" y="58"/>
                    <a:pt x="167" y="58"/>
                  </a:cubicBezTo>
                  <a:cubicBezTo>
                    <a:pt x="167" y="58"/>
                    <a:pt x="167" y="58"/>
                    <a:pt x="167" y="58"/>
                  </a:cubicBezTo>
                  <a:cubicBezTo>
                    <a:pt x="167" y="58"/>
                    <a:pt x="168" y="58"/>
                    <a:pt x="168" y="57"/>
                  </a:cubicBezTo>
                  <a:cubicBezTo>
                    <a:pt x="168" y="57"/>
                    <a:pt x="168" y="57"/>
                    <a:pt x="168" y="57"/>
                  </a:cubicBezTo>
                  <a:cubicBezTo>
                    <a:pt x="168" y="57"/>
                    <a:pt x="169" y="57"/>
                    <a:pt x="169" y="57"/>
                  </a:cubicBezTo>
                  <a:cubicBezTo>
                    <a:pt x="169" y="57"/>
                    <a:pt x="169" y="57"/>
                    <a:pt x="170" y="57"/>
                  </a:cubicBezTo>
                  <a:cubicBezTo>
                    <a:pt x="170" y="57"/>
                    <a:pt x="170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2" y="57"/>
                    <a:pt x="172" y="57"/>
                    <a:pt x="172" y="58"/>
                  </a:cubicBezTo>
                  <a:cubicBezTo>
                    <a:pt x="172" y="58"/>
                    <a:pt x="172" y="58"/>
                    <a:pt x="172" y="58"/>
                  </a:cubicBezTo>
                  <a:cubicBezTo>
                    <a:pt x="172" y="58"/>
                    <a:pt x="171" y="59"/>
                    <a:pt x="171" y="59"/>
                  </a:cubicBezTo>
                  <a:cubicBezTo>
                    <a:pt x="171" y="59"/>
                    <a:pt x="171" y="58"/>
                    <a:pt x="171" y="58"/>
                  </a:cubicBezTo>
                  <a:cubicBezTo>
                    <a:pt x="171" y="58"/>
                    <a:pt x="171" y="59"/>
                    <a:pt x="171" y="59"/>
                  </a:cubicBezTo>
                  <a:cubicBezTo>
                    <a:pt x="171" y="59"/>
                    <a:pt x="171" y="59"/>
                    <a:pt x="170" y="59"/>
                  </a:cubicBezTo>
                  <a:cubicBezTo>
                    <a:pt x="170" y="59"/>
                    <a:pt x="169" y="60"/>
                    <a:pt x="169" y="60"/>
                  </a:cubicBezTo>
                  <a:cubicBezTo>
                    <a:pt x="169" y="61"/>
                    <a:pt x="168" y="60"/>
                    <a:pt x="168" y="61"/>
                  </a:cubicBezTo>
                  <a:cubicBezTo>
                    <a:pt x="168" y="61"/>
                    <a:pt x="168" y="61"/>
                    <a:pt x="168" y="61"/>
                  </a:cubicBezTo>
                  <a:cubicBezTo>
                    <a:pt x="168" y="61"/>
                    <a:pt x="168" y="61"/>
                    <a:pt x="168" y="62"/>
                  </a:cubicBezTo>
                  <a:cubicBezTo>
                    <a:pt x="168" y="62"/>
                    <a:pt x="168" y="62"/>
                    <a:pt x="167" y="62"/>
                  </a:cubicBezTo>
                  <a:cubicBezTo>
                    <a:pt x="167" y="62"/>
                    <a:pt x="167" y="62"/>
                    <a:pt x="167" y="62"/>
                  </a:cubicBezTo>
                  <a:cubicBezTo>
                    <a:pt x="167" y="62"/>
                    <a:pt x="167" y="62"/>
                    <a:pt x="167" y="62"/>
                  </a:cubicBezTo>
                  <a:cubicBezTo>
                    <a:pt x="166" y="62"/>
                    <a:pt x="166" y="63"/>
                    <a:pt x="166" y="63"/>
                  </a:cubicBezTo>
                  <a:cubicBezTo>
                    <a:pt x="166" y="63"/>
                    <a:pt x="167" y="64"/>
                    <a:pt x="167" y="64"/>
                  </a:cubicBezTo>
                  <a:cubicBezTo>
                    <a:pt x="167" y="64"/>
                    <a:pt x="167" y="65"/>
                    <a:pt x="167" y="65"/>
                  </a:cubicBezTo>
                  <a:cubicBezTo>
                    <a:pt x="167" y="65"/>
                    <a:pt x="167" y="66"/>
                    <a:pt x="167" y="66"/>
                  </a:cubicBezTo>
                  <a:cubicBezTo>
                    <a:pt x="166" y="66"/>
                    <a:pt x="167" y="67"/>
                    <a:pt x="167" y="67"/>
                  </a:cubicBezTo>
                  <a:cubicBezTo>
                    <a:pt x="167" y="67"/>
                    <a:pt x="167" y="67"/>
                    <a:pt x="167" y="67"/>
                  </a:cubicBezTo>
                  <a:cubicBezTo>
                    <a:pt x="167" y="67"/>
                    <a:pt x="168" y="68"/>
                    <a:pt x="168" y="68"/>
                  </a:cubicBezTo>
                  <a:cubicBezTo>
                    <a:pt x="168" y="68"/>
                    <a:pt x="168" y="68"/>
                    <a:pt x="169" y="68"/>
                  </a:cubicBezTo>
                  <a:cubicBezTo>
                    <a:pt x="169" y="68"/>
                    <a:pt x="169" y="68"/>
                    <a:pt x="169" y="68"/>
                  </a:cubicBezTo>
                  <a:cubicBezTo>
                    <a:pt x="169" y="68"/>
                    <a:pt x="170" y="68"/>
                    <a:pt x="170" y="68"/>
                  </a:cubicBezTo>
                  <a:cubicBezTo>
                    <a:pt x="170" y="68"/>
                    <a:pt x="171" y="68"/>
                    <a:pt x="171" y="68"/>
                  </a:cubicBezTo>
                  <a:cubicBezTo>
                    <a:pt x="171" y="68"/>
                    <a:pt x="172" y="67"/>
                    <a:pt x="172" y="67"/>
                  </a:cubicBezTo>
                  <a:cubicBezTo>
                    <a:pt x="173" y="67"/>
                    <a:pt x="173" y="67"/>
                    <a:pt x="173" y="67"/>
                  </a:cubicBezTo>
                  <a:cubicBezTo>
                    <a:pt x="173" y="67"/>
                    <a:pt x="174" y="67"/>
                    <a:pt x="174" y="67"/>
                  </a:cubicBezTo>
                  <a:cubicBezTo>
                    <a:pt x="175" y="67"/>
                    <a:pt x="175" y="67"/>
                    <a:pt x="176" y="67"/>
                  </a:cubicBezTo>
                  <a:cubicBezTo>
                    <a:pt x="176" y="67"/>
                    <a:pt x="176" y="66"/>
                    <a:pt x="176" y="67"/>
                  </a:cubicBezTo>
                  <a:cubicBezTo>
                    <a:pt x="176" y="67"/>
                    <a:pt x="176" y="67"/>
                    <a:pt x="176" y="67"/>
                  </a:cubicBezTo>
                  <a:cubicBezTo>
                    <a:pt x="176" y="67"/>
                    <a:pt x="177" y="67"/>
                    <a:pt x="177" y="68"/>
                  </a:cubicBezTo>
                  <a:cubicBezTo>
                    <a:pt x="177" y="68"/>
                    <a:pt x="178" y="68"/>
                    <a:pt x="178" y="68"/>
                  </a:cubicBezTo>
                  <a:cubicBezTo>
                    <a:pt x="178" y="68"/>
                    <a:pt x="178" y="68"/>
                    <a:pt x="178" y="68"/>
                  </a:cubicBezTo>
                  <a:cubicBezTo>
                    <a:pt x="177" y="68"/>
                    <a:pt x="177" y="68"/>
                    <a:pt x="177" y="68"/>
                  </a:cubicBezTo>
                  <a:cubicBezTo>
                    <a:pt x="177" y="68"/>
                    <a:pt x="177" y="68"/>
                    <a:pt x="177" y="68"/>
                  </a:cubicBezTo>
                  <a:cubicBezTo>
                    <a:pt x="177" y="68"/>
                    <a:pt x="176" y="68"/>
                    <a:pt x="176" y="68"/>
                  </a:cubicBezTo>
                  <a:cubicBezTo>
                    <a:pt x="176" y="68"/>
                    <a:pt x="176" y="68"/>
                    <a:pt x="176" y="68"/>
                  </a:cubicBezTo>
                  <a:cubicBezTo>
                    <a:pt x="176" y="68"/>
                    <a:pt x="175" y="68"/>
                    <a:pt x="175" y="68"/>
                  </a:cubicBezTo>
                  <a:cubicBezTo>
                    <a:pt x="175" y="68"/>
                    <a:pt x="176" y="69"/>
                    <a:pt x="175" y="69"/>
                  </a:cubicBezTo>
                  <a:cubicBezTo>
                    <a:pt x="175" y="69"/>
                    <a:pt x="174" y="69"/>
                    <a:pt x="174" y="69"/>
                  </a:cubicBezTo>
                  <a:cubicBezTo>
                    <a:pt x="174" y="69"/>
                    <a:pt x="173" y="68"/>
                    <a:pt x="172" y="69"/>
                  </a:cubicBezTo>
                  <a:cubicBezTo>
                    <a:pt x="172" y="69"/>
                    <a:pt x="172" y="69"/>
                    <a:pt x="171" y="69"/>
                  </a:cubicBezTo>
                  <a:cubicBezTo>
                    <a:pt x="171" y="69"/>
                    <a:pt x="171" y="69"/>
                    <a:pt x="171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70" y="69"/>
                    <a:pt x="169" y="70"/>
                    <a:pt x="169" y="70"/>
                  </a:cubicBezTo>
                  <a:cubicBezTo>
                    <a:pt x="169" y="70"/>
                    <a:pt x="169" y="70"/>
                    <a:pt x="169" y="70"/>
                  </a:cubicBezTo>
                  <a:cubicBezTo>
                    <a:pt x="169" y="70"/>
                    <a:pt x="169" y="70"/>
                    <a:pt x="170" y="71"/>
                  </a:cubicBezTo>
                  <a:cubicBezTo>
                    <a:pt x="170" y="71"/>
                    <a:pt x="171" y="71"/>
                    <a:pt x="171" y="71"/>
                  </a:cubicBezTo>
                  <a:cubicBezTo>
                    <a:pt x="171" y="71"/>
                    <a:pt x="171" y="71"/>
                    <a:pt x="171" y="72"/>
                  </a:cubicBezTo>
                  <a:cubicBezTo>
                    <a:pt x="170" y="72"/>
                    <a:pt x="171" y="72"/>
                    <a:pt x="171" y="72"/>
                  </a:cubicBezTo>
                  <a:cubicBezTo>
                    <a:pt x="171" y="73"/>
                    <a:pt x="171" y="73"/>
                    <a:pt x="171" y="73"/>
                  </a:cubicBezTo>
                  <a:cubicBezTo>
                    <a:pt x="170" y="73"/>
                    <a:pt x="170" y="73"/>
                    <a:pt x="170" y="73"/>
                  </a:cubicBezTo>
                  <a:cubicBezTo>
                    <a:pt x="170" y="74"/>
                    <a:pt x="169" y="74"/>
                    <a:pt x="169" y="73"/>
                  </a:cubicBezTo>
                  <a:cubicBezTo>
                    <a:pt x="169" y="73"/>
                    <a:pt x="169" y="73"/>
                    <a:pt x="169" y="73"/>
                  </a:cubicBezTo>
                  <a:cubicBezTo>
                    <a:pt x="169" y="73"/>
                    <a:pt x="169" y="73"/>
                    <a:pt x="169" y="73"/>
                  </a:cubicBezTo>
                  <a:cubicBezTo>
                    <a:pt x="169" y="73"/>
                    <a:pt x="168" y="73"/>
                    <a:pt x="168" y="72"/>
                  </a:cubicBezTo>
                  <a:cubicBezTo>
                    <a:pt x="168" y="72"/>
                    <a:pt x="168" y="72"/>
                    <a:pt x="168" y="72"/>
                  </a:cubicBezTo>
                  <a:cubicBezTo>
                    <a:pt x="168" y="72"/>
                    <a:pt x="168" y="72"/>
                    <a:pt x="167" y="72"/>
                  </a:cubicBezTo>
                  <a:cubicBezTo>
                    <a:pt x="167" y="72"/>
                    <a:pt x="167" y="72"/>
                    <a:pt x="167" y="72"/>
                  </a:cubicBezTo>
                  <a:cubicBezTo>
                    <a:pt x="167" y="73"/>
                    <a:pt x="167" y="73"/>
                    <a:pt x="167" y="73"/>
                  </a:cubicBezTo>
                  <a:cubicBezTo>
                    <a:pt x="167" y="73"/>
                    <a:pt x="167" y="73"/>
                    <a:pt x="167" y="74"/>
                  </a:cubicBezTo>
                  <a:cubicBezTo>
                    <a:pt x="166" y="74"/>
                    <a:pt x="166" y="74"/>
                    <a:pt x="166" y="74"/>
                  </a:cubicBezTo>
                  <a:cubicBezTo>
                    <a:pt x="166" y="74"/>
                    <a:pt x="166" y="75"/>
                    <a:pt x="166" y="75"/>
                  </a:cubicBezTo>
                  <a:cubicBezTo>
                    <a:pt x="166" y="75"/>
                    <a:pt x="166" y="75"/>
                    <a:pt x="166" y="76"/>
                  </a:cubicBezTo>
                  <a:cubicBezTo>
                    <a:pt x="166" y="76"/>
                    <a:pt x="166" y="77"/>
                    <a:pt x="166" y="77"/>
                  </a:cubicBezTo>
                  <a:cubicBezTo>
                    <a:pt x="166" y="77"/>
                    <a:pt x="166" y="77"/>
                    <a:pt x="166" y="77"/>
                  </a:cubicBezTo>
                  <a:cubicBezTo>
                    <a:pt x="165" y="77"/>
                    <a:pt x="165" y="77"/>
                    <a:pt x="165" y="77"/>
                  </a:cubicBezTo>
                  <a:cubicBezTo>
                    <a:pt x="165" y="77"/>
                    <a:pt x="165" y="77"/>
                    <a:pt x="165" y="77"/>
                  </a:cubicBezTo>
                  <a:cubicBezTo>
                    <a:pt x="165" y="78"/>
                    <a:pt x="164" y="78"/>
                    <a:pt x="164" y="78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3" y="78"/>
                    <a:pt x="163" y="78"/>
                    <a:pt x="163" y="78"/>
                  </a:cubicBezTo>
                  <a:cubicBezTo>
                    <a:pt x="163" y="78"/>
                    <a:pt x="163" y="78"/>
                    <a:pt x="163" y="78"/>
                  </a:cubicBezTo>
                  <a:cubicBezTo>
                    <a:pt x="162" y="78"/>
                    <a:pt x="162" y="77"/>
                    <a:pt x="162" y="78"/>
                  </a:cubicBezTo>
                  <a:cubicBezTo>
                    <a:pt x="161" y="78"/>
                    <a:pt x="161" y="78"/>
                    <a:pt x="161" y="78"/>
                  </a:cubicBezTo>
                  <a:cubicBezTo>
                    <a:pt x="161" y="78"/>
                    <a:pt x="160" y="78"/>
                    <a:pt x="160" y="78"/>
                  </a:cubicBezTo>
                  <a:cubicBezTo>
                    <a:pt x="160" y="78"/>
                    <a:pt x="160" y="79"/>
                    <a:pt x="160" y="79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9"/>
                    <a:pt x="158" y="79"/>
                  </a:cubicBezTo>
                  <a:cubicBezTo>
                    <a:pt x="157" y="79"/>
                    <a:pt x="157" y="79"/>
                    <a:pt x="157" y="79"/>
                  </a:cubicBezTo>
                  <a:cubicBezTo>
                    <a:pt x="156" y="79"/>
                    <a:pt x="156" y="79"/>
                    <a:pt x="156" y="79"/>
                  </a:cubicBezTo>
                  <a:cubicBezTo>
                    <a:pt x="156" y="79"/>
                    <a:pt x="156" y="79"/>
                    <a:pt x="156" y="78"/>
                  </a:cubicBezTo>
                  <a:cubicBezTo>
                    <a:pt x="156" y="78"/>
                    <a:pt x="156" y="78"/>
                    <a:pt x="156" y="78"/>
                  </a:cubicBezTo>
                  <a:cubicBezTo>
                    <a:pt x="156" y="78"/>
                    <a:pt x="156" y="78"/>
                    <a:pt x="156" y="78"/>
                  </a:cubicBezTo>
                  <a:cubicBezTo>
                    <a:pt x="156" y="78"/>
                    <a:pt x="156" y="78"/>
                    <a:pt x="156" y="78"/>
                  </a:cubicBezTo>
                  <a:cubicBezTo>
                    <a:pt x="155" y="78"/>
                    <a:pt x="155" y="78"/>
                    <a:pt x="155" y="78"/>
                  </a:cubicBezTo>
                  <a:cubicBezTo>
                    <a:pt x="155" y="78"/>
                    <a:pt x="155" y="78"/>
                    <a:pt x="155" y="78"/>
                  </a:cubicBezTo>
                  <a:cubicBezTo>
                    <a:pt x="155" y="78"/>
                    <a:pt x="155" y="79"/>
                    <a:pt x="154" y="79"/>
                  </a:cubicBezTo>
                  <a:cubicBezTo>
                    <a:pt x="154" y="79"/>
                    <a:pt x="154" y="79"/>
                    <a:pt x="154" y="79"/>
                  </a:cubicBezTo>
                  <a:cubicBezTo>
                    <a:pt x="154" y="79"/>
                    <a:pt x="153" y="79"/>
                    <a:pt x="153" y="79"/>
                  </a:cubicBezTo>
                  <a:cubicBezTo>
                    <a:pt x="153" y="79"/>
                    <a:pt x="153" y="79"/>
                    <a:pt x="153" y="79"/>
                  </a:cubicBezTo>
                  <a:cubicBezTo>
                    <a:pt x="153" y="79"/>
                    <a:pt x="153" y="79"/>
                    <a:pt x="153" y="79"/>
                  </a:cubicBezTo>
                  <a:cubicBezTo>
                    <a:pt x="153" y="79"/>
                    <a:pt x="153" y="78"/>
                    <a:pt x="153" y="78"/>
                  </a:cubicBezTo>
                  <a:cubicBezTo>
                    <a:pt x="153" y="78"/>
                    <a:pt x="153" y="78"/>
                    <a:pt x="153" y="78"/>
                  </a:cubicBezTo>
                  <a:cubicBezTo>
                    <a:pt x="153" y="78"/>
                    <a:pt x="153" y="78"/>
                    <a:pt x="153" y="78"/>
                  </a:cubicBezTo>
                  <a:cubicBezTo>
                    <a:pt x="153" y="78"/>
                    <a:pt x="152" y="78"/>
                    <a:pt x="152" y="78"/>
                  </a:cubicBezTo>
                  <a:cubicBezTo>
                    <a:pt x="152" y="78"/>
                    <a:pt x="152" y="78"/>
                    <a:pt x="151" y="78"/>
                  </a:cubicBezTo>
                  <a:cubicBezTo>
                    <a:pt x="151" y="78"/>
                    <a:pt x="151" y="77"/>
                    <a:pt x="151" y="77"/>
                  </a:cubicBezTo>
                  <a:cubicBezTo>
                    <a:pt x="151" y="77"/>
                    <a:pt x="151" y="77"/>
                    <a:pt x="151" y="77"/>
                  </a:cubicBezTo>
                  <a:cubicBezTo>
                    <a:pt x="151" y="77"/>
                    <a:pt x="151" y="77"/>
                    <a:pt x="151" y="77"/>
                  </a:cubicBezTo>
                  <a:cubicBezTo>
                    <a:pt x="151" y="77"/>
                    <a:pt x="151" y="77"/>
                    <a:pt x="151" y="76"/>
                  </a:cubicBezTo>
                  <a:cubicBezTo>
                    <a:pt x="151" y="76"/>
                    <a:pt x="151" y="76"/>
                    <a:pt x="152" y="76"/>
                  </a:cubicBezTo>
                  <a:cubicBezTo>
                    <a:pt x="152" y="76"/>
                    <a:pt x="152" y="76"/>
                    <a:pt x="152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75"/>
                    <a:pt x="153" y="75"/>
                    <a:pt x="153" y="75"/>
                  </a:cubicBezTo>
                  <a:cubicBezTo>
                    <a:pt x="153" y="75"/>
                    <a:pt x="153" y="74"/>
                    <a:pt x="153" y="74"/>
                  </a:cubicBezTo>
                  <a:cubicBezTo>
                    <a:pt x="152" y="74"/>
                    <a:pt x="152" y="74"/>
                    <a:pt x="152" y="74"/>
                  </a:cubicBezTo>
                  <a:cubicBezTo>
                    <a:pt x="152" y="74"/>
                    <a:pt x="152" y="74"/>
                    <a:pt x="152" y="74"/>
                  </a:cubicBezTo>
                  <a:cubicBezTo>
                    <a:pt x="152" y="74"/>
                    <a:pt x="152" y="73"/>
                    <a:pt x="152" y="73"/>
                  </a:cubicBezTo>
                  <a:cubicBezTo>
                    <a:pt x="152" y="73"/>
                    <a:pt x="152" y="73"/>
                    <a:pt x="152" y="73"/>
                  </a:cubicBezTo>
                  <a:cubicBezTo>
                    <a:pt x="152" y="73"/>
                    <a:pt x="152" y="72"/>
                    <a:pt x="152" y="72"/>
                  </a:cubicBezTo>
                  <a:cubicBezTo>
                    <a:pt x="152" y="72"/>
                    <a:pt x="152" y="72"/>
                    <a:pt x="152" y="72"/>
                  </a:cubicBezTo>
                  <a:cubicBezTo>
                    <a:pt x="152" y="72"/>
                    <a:pt x="151" y="72"/>
                    <a:pt x="151" y="72"/>
                  </a:cubicBezTo>
                  <a:cubicBezTo>
                    <a:pt x="151" y="73"/>
                    <a:pt x="151" y="73"/>
                    <a:pt x="151" y="73"/>
                  </a:cubicBezTo>
                  <a:cubicBezTo>
                    <a:pt x="151" y="73"/>
                    <a:pt x="150" y="73"/>
                    <a:pt x="150" y="73"/>
                  </a:cubicBezTo>
                  <a:cubicBezTo>
                    <a:pt x="150" y="73"/>
                    <a:pt x="150" y="73"/>
                    <a:pt x="150" y="73"/>
                  </a:cubicBezTo>
                  <a:cubicBezTo>
                    <a:pt x="150" y="73"/>
                    <a:pt x="149" y="74"/>
                    <a:pt x="149" y="74"/>
                  </a:cubicBezTo>
                  <a:cubicBezTo>
                    <a:pt x="149" y="74"/>
                    <a:pt x="149" y="74"/>
                    <a:pt x="149" y="74"/>
                  </a:cubicBezTo>
                  <a:cubicBezTo>
                    <a:pt x="150" y="74"/>
                    <a:pt x="150" y="74"/>
                    <a:pt x="150" y="74"/>
                  </a:cubicBezTo>
                  <a:cubicBezTo>
                    <a:pt x="149" y="74"/>
                    <a:pt x="149" y="74"/>
                    <a:pt x="149" y="74"/>
                  </a:cubicBezTo>
                  <a:cubicBezTo>
                    <a:pt x="149" y="74"/>
                    <a:pt x="149" y="74"/>
                    <a:pt x="149" y="74"/>
                  </a:cubicBezTo>
                  <a:cubicBezTo>
                    <a:pt x="149" y="74"/>
                    <a:pt x="149" y="75"/>
                    <a:pt x="149" y="75"/>
                  </a:cubicBezTo>
                  <a:cubicBezTo>
                    <a:pt x="149" y="75"/>
                    <a:pt x="149" y="76"/>
                    <a:pt x="149" y="76"/>
                  </a:cubicBezTo>
                  <a:cubicBezTo>
                    <a:pt x="149" y="76"/>
                    <a:pt x="149" y="76"/>
                    <a:pt x="149" y="76"/>
                  </a:cubicBezTo>
                  <a:cubicBezTo>
                    <a:pt x="149" y="76"/>
                    <a:pt x="150" y="77"/>
                    <a:pt x="149" y="77"/>
                  </a:cubicBezTo>
                  <a:cubicBezTo>
                    <a:pt x="149" y="77"/>
                    <a:pt x="149" y="77"/>
                    <a:pt x="149" y="78"/>
                  </a:cubicBezTo>
                  <a:cubicBezTo>
                    <a:pt x="150" y="78"/>
                    <a:pt x="150" y="78"/>
                    <a:pt x="150" y="78"/>
                  </a:cubicBezTo>
                  <a:cubicBezTo>
                    <a:pt x="150" y="78"/>
                    <a:pt x="150" y="78"/>
                    <a:pt x="150" y="78"/>
                  </a:cubicBezTo>
                  <a:cubicBezTo>
                    <a:pt x="150" y="78"/>
                    <a:pt x="150" y="79"/>
                    <a:pt x="150" y="79"/>
                  </a:cubicBezTo>
                  <a:cubicBezTo>
                    <a:pt x="149" y="79"/>
                    <a:pt x="149" y="79"/>
                    <a:pt x="149" y="79"/>
                  </a:cubicBezTo>
                  <a:cubicBezTo>
                    <a:pt x="149" y="79"/>
                    <a:pt x="149" y="79"/>
                    <a:pt x="148" y="79"/>
                  </a:cubicBezTo>
                  <a:cubicBezTo>
                    <a:pt x="148" y="80"/>
                    <a:pt x="147" y="79"/>
                    <a:pt x="147" y="80"/>
                  </a:cubicBezTo>
                  <a:cubicBezTo>
                    <a:pt x="147" y="80"/>
                    <a:pt x="146" y="80"/>
                    <a:pt x="146" y="80"/>
                  </a:cubicBezTo>
                  <a:cubicBezTo>
                    <a:pt x="146" y="80"/>
                    <a:pt x="145" y="80"/>
                    <a:pt x="145" y="80"/>
                  </a:cubicBezTo>
                  <a:cubicBezTo>
                    <a:pt x="145" y="80"/>
                    <a:pt x="145" y="80"/>
                    <a:pt x="145" y="81"/>
                  </a:cubicBezTo>
                  <a:cubicBezTo>
                    <a:pt x="145" y="81"/>
                    <a:pt x="144" y="81"/>
                    <a:pt x="144" y="81"/>
                  </a:cubicBezTo>
                  <a:cubicBezTo>
                    <a:pt x="144" y="82"/>
                    <a:pt x="144" y="83"/>
                    <a:pt x="144" y="83"/>
                  </a:cubicBezTo>
                  <a:cubicBezTo>
                    <a:pt x="144" y="83"/>
                    <a:pt x="143" y="83"/>
                    <a:pt x="143" y="84"/>
                  </a:cubicBezTo>
                  <a:cubicBezTo>
                    <a:pt x="142" y="84"/>
                    <a:pt x="142" y="84"/>
                    <a:pt x="142" y="84"/>
                  </a:cubicBezTo>
                  <a:cubicBezTo>
                    <a:pt x="141" y="85"/>
                    <a:pt x="141" y="85"/>
                    <a:pt x="141" y="8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40" y="85"/>
                    <a:pt x="140" y="86"/>
                    <a:pt x="140" y="86"/>
                  </a:cubicBezTo>
                  <a:cubicBezTo>
                    <a:pt x="140" y="86"/>
                    <a:pt x="140" y="87"/>
                    <a:pt x="139" y="87"/>
                  </a:cubicBezTo>
                  <a:cubicBezTo>
                    <a:pt x="139" y="87"/>
                    <a:pt x="139" y="87"/>
                    <a:pt x="138" y="87"/>
                  </a:cubicBezTo>
                  <a:cubicBezTo>
                    <a:pt x="138" y="87"/>
                    <a:pt x="138" y="88"/>
                    <a:pt x="138" y="88"/>
                  </a:cubicBezTo>
                  <a:cubicBezTo>
                    <a:pt x="138" y="88"/>
                    <a:pt x="138" y="88"/>
                    <a:pt x="137" y="88"/>
                  </a:cubicBezTo>
                  <a:cubicBezTo>
                    <a:pt x="137" y="88"/>
                    <a:pt x="137" y="88"/>
                    <a:pt x="137" y="88"/>
                  </a:cubicBezTo>
                  <a:cubicBezTo>
                    <a:pt x="137" y="88"/>
                    <a:pt x="137" y="88"/>
                    <a:pt x="136" y="87"/>
                  </a:cubicBezTo>
                  <a:cubicBezTo>
                    <a:pt x="136" y="87"/>
                    <a:pt x="136" y="87"/>
                    <a:pt x="136" y="87"/>
                  </a:cubicBezTo>
                  <a:cubicBezTo>
                    <a:pt x="136" y="87"/>
                    <a:pt x="136" y="87"/>
                    <a:pt x="136" y="87"/>
                  </a:cubicBezTo>
                  <a:cubicBezTo>
                    <a:pt x="136" y="88"/>
                    <a:pt x="136" y="88"/>
                    <a:pt x="136" y="88"/>
                  </a:cubicBezTo>
                  <a:cubicBezTo>
                    <a:pt x="136" y="88"/>
                    <a:pt x="136" y="88"/>
                    <a:pt x="136" y="89"/>
                  </a:cubicBezTo>
                  <a:cubicBezTo>
                    <a:pt x="136" y="89"/>
                    <a:pt x="136" y="89"/>
                    <a:pt x="136" y="89"/>
                  </a:cubicBezTo>
                  <a:cubicBezTo>
                    <a:pt x="136" y="89"/>
                    <a:pt x="136" y="89"/>
                    <a:pt x="135" y="89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35" y="89"/>
                    <a:pt x="134" y="89"/>
                    <a:pt x="134" y="89"/>
                  </a:cubicBezTo>
                  <a:cubicBezTo>
                    <a:pt x="134" y="89"/>
                    <a:pt x="134" y="89"/>
                    <a:pt x="134" y="89"/>
                  </a:cubicBezTo>
                  <a:cubicBezTo>
                    <a:pt x="134" y="89"/>
                    <a:pt x="134" y="89"/>
                    <a:pt x="133" y="89"/>
                  </a:cubicBezTo>
                  <a:cubicBezTo>
                    <a:pt x="133" y="89"/>
                    <a:pt x="133" y="89"/>
                    <a:pt x="133" y="89"/>
                  </a:cubicBezTo>
                  <a:cubicBezTo>
                    <a:pt x="132" y="89"/>
                    <a:pt x="132" y="89"/>
                    <a:pt x="132" y="89"/>
                  </a:cubicBezTo>
                  <a:cubicBezTo>
                    <a:pt x="132" y="90"/>
                    <a:pt x="132" y="90"/>
                    <a:pt x="132" y="90"/>
                  </a:cubicBezTo>
                  <a:cubicBezTo>
                    <a:pt x="132" y="90"/>
                    <a:pt x="133" y="90"/>
                    <a:pt x="132" y="90"/>
                  </a:cubicBezTo>
                  <a:cubicBezTo>
                    <a:pt x="132" y="90"/>
                    <a:pt x="132" y="90"/>
                    <a:pt x="132" y="90"/>
                  </a:cubicBezTo>
                  <a:cubicBezTo>
                    <a:pt x="132" y="90"/>
                    <a:pt x="133" y="91"/>
                    <a:pt x="133" y="90"/>
                  </a:cubicBezTo>
                  <a:cubicBezTo>
                    <a:pt x="133" y="90"/>
                    <a:pt x="134" y="91"/>
                    <a:pt x="134" y="91"/>
                  </a:cubicBezTo>
                  <a:cubicBezTo>
                    <a:pt x="134" y="91"/>
                    <a:pt x="135" y="91"/>
                    <a:pt x="135" y="91"/>
                  </a:cubicBezTo>
                  <a:cubicBezTo>
                    <a:pt x="135" y="92"/>
                    <a:pt x="135" y="92"/>
                    <a:pt x="135" y="92"/>
                  </a:cubicBezTo>
                  <a:cubicBezTo>
                    <a:pt x="136" y="93"/>
                    <a:pt x="137" y="93"/>
                    <a:pt x="137" y="94"/>
                  </a:cubicBezTo>
                  <a:cubicBezTo>
                    <a:pt x="137" y="94"/>
                    <a:pt x="137" y="95"/>
                    <a:pt x="137" y="95"/>
                  </a:cubicBezTo>
                  <a:cubicBezTo>
                    <a:pt x="137" y="95"/>
                    <a:pt x="137" y="98"/>
                    <a:pt x="136" y="98"/>
                  </a:cubicBezTo>
                  <a:cubicBezTo>
                    <a:pt x="136" y="99"/>
                    <a:pt x="136" y="99"/>
                    <a:pt x="136" y="99"/>
                  </a:cubicBezTo>
                  <a:cubicBezTo>
                    <a:pt x="135" y="99"/>
                    <a:pt x="135" y="99"/>
                    <a:pt x="135" y="99"/>
                  </a:cubicBezTo>
                  <a:cubicBezTo>
                    <a:pt x="134" y="99"/>
                    <a:pt x="134" y="99"/>
                    <a:pt x="134" y="99"/>
                  </a:cubicBezTo>
                  <a:cubicBezTo>
                    <a:pt x="134" y="99"/>
                    <a:pt x="134" y="99"/>
                    <a:pt x="133" y="99"/>
                  </a:cubicBezTo>
                  <a:cubicBezTo>
                    <a:pt x="133" y="99"/>
                    <a:pt x="133" y="99"/>
                    <a:pt x="132" y="99"/>
                  </a:cubicBezTo>
                  <a:cubicBezTo>
                    <a:pt x="132" y="99"/>
                    <a:pt x="131" y="99"/>
                    <a:pt x="131" y="99"/>
                  </a:cubicBezTo>
                  <a:cubicBezTo>
                    <a:pt x="130" y="99"/>
                    <a:pt x="129" y="99"/>
                    <a:pt x="129" y="99"/>
                  </a:cubicBezTo>
                  <a:cubicBezTo>
                    <a:pt x="129" y="99"/>
                    <a:pt x="129" y="98"/>
                    <a:pt x="128" y="98"/>
                  </a:cubicBezTo>
                  <a:cubicBezTo>
                    <a:pt x="128" y="98"/>
                    <a:pt x="128" y="98"/>
                    <a:pt x="127" y="98"/>
                  </a:cubicBezTo>
                  <a:cubicBezTo>
                    <a:pt x="127" y="98"/>
                    <a:pt x="127" y="99"/>
                    <a:pt x="127" y="99"/>
                  </a:cubicBezTo>
                  <a:cubicBezTo>
                    <a:pt x="127" y="99"/>
                    <a:pt x="127" y="99"/>
                    <a:pt x="127" y="99"/>
                  </a:cubicBezTo>
                  <a:cubicBezTo>
                    <a:pt x="127" y="99"/>
                    <a:pt x="126" y="99"/>
                    <a:pt x="126" y="99"/>
                  </a:cubicBezTo>
                  <a:cubicBezTo>
                    <a:pt x="126" y="99"/>
                    <a:pt x="126" y="100"/>
                    <a:pt x="126" y="100"/>
                  </a:cubicBezTo>
                  <a:cubicBezTo>
                    <a:pt x="126" y="100"/>
                    <a:pt x="126" y="100"/>
                    <a:pt x="126" y="100"/>
                  </a:cubicBezTo>
                  <a:cubicBezTo>
                    <a:pt x="126" y="101"/>
                    <a:pt x="126" y="102"/>
                    <a:pt x="126" y="102"/>
                  </a:cubicBezTo>
                  <a:cubicBezTo>
                    <a:pt x="126" y="102"/>
                    <a:pt x="127" y="103"/>
                    <a:pt x="127" y="103"/>
                  </a:cubicBezTo>
                  <a:cubicBezTo>
                    <a:pt x="127" y="104"/>
                    <a:pt x="126" y="105"/>
                    <a:pt x="126" y="105"/>
                  </a:cubicBezTo>
                  <a:cubicBezTo>
                    <a:pt x="126" y="106"/>
                    <a:pt x="126" y="106"/>
                    <a:pt x="126" y="107"/>
                  </a:cubicBezTo>
                  <a:cubicBezTo>
                    <a:pt x="126" y="107"/>
                    <a:pt x="126" y="107"/>
                    <a:pt x="126" y="108"/>
                  </a:cubicBezTo>
                  <a:cubicBezTo>
                    <a:pt x="126" y="108"/>
                    <a:pt x="126" y="108"/>
                    <a:pt x="126" y="108"/>
                  </a:cubicBezTo>
                  <a:cubicBezTo>
                    <a:pt x="127" y="108"/>
                    <a:pt x="127" y="109"/>
                    <a:pt x="127" y="110"/>
                  </a:cubicBezTo>
                  <a:cubicBezTo>
                    <a:pt x="126" y="110"/>
                    <a:pt x="126" y="110"/>
                    <a:pt x="126" y="110"/>
                  </a:cubicBezTo>
                  <a:cubicBezTo>
                    <a:pt x="127" y="111"/>
                    <a:pt x="127" y="111"/>
                    <a:pt x="127" y="111"/>
                  </a:cubicBezTo>
                  <a:cubicBezTo>
                    <a:pt x="127" y="111"/>
                    <a:pt x="128" y="111"/>
                    <a:pt x="128" y="111"/>
                  </a:cubicBezTo>
                  <a:cubicBezTo>
                    <a:pt x="128" y="111"/>
                    <a:pt x="129" y="110"/>
                    <a:pt x="129" y="110"/>
                  </a:cubicBezTo>
                  <a:cubicBezTo>
                    <a:pt x="129" y="111"/>
                    <a:pt x="130" y="111"/>
                    <a:pt x="130" y="111"/>
                  </a:cubicBezTo>
                  <a:cubicBezTo>
                    <a:pt x="130" y="111"/>
                    <a:pt x="130" y="112"/>
                    <a:pt x="130" y="112"/>
                  </a:cubicBezTo>
                  <a:cubicBezTo>
                    <a:pt x="130" y="112"/>
                    <a:pt x="130" y="113"/>
                    <a:pt x="131" y="113"/>
                  </a:cubicBezTo>
                  <a:cubicBezTo>
                    <a:pt x="131" y="113"/>
                    <a:pt x="131" y="113"/>
                    <a:pt x="131" y="112"/>
                  </a:cubicBezTo>
                  <a:cubicBezTo>
                    <a:pt x="131" y="112"/>
                    <a:pt x="131" y="112"/>
                    <a:pt x="132" y="112"/>
                  </a:cubicBezTo>
                  <a:cubicBezTo>
                    <a:pt x="132" y="112"/>
                    <a:pt x="132" y="112"/>
                    <a:pt x="132" y="111"/>
                  </a:cubicBezTo>
                  <a:cubicBezTo>
                    <a:pt x="132" y="111"/>
                    <a:pt x="133" y="111"/>
                    <a:pt x="133" y="111"/>
                  </a:cubicBezTo>
                  <a:cubicBezTo>
                    <a:pt x="134" y="111"/>
                    <a:pt x="135" y="111"/>
                    <a:pt x="135" y="111"/>
                  </a:cubicBezTo>
                  <a:cubicBezTo>
                    <a:pt x="135" y="111"/>
                    <a:pt x="136" y="111"/>
                    <a:pt x="136" y="111"/>
                  </a:cubicBezTo>
                  <a:cubicBezTo>
                    <a:pt x="136" y="111"/>
                    <a:pt x="136" y="110"/>
                    <a:pt x="136" y="110"/>
                  </a:cubicBezTo>
                  <a:cubicBezTo>
                    <a:pt x="136" y="110"/>
                    <a:pt x="137" y="110"/>
                    <a:pt x="137" y="110"/>
                  </a:cubicBezTo>
                  <a:cubicBezTo>
                    <a:pt x="137" y="110"/>
                    <a:pt x="137" y="108"/>
                    <a:pt x="138" y="108"/>
                  </a:cubicBezTo>
                  <a:cubicBezTo>
                    <a:pt x="138" y="108"/>
                    <a:pt x="138" y="108"/>
                    <a:pt x="138" y="108"/>
                  </a:cubicBezTo>
                  <a:cubicBezTo>
                    <a:pt x="138" y="107"/>
                    <a:pt x="138" y="107"/>
                    <a:pt x="138" y="107"/>
                  </a:cubicBezTo>
                  <a:cubicBezTo>
                    <a:pt x="138" y="107"/>
                    <a:pt x="138" y="107"/>
                    <a:pt x="138" y="107"/>
                  </a:cubicBezTo>
                  <a:cubicBezTo>
                    <a:pt x="138" y="106"/>
                    <a:pt x="138" y="106"/>
                    <a:pt x="138" y="105"/>
                  </a:cubicBezTo>
                  <a:cubicBezTo>
                    <a:pt x="138" y="105"/>
                    <a:pt x="139" y="105"/>
                    <a:pt x="139" y="104"/>
                  </a:cubicBezTo>
                  <a:cubicBezTo>
                    <a:pt x="139" y="104"/>
                    <a:pt x="139" y="104"/>
                    <a:pt x="139" y="104"/>
                  </a:cubicBezTo>
                  <a:cubicBezTo>
                    <a:pt x="139" y="103"/>
                    <a:pt x="140" y="103"/>
                    <a:pt x="140" y="103"/>
                  </a:cubicBezTo>
                  <a:cubicBezTo>
                    <a:pt x="140" y="103"/>
                    <a:pt x="141" y="103"/>
                    <a:pt x="141" y="103"/>
                  </a:cubicBezTo>
                  <a:cubicBezTo>
                    <a:pt x="141" y="102"/>
                    <a:pt x="142" y="102"/>
                    <a:pt x="142" y="102"/>
                  </a:cubicBezTo>
                  <a:cubicBezTo>
                    <a:pt x="142" y="102"/>
                    <a:pt x="142" y="102"/>
                    <a:pt x="142" y="102"/>
                  </a:cubicBezTo>
                  <a:cubicBezTo>
                    <a:pt x="142" y="101"/>
                    <a:pt x="142" y="100"/>
                    <a:pt x="142" y="100"/>
                  </a:cubicBezTo>
                  <a:cubicBezTo>
                    <a:pt x="142" y="100"/>
                    <a:pt x="142" y="99"/>
                    <a:pt x="143" y="99"/>
                  </a:cubicBezTo>
                  <a:cubicBezTo>
                    <a:pt x="143" y="99"/>
                    <a:pt x="143" y="98"/>
                    <a:pt x="144" y="99"/>
                  </a:cubicBezTo>
                  <a:cubicBezTo>
                    <a:pt x="146" y="99"/>
                    <a:pt x="146" y="99"/>
                    <a:pt x="146" y="99"/>
                  </a:cubicBezTo>
                  <a:cubicBezTo>
                    <a:pt x="147" y="99"/>
                    <a:pt x="148" y="98"/>
                    <a:pt x="148" y="98"/>
                  </a:cubicBezTo>
                  <a:cubicBezTo>
                    <a:pt x="148" y="98"/>
                    <a:pt x="149" y="98"/>
                    <a:pt x="149" y="98"/>
                  </a:cubicBezTo>
                  <a:cubicBezTo>
                    <a:pt x="149" y="98"/>
                    <a:pt x="150" y="96"/>
                    <a:pt x="150" y="97"/>
                  </a:cubicBezTo>
                  <a:cubicBezTo>
                    <a:pt x="151" y="98"/>
                    <a:pt x="152" y="98"/>
                    <a:pt x="152" y="98"/>
                  </a:cubicBezTo>
                  <a:cubicBezTo>
                    <a:pt x="152" y="98"/>
                    <a:pt x="152" y="99"/>
                    <a:pt x="152" y="99"/>
                  </a:cubicBezTo>
                  <a:cubicBezTo>
                    <a:pt x="152" y="99"/>
                    <a:pt x="152" y="100"/>
                    <a:pt x="153" y="100"/>
                  </a:cubicBezTo>
                  <a:cubicBezTo>
                    <a:pt x="153" y="100"/>
                    <a:pt x="153" y="100"/>
                    <a:pt x="153" y="100"/>
                  </a:cubicBezTo>
                  <a:cubicBezTo>
                    <a:pt x="153" y="101"/>
                    <a:pt x="154" y="101"/>
                    <a:pt x="154" y="101"/>
                  </a:cubicBezTo>
                  <a:cubicBezTo>
                    <a:pt x="154" y="101"/>
                    <a:pt x="154" y="101"/>
                    <a:pt x="154" y="101"/>
                  </a:cubicBezTo>
                  <a:cubicBezTo>
                    <a:pt x="154" y="102"/>
                    <a:pt x="154" y="102"/>
                    <a:pt x="155" y="102"/>
                  </a:cubicBezTo>
                  <a:cubicBezTo>
                    <a:pt x="155" y="102"/>
                    <a:pt x="155" y="103"/>
                    <a:pt x="156" y="103"/>
                  </a:cubicBezTo>
                  <a:cubicBezTo>
                    <a:pt x="156" y="103"/>
                    <a:pt x="157" y="103"/>
                    <a:pt x="157" y="103"/>
                  </a:cubicBezTo>
                  <a:cubicBezTo>
                    <a:pt x="157" y="103"/>
                    <a:pt x="157" y="103"/>
                    <a:pt x="157" y="103"/>
                  </a:cubicBezTo>
                  <a:cubicBezTo>
                    <a:pt x="157" y="104"/>
                    <a:pt x="157" y="104"/>
                    <a:pt x="157" y="104"/>
                  </a:cubicBezTo>
                  <a:cubicBezTo>
                    <a:pt x="158" y="104"/>
                    <a:pt x="158" y="104"/>
                    <a:pt x="158" y="104"/>
                  </a:cubicBezTo>
                  <a:cubicBezTo>
                    <a:pt x="158" y="104"/>
                    <a:pt x="158" y="104"/>
                    <a:pt x="158" y="105"/>
                  </a:cubicBezTo>
                  <a:cubicBezTo>
                    <a:pt x="158" y="105"/>
                    <a:pt x="159" y="105"/>
                    <a:pt x="159" y="105"/>
                  </a:cubicBezTo>
                  <a:cubicBezTo>
                    <a:pt x="159" y="105"/>
                    <a:pt x="159" y="105"/>
                    <a:pt x="159" y="105"/>
                  </a:cubicBezTo>
                  <a:cubicBezTo>
                    <a:pt x="159" y="105"/>
                    <a:pt x="159" y="106"/>
                    <a:pt x="159" y="106"/>
                  </a:cubicBezTo>
                  <a:cubicBezTo>
                    <a:pt x="159" y="106"/>
                    <a:pt x="160" y="107"/>
                    <a:pt x="160" y="107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60" y="107"/>
                    <a:pt x="159" y="108"/>
                    <a:pt x="159" y="108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9" y="108"/>
                    <a:pt x="159" y="108"/>
                    <a:pt x="159" y="109"/>
                  </a:cubicBezTo>
                  <a:cubicBezTo>
                    <a:pt x="159" y="109"/>
                    <a:pt x="159" y="109"/>
                    <a:pt x="159" y="109"/>
                  </a:cubicBezTo>
                  <a:cubicBezTo>
                    <a:pt x="159" y="109"/>
                    <a:pt x="158" y="109"/>
                    <a:pt x="158" y="109"/>
                  </a:cubicBezTo>
                  <a:cubicBezTo>
                    <a:pt x="158" y="109"/>
                    <a:pt x="158" y="109"/>
                    <a:pt x="158" y="109"/>
                  </a:cubicBezTo>
                  <a:cubicBezTo>
                    <a:pt x="158" y="109"/>
                    <a:pt x="157" y="109"/>
                    <a:pt x="157" y="109"/>
                  </a:cubicBezTo>
                  <a:cubicBezTo>
                    <a:pt x="157" y="109"/>
                    <a:pt x="156" y="109"/>
                    <a:pt x="156" y="109"/>
                  </a:cubicBezTo>
                  <a:cubicBezTo>
                    <a:pt x="156" y="109"/>
                    <a:pt x="156" y="109"/>
                    <a:pt x="156" y="109"/>
                  </a:cubicBezTo>
                  <a:cubicBezTo>
                    <a:pt x="156" y="109"/>
                    <a:pt x="156" y="109"/>
                    <a:pt x="156" y="109"/>
                  </a:cubicBezTo>
                  <a:cubicBezTo>
                    <a:pt x="155" y="109"/>
                    <a:pt x="155" y="109"/>
                    <a:pt x="155" y="109"/>
                  </a:cubicBezTo>
                  <a:cubicBezTo>
                    <a:pt x="155" y="109"/>
                    <a:pt x="155" y="109"/>
                    <a:pt x="155" y="109"/>
                  </a:cubicBezTo>
                  <a:cubicBezTo>
                    <a:pt x="155" y="109"/>
                    <a:pt x="155" y="110"/>
                    <a:pt x="155" y="110"/>
                  </a:cubicBezTo>
                  <a:cubicBezTo>
                    <a:pt x="155" y="110"/>
                    <a:pt x="156" y="110"/>
                    <a:pt x="156" y="110"/>
                  </a:cubicBezTo>
                  <a:cubicBezTo>
                    <a:pt x="156" y="110"/>
                    <a:pt x="156" y="110"/>
                    <a:pt x="157" y="111"/>
                  </a:cubicBezTo>
                  <a:cubicBezTo>
                    <a:pt x="157" y="111"/>
                    <a:pt x="157" y="111"/>
                    <a:pt x="157" y="111"/>
                  </a:cubicBezTo>
                  <a:cubicBezTo>
                    <a:pt x="157" y="111"/>
                    <a:pt x="157" y="111"/>
                    <a:pt x="158" y="111"/>
                  </a:cubicBezTo>
                  <a:cubicBezTo>
                    <a:pt x="158" y="111"/>
                    <a:pt x="158" y="111"/>
                    <a:pt x="158" y="111"/>
                  </a:cubicBezTo>
                  <a:cubicBezTo>
                    <a:pt x="158" y="111"/>
                    <a:pt x="158" y="111"/>
                    <a:pt x="158" y="110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8" y="110"/>
                    <a:pt x="159" y="109"/>
                    <a:pt x="159" y="109"/>
                  </a:cubicBezTo>
                  <a:cubicBezTo>
                    <a:pt x="159" y="109"/>
                    <a:pt x="159" y="109"/>
                    <a:pt x="159" y="109"/>
                  </a:cubicBezTo>
                  <a:cubicBezTo>
                    <a:pt x="159" y="109"/>
                    <a:pt x="159" y="109"/>
                    <a:pt x="159" y="109"/>
                  </a:cubicBezTo>
                  <a:cubicBezTo>
                    <a:pt x="159" y="109"/>
                    <a:pt x="160" y="109"/>
                    <a:pt x="160" y="109"/>
                  </a:cubicBezTo>
                  <a:cubicBezTo>
                    <a:pt x="160" y="109"/>
                    <a:pt x="160" y="108"/>
                    <a:pt x="160" y="108"/>
                  </a:cubicBezTo>
                  <a:cubicBezTo>
                    <a:pt x="160" y="108"/>
                    <a:pt x="160" y="108"/>
                    <a:pt x="160" y="108"/>
                  </a:cubicBezTo>
                  <a:cubicBezTo>
                    <a:pt x="160" y="107"/>
                    <a:pt x="160" y="107"/>
                    <a:pt x="161" y="107"/>
                  </a:cubicBezTo>
                  <a:cubicBezTo>
                    <a:pt x="161" y="107"/>
                    <a:pt x="161" y="107"/>
                    <a:pt x="161" y="107"/>
                  </a:cubicBezTo>
                  <a:cubicBezTo>
                    <a:pt x="161" y="107"/>
                    <a:pt x="161" y="106"/>
                    <a:pt x="161" y="106"/>
                  </a:cubicBezTo>
                  <a:cubicBezTo>
                    <a:pt x="161" y="106"/>
                    <a:pt x="160" y="106"/>
                    <a:pt x="160" y="106"/>
                  </a:cubicBezTo>
                  <a:cubicBezTo>
                    <a:pt x="160" y="106"/>
                    <a:pt x="160" y="105"/>
                    <a:pt x="160" y="105"/>
                  </a:cubicBezTo>
                  <a:cubicBezTo>
                    <a:pt x="160" y="105"/>
                    <a:pt x="161" y="105"/>
                    <a:pt x="161" y="104"/>
                  </a:cubicBezTo>
                  <a:cubicBezTo>
                    <a:pt x="161" y="104"/>
                    <a:pt x="161" y="104"/>
                    <a:pt x="161" y="104"/>
                  </a:cubicBezTo>
                  <a:cubicBezTo>
                    <a:pt x="161" y="104"/>
                    <a:pt x="161" y="105"/>
                    <a:pt x="161" y="105"/>
                  </a:cubicBezTo>
                  <a:cubicBezTo>
                    <a:pt x="162" y="105"/>
                    <a:pt x="162" y="104"/>
                    <a:pt x="162" y="105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2" y="105"/>
                    <a:pt x="163" y="105"/>
                    <a:pt x="163" y="105"/>
                  </a:cubicBezTo>
                  <a:cubicBezTo>
                    <a:pt x="163" y="105"/>
                    <a:pt x="163" y="105"/>
                    <a:pt x="163" y="105"/>
                  </a:cubicBezTo>
                  <a:cubicBezTo>
                    <a:pt x="163" y="105"/>
                    <a:pt x="162" y="104"/>
                    <a:pt x="162" y="104"/>
                  </a:cubicBezTo>
                  <a:cubicBezTo>
                    <a:pt x="162" y="104"/>
                    <a:pt x="162" y="104"/>
                    <a:pt x="162" y="104"/>
                  </a:cubicBezTo>
                  <a:cubicBezTo>
                    <a:pt x="161" y="104"/>
                    <a:pt x="160" y="103"/>
                    <a:pt x="160" y="103"/>
                  </a:cubicBezTo>
                  <a:cubicBezTo>
                    <a:pt x="160" y="103"/>
                    <a:pt x="159" y="102"/>
                    <a:pt x="15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02"/>
                    <a:pt x="160" y="102"/>
                    <a:pt x="159" y="102"/>
                  </a:cubicBezTo>
                  <a:cubicBezTo>
                    <a:pt x="159" y="102"/>
                    <a:pt x="159" y="102"/>
                    <a:pt x="159" y="102"/>
                  </a:cubicBezTo>
                  <a:cubicBezTo>
                    <a:pt x="158" y="102"/>
                    <a:pt x="158" y="102"/>
                    <a:pt x="158" y="101"/>
                  </a:cubicBezTo>
                  <a:cubicBezTo>
                    <a:pt x="157" y="101"/>
                    <a:pt x="157" y="100"/>
                    <a:pt x="157" y="100"/>
                  </a:cubicBezTo>
                  <a:cubicBezTo>
                    <a:pt x="157" y="100"/>
                    <a:pt x="156" y="99"/>
                    <a:pt x="156" y="99"/>
                  </a:cubicBezTo>
                  <a:cubicBezTo>
                    <a:pt x="156" y="99"/>
                    <a:pt x="155" y="98"/>
                    <a:pt x="155" y="98"/>
                  </a:cubicBezTo>
                  <a:cubicBezTo>
                    <a:pt x="155" y="97"/>
                    <a:pt x="154" y="97"/>
                    <a:pt x="154" y="97"/>
                  </a:cubicBezTo>
                  <a:cubicBezTo>
                    <a:pt x="154" y="96"/>
                    <a:pt x="154" y="96"/>
                    <a:pt x="155" y="96"/>
                  </a:cubicBezTo>
                  <a:cubicBezTo>
                    <a:pt x="155" y="96"/>
                    <a:pt x="155" y="96"/>
                    <a:pt x="155" y="96"/>
                  </a:cubicBezTo>
                  <a:cubicBezTo>
                    <a:pt x="155" y="96"/>
                    <a:pt x="155" y="95"/>
                    <a:pt x="155" y="95"/>
                  </a:cubicBezTo>
                  <a:cubicBezTo>
                    <a:pt x="155" y="95"/>
                    <a:pt x="155" y="95"/>
                    <a:pt x="155" y="95"/>
                  </a:cubicBezTo>
                  <a:cubicBezTo>
                    <a:pt x="155" y="95"/>
                    <a:pt x="155" y="95"/>
                    <a:pt x="155" y="95"/>
                  </a:cubicBezTo>
                  <a:cubicBezTo>
                    <a:pt x="155" y="95"/>
                    <a:pt x="156" y="95"/>
                    <a:pt x="156" y="95"/>
                  </a:cubicBezTo>
                  <a:cubicBezTo>
                    <a:pt x="156" y="95"/>
                    <a:pt x="156" y="94"/>
                    <a:pt x="156" y="94"/>
                  </a:cubicBezTo>
                  <a:cubicBezTo>
                    <a:pt x="156" y="94"/>
                    <a:pt x="156" y="95"/>
                    <a:pt x="156" y="95"/>
                  </a:cubicBezTo>
                  <a:cubicBezTo>
                    <a:pt x="156" y="95"/>
                    <a:pt x="156" y="95"/>
                    <a:pt x="156" y="95"/>
                  </a:cubicBezTo>
                  <a:cubicBezTo>
                    <a:pt x="156" y="95"/>
                    <a:pt x="156" y="96"/>
                    <a:pt x="157" y="96"/>
                  </a:cubicBezTo>
                  <a:cubicBezTo>
                    <a:pt x="157" y="96"/>
                    <a:pt x="157" y="96"/>
                    <a:pt x="157" y="96"/>
                  </a:cubicBezTo>
                  <a:cubicBezTo>
                    <a:pt x="157" y="96"/>
                    <a:pt x="157" y="96"/>
                    <a:pt x="157" y="96"/>
                  </a:cubicBezTo>
                  <a:cubicBezTo>
                    <a:pt x="157" y="96"/>
                    <a:pt x="157" y="95"/>
                    <a:pt x="157" y="95"/>
                  </a:cubicBezTo>
                  <a:cubicBezTo>
                    <a:pt x="157" y="95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7"/>
                    <a:pt x="158" y="97"/>
                  </a:cubicBezTo>
                  <a:cubicBezTo>
                    <a:pt x="158" y="97"/>
                    <a:pt x="158" y="98"/>
                    <a:pt x="159" y="98"/>
                  </a:cubicBezTo>
                  <a:cubicBezTo>
                    <a:pt x="159" y="98"/>
                    <a:pt x="159" y="99"/>
                    <a:pt x="160" y="99"/>
                  </a:cubicBezTo>
                  <a:cubicBezTo>
                    <a:pt x="160" y="99"/>
                    <a:pt x="160" y="99"/>
                    <a:pt x="160" y="99"/>
                  </a:cubicBezTo>
                  <a:cubicBezTo>
                    <a:pt x="160" y="99"/>
                    <a:pt x="160" y="99"/>
                    <a:pt x="161" y="99"/>
                  </a:cubicBezTo>
                  <a:cubicBezTo>
                    <a:pt x="161" y="99"/>
                    <a:pt x="161" y="100"/>
                    <a:pt x="162" y="100"/>
                  </a:cubicBezTo>
                  <a:cubicBezTo>
                    <a:pt x="162" y="100"/>
                    <a:pt x="162" y="100"/>
                    <a:pt x="162" y="100"/>
                  </a:cubicBezTo>
                  <a:cubicBezTo>
                    <a:pt x="163" y="100"/>
                    <a:pt x="163" y="101"/>
                    <a:pt x="163" y="101"/>
                  </a:cubicBezTo>
                  <a:cubicBezTo>
                    <a:pt x="163" y="101"/>
                    <a:pt x="164" y="102"/>
                    <a:pt x="164" y="102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64" y="103"/>
                    <a:pt x="164" y="103"/>
                    <a:pt x="164" y="103"/>
                  </a:cubicBezTo>
                  <a:cubicBezTo>
                    <a:pt x="164" y="103"/>
                    <a:pt x="164" y="103"/>
                    <a:pt x="164" y="104"/>
                  </a:cubicBezTo>
                  <a:cubicBezTo>
                    <a:pt x="164" y="104"/>
                    <a:pt x="164" y="105"/>
                    <a:pt x="164" y="105"/>
                  </a:cubicBezTo>
                  <a:cubicBezTo>
                    <a:pt x="164" y="105"/>
                    <a:pt x="165" y="105"/>
                    <a:pt x="165" y="105"/>
                  </a:cubicBezTo>
                  <a:cubicBezTo>
                    <a:pt x="165" y="105"/>
                    <a:pt x="165" y="106"/>
                    <a:pt x="165" y="106"/>
                  </a:cubicBezTo>
                  <a:cubicBezTo>
                    <a:pt x="165" y="106"/>
                    <a:pt x="165" y="106"/>
                    <a:pt x="165" y="107"/>
                  </a:cubicBezTo>
                  <a:cubicBezTo>
                    <a:pt x="165" y="107"/>
                    <a:pt x="165" y="107"/>
                    <a:pt x="166" y="107"/>
                  </a:cubicBezTo>
                  <a:cubicBezTo>
                    <a:pt x="166" y="107"/>
                    <a:pt x="166" y="107"/>
                    <a:pt x="166" y="107"/>
                  </a:cubicBezTo>
                  <a:cubicBezTo>
                    <a:pt x="166" y="107"/>
                    <a:pt x="166" y="107"/>
                    <a:pt x="166" y="107"/>
                  </a:cubicBezTo>
                  <a:cubicBezTo>
                    <a:pt x="166" y="107"/>
                    <a:pt x="166" y="107"/>
                    <a:pt x="166" y="107"/>
                  </a:cubicBezTo>
                  <a:cubicBezTo>
                    <a:pt x="166" y="107"/>
                    <a:pt x="166" y="108"/>
                    <a:pt x="166" y="108"/>
                  </a:cubicBezTo>
                  <a:cubicBezTo>
                    <a:pt x="166" y="108"/>
                    <a:pt x="166" y="108"/>
                    <a:pt x="166" y="108"/>
                  </a:cubicBezTo>
                  <a:cubicBezTo>
                    <a:pt x="166" y="108"/>
                    <a:pt x="167" y="108"/>
                    <a:pt x="167" y="108"/>
                  </a:cubicBezTo>
                  <a:cubicBezTo>
                    <a:pt x="167" y="108"/>
                    <a:pt x="167" y="108"/>
                    <a:pt x="168" y="108"/>
                  </a:cubicBezTo>
                  <a:cubicBezTo>
                    <a:pt x="168" y="108"/>
                    <a:pt x="168" y="108"/>
                    <a:pt x="168" y="108"/>
                  </a:cubicBezTo>
                  <a:cubicBezTo>
                    <a:pt x="168" y="108"/>
                    <a:pt x="169" y="109"/>
                    <a:pt x="169" y="109"/>
                  </a:cubicBezTo>
                  <a:cubicBezTo>
                    <a:pt x="169" y="109"/>
                    <a:pt x="169" y="109"/>
                    <a:pt x="170" y="109"/>
                  </a:cubicBezTo>
                  <a:cubicBezTo>
                    <a:pt x="170" y="109"/>
                    <a:pt x="170" y="110"/>
                    <a:pt x="170" y="110"/>
                  </a:cubicBezTo>
                  <a:cubicBezTo>
                    <a:pt x="170" y="109"/>
                    <a:pt x="170" y="109"/>
                    <a:pt x="170" y="109"/>
                  </a:cubicBezTo>
                  <a:cubicBezTo>
                    <a:pt x="170" y="109"/>
                    <a:pt x="170" y="109"/>
                    <a:pt x="170" y="109"/>
                  </a:cubicBezTo>
                  <a:cubicBezTo>
                    <a:pt x="170" y="109"/>
                    <a:pt x="170" y="108"/>
                    <a:pt x="170" y="108"/>
                  </a:cubicBezTo>
                  <a:cubicBezTo>
                    <a:pt x="170" y="108"/>
                    <a:pt x="170" y="108"/>
                    <a:pt x="170" y="108"/>
                  </a:cubicBezTo>
                  <a:cubicBezTo>
                    <a:pt x="170" y="108"/>
                    <a:pt x="170" y="108"/>
                    <a:pt x="170" y="108"/>
                  </a:cubicBezTo>
                  <a:cubicBezTo>
                    <a:pt x="170" y="108"/>
                    <a:pt x="170" y="109"/>
                    <a:pt x="170" y="109"/>
                  </a:cubicBezTo>
                  <a:cubicBezTo>
                    <a:pt x="170" y="108"/>
                    <a:pt x="170" y="108"/>
                    <a:pt x="170" y="108"/>
                  </a:cubicBezTo>
                  <a:cubicBezTo>
                    <a:pt x="170" y="108"/>
                    <a:pt x="170" y="108"/>
                    <a:pt x="170" y="108"/>
                  </a:cubicBezTo>
                  <a:cubicBezTo>
                    <a:pt x="170" y="108"/>
                    <a:pt x="170" y="108"/>
                    <a:pt x="170" y="108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9" y="107"/>
                    <a:pt x="169" y="108"/>
                    <a:pt x="169" y="108"/>
                  </a:cubicBezTo>
                  <a:cubicBezTo>
                    <a:pt x="169" y="108"/>
                    <a:pt x="169" y="108"/>
                    <a:pt x="169" y="108"/>
                  </a:cubicBezTo>
                  <a:cubicBezTo>
                    <a:pt x="169" y="108"/>
                    <a:pt x="169" y="108"/>
                    <a:pt x="168" y="107"/>
                  </a:cubicBezTo>
                  <a:cubicBezTo>
                    <a:pt x="168" y="107"/>
                    <a:pt x="168" y="107"/>
                    <a:pt x="168" y="107"/>
                  </a:cubicBezTo>
                  <a:cubicBezTo>
                    <a:pt x="168" y="107"/>
                    <a:pt x="169" y="107"/>
                    <a:pt x="169" y="107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9" y="107"/>
                    <a:pt x="168" y="107"/>
                    <a:pt x="169" y="107"/>
                  </a:cubicBezTo>
                  <a:cubicBezTo>
                    <a:pt x="169" y="106"/>
                    <a:pt x="169" y="106"/>
                    <a:pt x="169" y="106"/>
                  </a:cubicBezTo>
                  <a:cubicBezTo>
                    <a:pt x="169" y="106"/>
                    <a:pt x="169" y="107"/>
                    <a:pt x="169" y="107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9" y="106"/>
                    <a:pt x="169" y="106"/>
                    <a:pt x="169" y="106"/>
                  </a:cubicBezTo>
                  <a:cubicBezTo>
                    <a:pt x="169" y="106"/>
                    <a:pt x="168" y="105"/>
                    <a:pt x="168" y="105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68" y="105"/>
                    <a:pt x="168" y="105"/>
                    <a:pt x="168" y="104"/>
                  </a:cubicBezTo>
                  <a:cubicBezTo>
                    <a:pt x="168" y="104"/>
                    <a:pt x="168" y="104"/>
                    <a:pt x="168" y="104"/>
                  </a:cubicBezTo>
                  <a:cubicBezTo>
                    <a:pt x="169" y="104"/>
                    <a:pt x="169" y="105"/>
                    <a:pt x="169" y="105"/>
                  </a:cubicBezTo>
                  <a:cubicBezTo>
                    <a:pt x="169" y="105"/>
                    <a:pt x="169" y="105"/>
                    <a:pt x="170" y="105"/>
                  </a:cubicBezTo>
                  <a:cubicBezTo>
                    <a:pt x="170" y="105"/>
                    <a:pt x="170" y="104"/>
                    <a:pt x="170" y="104"/>
                  </a:cubicBezTo>
                  <a:cubicBezTo>
                    <a:pt x="170" y="104"/>
                    <a:pt x="170" y="104"/>
                    <a:pt x="170" y="104"/>
                  </a:cubicBezTo>
                  <a:cubicBezTo>
                    <a:pt x="170" y="104"/>
                    <a:pt x="170" y="104"/>
                    <a:pt x="170" y="104"/>
                  </a:cubicBezTo>
                  <a:cubicBezTo>
                    <a:pt x="171" y="104"/>
                    <a:pt x="170" y="103"/>
                    <a:pt x="171" y="103"/>
                  </a:cubicBezTo>
                  <a:cubicBezTo>
                    <a:pt x="171" y="103"/>
                    <a:pt x="171" y="103"/>
                    <a:pt x="172" y="103"/>
                  </a:cubicBezTo>
                  <a:cubicBezTo>
                    <a:pt x="172" y="103"/>
                    <a:pt x="172" y="104"/>
                    <a:pt x="172" y="104"/>
                  </a:cubicBezTo>
                  <a:cubicBezTo>
                    <a:pt x="173" y="104"/>
                    <a:pt x="173" y="104"/>
                    <a:pt x="173" y="104"/>
                  </a:cubicBezTo>
                  <a:cubicBezTo>
                    <a:pt x="173" y="104"/>
                    <a:pt x="173" y="104"/>
                    <a:pt x="173" y="104"/>
                  </a:cubicBezTo>
                  <a:cubicBezTo>
                    <a:pt x="174" y="104"/>
                    <a:pt x="174" y="104"/>
                    <a:pt x="174" y="104"/>
                  </a:cubicBezTo>
                  <a:cubicBezTo>
                    <a:pt x="174" y="104"/>
                    <a:pt x="173" y="104"/>
                    <a:pt x="174" y="104"/>
                  </a:cubicBezTo>
                  <a:cubicBezTo>
                    <a:pt x="174" y="104"/>
                    <a:pt x="174" y="104"/>
                    <a:pt x="174" y="104"/>
                  </a:cubicBezTo>
                  <a:cubicBezTo>
                    <a:pt x="174" y="104"/>
                    <a:pt x="174" y="104"/>
                    <a:pt x="175" y="104"/>
                  </a:cubicBezTo>
                  <a:cubicBezTo>
                    <a:pt x="175" y="104"/>
                    <a:pt x="175" y="103"/>
                    <a:pt x="175" y="103"/>
                  </a:cubicBezTo>
                  <a:cubicBezTo>
                    <a:pt x="175" y="103"/>
                    <a:pt x="176" y="103"/>
                    <a:pt x="176" y="103"/>
                  </a:cubicBezTo>
                  <a:cubicBezTo>
                    <a:pt x="176" y="103"/>
                    <a:pt x="176" y="103"/>
                    <a:pt x="176" y="103"/>
                  </a:cubicBezTo>
                  <a:cubicBezTo>
                    <a:pt x="177" y="103"/>
                    <a:pt x="177" y="103"/>
                    <a:pt x="177" y="103"/>
                  </a:cubicBezTo>
                  <a:cubicBezTo>
                    <a:pt x="177" y="103"/>
                    <a:pt x="177" y="104"/>
                    <a:pt x="177" y="104"/>
                  </a:cubicBezTo>
                  <a:cubicBezTo>
                    <a:pt x="177" y="104"/>
                    <a:pt x="178" y="104"/>
                    <a:pt x="178" y="104"/>
                  </a:cubicBezTo>
                  <a:cubicBezTo>
                    <a:pt x="178" y="104"/>
                    <a:pt x="177" y="104"/>
                    <a:pt x="177" y="104"/>
                  </a:cubicBezTo>
                  <a:cubicBezTo>
                    <a:pt x="177" y="104"/>
                    <a:pt x="177" y="104"/>
                    <a:pt x="177" y="104"/>
                  </a:cubicBezTo>
                  <a:cubicBezTo>
                    <a:pt x="177" y="104"/>
                    <a:pt x="177" y="104"/>
                    <a:pt x="177" y="104"/>
                  </a:cubicBezTo>
                  <a:cubicBezTo>
                    <a:pt x="177" y="104"/>
                    <a:pt x="176" y="105"/>
                    <a:pt x="176" y="105"/>
                  </a:cubicBezTo>
                  <a:cubicBezTo>
                    <a:pt x="176" y="105"/>
                    <a:pt x="175" y="105"/>
                    <a:pt x="175" y="10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4"/>
                    <a:pt x="175" y="105"/>
                    <a:pt x="175" y="105"/>
                  </a:cubicBezTo>
                  <a:cubicBezTo>
                    <a:pt x="175" y="105"/>
                    <a:pt x="175" y="105"/>
                    <a:pt x="174" y="105"/>
                  </a:cubicBezTo>
                  <a:cubicBezTo>
                    <a:pt x="174" y="105"/>
                    <a:pt x="174" y="104"/>
                    <a:pt x="174" y="105"/>
                  </a:cubicBezTo>
                  <a:cubicBezTo>
                    <a:pt x="174" y="105"/>
                    <a:pt x="174" y="104"/>
                    <a:pt x="173" y="105"/>
                  </a:cubicBezTo>
                  <a:cubicBezTo>
                    <a:pt x="173" y="105"/>
                    <a:pt x="173" y="105"/>
                    <a:pt x="173" y="105"/>
                  </a:cubicBezTo>
                  <a:cubicBezTo>
                    <a:pt x="173" y="105"/>
                    <a:pt x="173" y="105"/>
                    <a:pt x="173" y="105"/>
                  </a:cubicBezTo>
                  <a:cubicBezTo>
                    <a:pt x="173" y="105"/>
                    <a:pt x="173" y="105"/>
                    <a:pt x="173" y="105"/>
                  </a:cubicBezTo>
                  <a:cubicBezTo>
                    <a:pt x="173" y="106"/>
                    <a:pt x="173" y="106"/>
                    <a:pt x="173" y="106"/>
                  </a:cubicBezTo>
                  <a:cubicBezTo>
                    <a:pt x="173" y="106"/>
                    <a:pt x="173" y="106"/>
                    <a:pt x="173" y="106"/>
                  </a:cubicBezTo>
                  <a:cubicBezTo>
                    <a:pt x="173" y="106"/>
                    <a:pt x="173" y="106"/>
                    <a:pt x="174" y="106"/>
                  </a:cubicBezTo>
                  <a:cubicBezTo>
                    <a:pt x="174" y="106"/>
                    <a:pt x="174" y="106"/>
                    <a:pt x="174" y="106"/>
                  </a:cubicBezTo>
                  <a:cubicBezTo>
                    <a:pt x="174" y="106"/>
                    <a:pt x="174" y="106"/>
                    <a:pt x="174" y="106"/>
                  </a:cubicBezTo>
                  <a:cubicBezTo>
                    <a:pt x="174" y="106"/>
                    <a:pt x="174" y="106"/>
                    <a:pt x="174" y="107"/>
                  </a:cubicBezTo>
                  <a:cubicBezTo>
                    <a:pt x="174" y="107"/>
                    <a:pt x="174" y="107"/>
                    <a:pt x="174" y="107"/>
                  </a:cubicBezTo>
                  <a:cubicBezTo>
                    <a:pt x="174" y="107"/>
                    <a:pt x="174" y="107"/>
                    <a:pt x="174" y="107"/>
                  </a:cubicBezTo>
                  <a:cubicBezTo>
                    <a:pt x="174" y="107"/>
                    <a:pt x="174" y="108"/>
                    <a:pt x="174" y="108"/>
                  </a:cubicBezTo>
                  <a:cubicBezTo>
                    <a:pt x="174" y="108"/>
                    <a:pt x="174" y="108"/>
                    <a:pt x="174" y="108"/>
                  </a:cubicBezTo>
                  <a:cubicBezTo>
                    <a:pt x="174" y="108"/>
                    <a:pt x="174" y="108"/>
                    <a:pt x="174" y="108"/>
                  </a:cubicBezTo>
                  <a:cubicBezTo>
                    <a:pt x="174" y="108"/>
                    <a:pt x="174" y="108"/>
                    <a:pt x="174" y="108"/>
                  </a:cubicBezTo>
                  <a:cubicBezTo>
                    <a:pt x="173" y="108"/>
                    <a:pt x="173" y="108"/>
                    <a:pt x="173" y="108"/>
                  </a:cubicBezTo>
                  <a:cubicBezTo>
                    <a:pt x="173" y="108"/>
                    <a:pt x="173" y="108"/>
                    <a:pt x="173" y="108"/>
                  </a:cubicBezTo>
                  <a:cubicBezTo>
                    <a:pt x="173" y="109"/>
                    <a:pt x="173" y="109"/>
                    <a:pt x="174" y="109"/>
                  </a:cubicBezTo>
                  <a:cubicBezTo>
                    <a:pt x="174" y="108"/>
                    <a:pt x="174" y="109"/>
                    <a:pt x="174" y="109"/>
                  </a:cubicBezTo>
                  <a:cubicBezTo>
                    <a:pt x="174" y="109"/>
                    <a:pt x="174" y="109"/>
                    <a:pt x="174" y="109"/>
                  </a:cubicBezTo>
                  <a:cubicBezTo>
                    <a:pt x="174" y="109"/>
                    <a:pt x="175" y="109"/>
                    <a:pt x="175" y="109"/>
                  </a:cubicBezTo>
                  <a:cubicBezTo>
                    <a:pt x="175" y="109"/>
                    <a:pt x="175" y="109"/>
                    <a:pt x="174" y="109"/>
                  </a:cubicBezTo>
                  <a:cubicBezTo>
                    <a:pt x="174" y="109"/>
                    <a:pt x="174" y="110"/>
                    <a:pt x="174" y="110"/>
                  </a:cubicBezTo>
                  <a:cubicBezTo>
                    <a:pt x="174" y="110"/>
                    <a:pt x="175" y="110"/>
                    <a:pt x="175" y="110"/>
                  </a:cubicBezTo>
                  <a:cubicBezTo>
                    <a:pt x="175" y="110"/>
                    <a:pt x="175" y="111"/>
                    <a:pt x="175" y="111"/>
                  </a:cubicBezTo>
                  <a:cubicBezTo>
                    <a:pt x="175" y="111"/>
                    <a:pt x="175" y="111"/>
                    <a:pt x="175" y="111"/>
                  </a:cubicBezTo>
                  <a:cubicBezTo>
                    <a:pt x="175" y="111"/>
                    <a:pt x="175" y="111"/>
                    <a:pt x="175" y="111"/>
                  </a:cubicBezTo>
                  <a:cubicBezTo>
                    <a:pt x="175" y="111"/>
                    <a:pt x="176" y="111"/>
                    <a:pt x="176" y="111"/>
                  </a:cubicBezTo>
                  <a:cubicBezTo>
                    <a:pt x="176" y="111"/>
                    <a:pt x="175" y="111"/>
                    <a:pt x="175" y="111"/>
                  </a:cubicBezTo>
                  <a:cubicBezTo>
                    <a:pt x="175" y="111"/>
                    <a:pt x="175" y="111"/>
                    <a:pt x="175" y="111"/>
                  </a:cubicBezTo>
                  <a:cubicBezTo>
                    <a:pt x="175" y="111"/>
                    <a:pt x="175" y="112"/>
                    <a:pt x="176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6" y="111"/>
                    <a:pt x="177" y="111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8" y="112"/>
                    <a:pt x="178" y="112"/>
                  </a:cubicBezTo>
                  <a:cubicBezTo>
                    <a:pt x="178" y="112"/>
                    <a:pt x="179" y="112"/>
                    <a:pt x="179" y="112"/>
                  </a:cubicBezTo>
                  <a:cubicBezTo>
                    <a:pt x="179" y="112"/>
                    <a:pt x="179" y="111"/>
                    <a:pt x="179" y="111"/>
                  </a:cubicBezTo>
                  <a:cubicBezTo>
                    <a:pt x="179" y="111"/>
                    <a:pt x="180" y="111"/>
                    <a:pt x="180" y="111"/>
                  </a:cubicBezTo>
                  <a:cubicBezTo>
                    <a:pt x="180" y="111"/>
                    <a:pt x="181" y="112"/>
                    <a:pt x="181" y="112"/>
                  </a:cubicBezTo>
                  <a:cubicBezTo>
                    <a:pt x="181" y="112"/>
                    <a:pt x="181" y="112"/>
                    <a:pt x="181" y="112"/>
                  </a:cubicBezTo>
                  <a:cubicBezTo>
                    <a:pt x="181" y="112"/>
                    <a:pt x="182" y="112"/>
                    <a:pt x="182" y="112"/>
                  </a:cubicBezTo>
                  <a:cubicBezTo>
                    <a:pt x="182" y="112"/>
                    <a:pt x="183" y="112"/>
                    <a:pt x="183" y="112"/>
                  </a:cubicBezTo>
                  <a:cubicBezTo>
                    <a:pt x="183" y="112"/>
                    <a:pt x="183" y="112"/>
                    <a:pt x="184" y="112"/>
                  </a:cubicBezTo>
                  <a:cubicBezTo>
                    <a:pt x="184" y="111"/>
                    <a:pt x="184" y="111"/>
                    <a:pt x="184" y="111"/>
                  </a:cubicBezTo>
                  <a:cubicBezTo>
                    <a:pt x="184" y="111"/>
                    <a:pt x="185" y="111"/>
                    <a:pt x="185" y="111"/>
                  </a:cubicBezTo>
                  <a:cubicBezTo>
                    <a:pt x="185" y="111"/>
                    <a:pt x="185" y="112"/>
                    <a:pt x="185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6" y="111"/>
                    <a:pt x="186" y="112"/>
                    <a:pt x="186" y="112"/>
                  </a:cubicBezTo>
                  <a:cubicBezTo>
                    <a:pt x="186" y="112"/>
                    <a:pt x="186" y="112"/>
                    <a:pt x="186" y="112"/>
                  </a:cubicBezTo>
                  <a:cubicBezTo>
                    <a:pt x="186" y="112"/>
                    <a:pt x="186" y="112"/>
                    <a:pt x="186" y="112"/>
                  </a:cubicBezTo>
                  <a:cubicBezTo>
                    <a:pt x="186" y="113"/>
                    <a:pt x="186" y="113"/>
                    <a:pt x="186" y="113"/>
                  </a:cubicBezTo>
                  <a:cubicBezTo>
                    <a:pt x="186" y="113"/>
                    <a:pt x="186" y="113"/>
                    <a:pt x="186" y="114"/>
                  </a:cubicBezTo>
                  <a:cubicBezTo>
                    <a:pt x="186" y="114"/>
                    <a:pt x="186" y="114"/>
                    <a:pt x="186" y="114"/>
                  </a:cubicBezTo>
                  <a:cubicBezTo>
                    <a:pt x="186" y="114"/>
                    <a:pt x="186" y="115"/>
                    <a:pt x="186" y="115"/>
                  </a:cubicBezTo>
                  <a:cubicBezTo>
                    <a:pt x="186" y="115"/>
                    <a:pt x="186" y="115"/>
                    <a:pt x="186" y="115"/>
                  </a:cubicBezTo>
                  <a:cubicBezTo>
                    <a:pt x="186" y="115"/>
                    <a:pt x="186" y="116"/>
                    <a:pt x="186" y="116"/>
                  </a:cubicBezTo>
                  <a:cubicBezTo>
                    <a:pt x="186" y="116"/>
                    <a:pt x="185" y="117"/>
                    <a:pt x="185" y="117"/>
                  </a:cubicBezTo>
                  <a:cubicBezTo>
                    <a:pt x="185" y="118"/>
                    <a:pt x="185" y="119"/>
                    <a:pt x="185" y="119"/>
                  </a:cubicBezTo>
                  <a:cubicBezTo>
                    <a:pt x="185" y="119"/>
                    <a:pt x="184" y="120"/>
                    <a:pt x="184" y="120"/>
                  </a:cubicBezTo>
                  <a:cubicBezTo>
                    <a:pt x="184" y="121"/>
                    <a:pt x="184" y="121"/>
                    <a:pt x="184" y="122"/>
                  </a:cubicBezTo>
                  <a:cubicBezTo>
                    <a:pt x="183" y="122"/>
                    <a:pt x="183" y="122"/>
                    <a:pt x="182" y="122"/>
                  </a:cubicBezTo>
                  <a:cubicBezTo>
                    <a:pt x="182" y="122"/>
                    <a:pt x="181" y="122"/>
                    <a:pt x="181" y="122"/>
                  </a:cubicBezTo>
                  <a:cubicBezTo>
                    <a:pt x="181" y="122"/>
                    <a:pt x="181" y="121"/>
                    <a:pt x="181" y="121"/>
                  </a:cubicBezTo>
                  <a:cubicBezTo>
                    <a:pt x="180" y="121"/>
                    <a:pt x="180" y="121"/>
                    <a:pt x="180" y="121"/>
                  </a:cubicBezTo>
                  <a:cubicBezTo>
                    <a:pt x="180" y="121"/>
                    <a:pt x="179" y="121"/>
                    <a:pt x="179" y="121"/>
                  </a:cubicBezTo>
                  <a:cubicBezTo>
                    <a:pt x="179" y="121"/>
                    <a:pt x="179" y="121"/>
                    <a:pt x="179" y="121"/>
                  </a:cubicBezTo>
                  <a:cubicBezTo>
                    <a:pt x="179" y="121"/>
                    <a:pt x="178" y="121"/>
                    <a:pt x="178" y="122"/>
                  </a:cubicBezTo>
                  <a:cubicBezTo>
                    <a:pt x="178" y="122"/>
                    <a:pt x="178" y="122"/>
                    <a:pt x="178" y="122"/>
                  </a:cubicBezTo>
                  <a:cubicBezTo>
                    <a:pt x="178" y="122"/>
                    <a:pt x="177" y="122"/>
                    <a:pt x="177" y="122"/>
                  </a:cubicBezTo>
                  <a:cubicBezTo>
                    <a:pt x="177" y="122"/>
                    <a:pt x="177" y="122"/>
                    <a:pt x="176" y="122"/>
                  </a:cubicBezTo>
                  <a:cubicBezTo>
                    <a:pt x="176" y="122"/>
                    <a:pt x="176" y="122"/>
                    <a:pt x="175" y="122"/>
                  </a:cubicBezTo>
                  <a:cubicBezTo>
                    <a:pt x="175" y="122"/>
                    <a:pt x="175" y="122"/>
                    <a:pt x="175" y="122"/>
                  </a:cubicBezTo>
                  <a:cubicBezTo>
                    <a:pt x="175" y="122"/>
                    <a:pt x="174" y="121"/>
                    <a:pt x="174" y="121"/>
                  </a:cubicBezTo>
                  <a:cubicBezTo>
                    <a:pt x="174" y="121"/>
                    <a:pt x="173" y="121"/>
                    <a:pt x="173" y="121"/>
                  </a:cubicBezTo>
                  <a:cubicBezTo>
                    <a:pt x="173" y="121"/>
                    <a:pt x="172" y="121"/>
                    <a:pt x="172" y="121"/>
                  </a:cubicBezTo>
                  <a:cubicBezTo>
                    <a:pt x="172" y="121"/>
                    <a:pt x="172" y="121"/>
                    <a:pt x="172" y="121"/>
                  </a:cubicBezTo>
                  <a:cubicBezTo>
                    <a:pt x="172" y="121"/>
                    <a:pt x="172" y="120"/>
                    <a:pt x="171" y="120"/>
                  </a:cubicBezTo>
                  <a:cubicBezTo>
                    <a:pt x="171" y="120"/>
                    <a:pt x="170" y="120"/>
                    <a:pt x="170" y="120"/>
                  </a:cubicBezTo>
                  <a:cubicBezTo>
                    <a:pt x="170" y="120"/>
                    <a:pt x="170" y="120"/>
                    <a:pt x="170" y="120"/>
                  </a:cubicBezTo>
                  <a:cubicBezTo>
                    <a:pt x="169" y="120"/>
                    <a:pt x="169" y="120"/>
                    <a:pt x="169" y="120"/>
                  </a:cubicBezTo>
                  <a:cubicBezTo>
                    <a:pt x="169" y="119"/>
                    <a:pt x="169" y="119"/>
                    <a:pt x="169" y="119"/>
                  </a:cubicBezTo>
                  <a:cubicBezTo>
                    <a:pt x="169" y="119"/>
                    <a:pt x="168" y="119"/>
                    <a:pt x="168" y="119"/>
                  </a:cubicBezTo>
                  <a:cubicBezTo>
                    <a:pt x="168" y="119"/>
                    <a:pt x="167" y="118"/>
                    <a:pt x="167" y="118"/>
                  </a:cubicBezTo>
                  <a:cubicBezTo>
                    <a:pt x="167" y="119"/>
                    <a:pt x="167" y="119"/>
                    <a:pt x="166" y="119"/>
                  </a:cubicBezTo>
                  <a:cubicBezTo>
                    <a:pt x="166" y="119"/>
                    <a:pt x="166" y="119"/>
                    <a:pt x="165" y="119"/>
                  </a:cubicBezTo>
                  <a:cubicBezTo>
                    <a:pt x="165" y="120"/>
                    <a:pt x="165" y="120"/>
                    <a:pt x="165" y="120"/>
                  </a:cubicBezTo>
                  <a:cubicBezTo>
                    <a:pt x="165" y="121"/>
                    <a:pt x="165" y="121"/>
                    <a:pt x="165" y="122"/>
                  </a:cubicBezTo>
                  <a:cubicBezTo>
                    <a:pt x="165" y="122"/>
                    <a:pt x="165" y="122"/>
                    <a:pt x="165" y="122"/>
                  </a:cubicBezTo>
                  <a:cubicBezTo>
                    <a:pt x="165" y="123"/>
                    <a:pt x="164" y="123"/>
                    <a:pt x="164" y="123"/>
                  </a:cubicBezTo>
                  <a:cubicBezTo>
                    <a:pt x="163" y="123"/>
                    <a:pt x="163" y="123"/>
                    <a:pt x="163" y="123"/>
                  </a:cubicBezTo>
                  <a:cubicBezTo>
                    <a:pt x="162" y="122"/>
                    <a:pt x="162" y="122"/>
                    <a:pt x="162" y="122"/>
                  </a:cubicBezTo>
                  <a:cubicBezTo>
                    <a:pt x="161" y="122"/>
                    <a:pt x="161" y="122"/>
                    <a:pt x="161" y="122"/>
                  </a:cubicBezTo>
                  <a:cubicBezTo>
                    <a:pt x="160" y="122"/>
                    <a:pt x="160" y="122"/>
                    <a:pt x="160" y="122"/>
                  </a:cubicBezTo>
                  <a:cubicBezTo>
                    <a:pt x="159" y="122"/>
                    <a:pt x="159" y="121"/>
                    <a:pt x="159" y="121"/>
                  </a:cubicBezTo>
                  <a:cubicBezTo>
                    <a:pt x="159" y="120"/>
                    <a:pt x="159" y="120"/>
                    <a:pt x="158" y="120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57" y="119"/>
                    <a:pt x="157" y="119"/>
                    <a:pt x="157" y="119"/>
                  </a:cubicBezTo>
                  <a:cubicBezTo>
                    <a:pt x="156" y="119"/>
                    <a:pt x="156" y="119"/>
                    <a:pt x="156" y="119"/>
                  </a:cubicBezTo>
                  <a:cubicBezTo>
                    <a:pt x="156" y="119"/>
                    <a:pt x="156" y="118"/>
                    <a:pt x="156" y="119"/>
                  </a:cubicBezTo>
                  <a:cubicBezTo>
                    <a:pt x="156" y="119"/>
                    <a:pt x="156" y="119"/>
                    <a:pt x="155" y="119"/>
                  </a:cubicBezTo>
                  <a:cubicBezTo>
                    <a:pt x="155" y="119"/>
                    <a:pt x="155" y="119"/>
                    <a:pt x="154" y="119"/>
                  </a:cubicBezTo>
                  <a:cubicBezTo>
                    <a:pt x="154" y="118"/>
                    <a:pt x="154" y="118"/>
                    <a:pt x="154" y="118"/>
                  </a:cubicBezTo>
                  <a:cubicBezTo>
                    <a:pt x="153" y="118"/>
                    <a:pt x="153" y="118"/>
                    <a:pt x="153" y="118"/>
                  </a:cubicBezTo>
                  <a:cubicBezTo>
                    <a:pt x="153" y="118"/>
                    <a:pt x="153" y="117"/>
                    <a:pt x="153" y="117"/>
                  </a:cubicBezTo>
                  <a:cubicBezTo>
                    <a:pt x="153" y="117"/>
                    <a:pt x="153" y="117"/>
                    <a:pt x="153" y="117"/>
                  </a:cubicBezTo>
                  <a:cubicBezTo>
                    <a:pt x="153" y="117"/>
                    <a:pt x="153" y="117"/>
                    <a:pt x="152" y="117"/>
                  </a:cubicBezTo>
                  <a:cubicBezTo>
                    <a:pt x="152" y="117"/>
                    <a:pt x="152" y="117"/>
                    <a:pt x="152" y="117"/>
                  </a:cubicBezTo>
                  <a:cubicBezTo>
                    <a:pt x="153" y="117"/>
                    <a:pt x="153" y="117"/>
                    <a:pt x="153" y="117"/>
                  </a:cubicBezTo>
                  <a:cubicBezTo>
                    <a:pt x="153" y="117"/>
                    <a:pt x="152" y="117"/>
                    <a:pt x="152" y="117"/>
                  </a:cubicBezTo>
                  <a:cubicBezTo>
                    <a:pt x="152" y="117"/>
                    <a:pt x="152" y="117"/>
                    <a:pt x="152" y="117"/>
                  </a:cubicBezTo>
                  <a:cubicBezTo>
                    <a:pt x="152" y="117"/>
                    <a:pt x="152" y="117"/>
                    <a:pt x="152" y="117"/>
                  </a:cubicBezTo>
                  <a:cubicBezTo>
                    <a:pt x="152" y="117"/>
                    <a:pt x="152" y="117"/>
                    <a:pt x="152" y="117"/>
                  </a:cubicBezTo>
                  <a:cubicBezTo>
                    <a:pt x="151" y="116"/>
                    <a:pt x="152" y="116"/>
                    <a:pt x="152" y="116"/>
                  </a:cubicBezTo>
                  <a:cubicBezTo>
                    <a:pt x="152" y="116"/>
                    <a:pt x="152" y="115"/>
                    <a:pt x="153" y="115"/>
                  </a:cubicBezTo>
                  <a:cubicBezTo>
                    <a:pt x="153" y="115"/>
                    <a:pt x="153" y="114"/>
                    <a:pt x="153" y="114"/>
                  </a:cubicBezTo>
                  <a:cubicBezTo>
                    <a:pt x="153" y="114"/>
                    <a:pt x="153" y="114"/>
                    <a:pt x="153" y="114"/>
                  </a:cubicBezTo>
                  <a:cubicBezTo>
                    <a:pt x="153" y="113"/>
                    <a:pt x="153" y="113"/>
                    <a:pt x="152" y="113"/>
                  </a:cubicBezTo>
                  <a:cubicBezTo>
                    <a:pt x="152" y="113"/>
                    <a:pt x="152" y="113"/>
                    <a:pt x="152" y="112"/>
                  </a:cubicBezTo>
                  <a:cubicBezTo>
                    <a:pt x="152" y="112"/>
                    <a:pt x="152" y="112"/>
                    <a:pt x="153" y="112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53" y="111"/>
                    <a:pt x="153" y="111"/>
                    <a:pt x="152" y="111"/>
                  </a:cubicBezTo>
                  <a:cubicBezTo>
                    <a:pt x="152" y="111"/>
                    <a:pt x="152" y="111"/>
                    <a:pt x="152" y="111"/>
                  </a:cubicBezTo>
                  <a:cubicBezTo>
                    <a:pt x="152" y="111"/>
                    <a:pt x="152" y="111"/>
                    <a:pt x="152" y="111"/>
                  </a:cubicBezTo>
                  <a:cubicBezTo>
                    <a:pt x="152" y="111"/>
                    <a:pt x="152" y="110"/>
                    <a:pt x="151" y="110"/>
                  </a:cubicBezTo>
                  <a:cubicBezTo>
                    <a:pt x="151" y="110"/>
                    <a:pt x="151" y="110"/>
                    <a:pt x="151" y="110"/>
                  </a:cubicBezTo>
                  <a:cubicBezTo>
                    <a:pt x="151" y="110"/>
                    <a:pt x="150" y="111"/>
                    <a:pt x="150" y="111"/>
                  </a:cubicBezTo>
                  <a:cubicBezTo>
                    <a:pt x="150" y="111"/>
                    <a:pt x="149" y="111"/>
                    <a:pt x="149" y="111"/>
                  </a:cubicBezTo>
                  <a:cubicBezTo>
                    <a:pt x="149" y="111"/>
                    <a:pt x="149" y="111"/>
                    <a:pt x="148" y="111"/>
                  </a:cubicBezTo>
                  <a:cubicBezTo>
                    <a:pt x="148" y="111"/>
                    <a:pt x="148" y="111"/>
                    <a:pt x="148" y="111"/>
                  </a:cubicBezTo>
                  <a:cubicBezTo>
                    <a:pt x="148" y="111"/>
                    <a:pt x="147" y="111"/>
                    <a:pt x="147" y="111"/>
                  </a:cubicBezTo>
                  <a:cubicBezTo>
                    <a:pt x="147" y="111"/>
                    <a:pt x="147" y="111"/>
                    <a:pt x="147" y="111"/>
                  </a:cubicBezTo>
                  <a:cubicBezTo>
                    <a:pt x="147" y="111"/>
                    <a:pt x="146" y="111"/>
                    <a:pt x="146" y="111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146" y="111"/>
                    <a:pt x="145" y="111"/>
                    <a:pt x="145" y="111"/>
                  </a:cubicBezTo>
                  <a:cubicBezTo>
                    <a:pt x="145" y="111"/>
                    <a:pt x="145" y="111"/>
                    <a:pt x="145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4" y="111"/>
                    <a:pt x="143" y="111"/>
                    <a:pt x="143" y="111"/>
                  </a:cubicBezTo>
                  <a:cubicBezTo>
                    <a:pt x="143" y="111"/>
                    <a:pt x="142" y="111"/>
                    <a:pt x="142" y="111"/>
                  </a:cubicBezTo>
                  <a:cubicBezTo>
                    <a:pt x="142" y="111"/>
                    <a:pt x="142" y="112"/>
                    <a:pt x="142" y="112"/>
                  </a:cubicBezTo>
                  <a:cubicBezTo>
                    <a:pt x="141" y="112"/>
                    <a:pt x="141" y="112"/>
                    <a:pt x="140" y="112"/>
                  </a:cubicBezTo>
                  <a:cubicBezTo>
                    <a:pt x="140" y="112"/>
                    <a:pt x="140" y="112"/>
                    <a:pt x="140" y="112"/>
                  </a:cubicBezTo>
                  <a:cubicBezTo>
                    <a:pt x="140" y="112"/>
                    <a:pt x="139" y="112"/>
                    <a:pt x="139" y="112"/>
                  </a:cubicBezTo>
                  <a:cubicBezTo>
                    <a:pt x="139" y="112"/>
                    <a:pt x="139" y="112"/>
                    <a:pt x="139" y="113"/>
                  </a:cubicBezTo>
                  <a:cubicBezTo>
                    <a:pt x="138" y="113"/>
                    <a:pt x="138" y="113"/>
                    <a:pt x="138" y="113"/>
                  </a:cubicBezTo>
                  <a:cubicBezTo>
                    <a:pt x="138" y="113"/>
                    <a:pt x="138" y="113"/>
                    <a:pt x="138" y="113"/>
                  </a:cubicBezTo>
                  <a:cubicBezTo>
                    <a:pt x="138" y="113"/>
                    <a:pt x="137" y="113"/>
                    <a:pt x="137" y="113"/>
                  </a:cubicBezTo>
                  <a:cubicBezTo>
                    <a:pt x="137" y="113"/>
                    <a:pt x="137" y="113"/>
                    <a:pt x="137" y="113"/>
                  </a:cubicBezTo>
                  <a:cubicBezTo>
                    <a:pt x="136" y="114"/>
                    <a:pt x="136" y="114"/>
                    <a:pt x="136" y="114"/>
                  </a:cubicBezTo>
                  <a:cubicBezTo>
                    <a:pt x="136" y="114"/>
                    <a:pt x="136" y="114"/>
                    <a:pt x="136" y="114"/>
                  </a:cubicBezTo>
                  <a:cubicBezTo>
                    <a:pt x="136" y="114"/>
                    <a:pt x="135" y="114"/>
                    <a:pt x="135" y="114"/>
                  </a:cubicBezTo>
                  <a:cubicBezTo>
                    <a:pt x="135" y="114"/>
                    <a:pt x="134" y="114"/>
                    <a:pt x="134" y="114"/>
                  </a:cubicBezTo>
                  <a:cubicBezTo>
                    <a:pt x="134" y="114"/>
                    <a:pt x="134" y="114"/>
                    <a:pt x="134" y="114"/>
                  </a:cubicBezTo>
                  <a:cubicBezTo>
                    <a:pt x="133" y="114"/>
                    <a:pt x="132" y="114"/>
                    <a:pt x="132" y="114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32" y="114"/>
                    <a:pt x="131" y="113"/>
                    <a:pt x="131" y="113"/>
                  </a:cubicBezTo>
                  <a:cubicBezTo>
                    <a:pt x="131" y="113"/>
                    <a:pt x="131" y="113"/>
                    <a:pt x="131" y="113"/>
                  </a:cubicBezTo>
                  <a:cubicBezTo>
                    <a:pt x="131" y="113"/>
                    <a:pt x="130" y="113"/>
                    <a:pt x="130" y="113"/>
                  </a:cubicBezTo>
                  <a:cubicBezTo>
                    <a:pt x="130" y="113"/>
                    <a:pt x="130" y="113"/>
                    <a:pt x="130" y="114"/>
                  </a:cubicBezTo>
                  <a:cubicBezTo>
                    <a:pt x="130" y="114"/>
                    <a:pt x="130" y="115"/>
                    <a:pt x="129" y="116"/>
                  </a:cubicBezTo>
                  <a:cubicBezTo>
                    <a:pt x="129" y="116"/>
                    <a:pt x="128" y="117"/>
                    <a:pt x="128" y="117"/>
                  </a:cubicBezTo>
                  <a:cubicBezTo>
                    <a:pt x="127" y="118"/>
                    <a:pt x="127" y="118"/>
                    <a:pt x="127" y="118"/>
                  </a:cubicBezTo>
                  <a:cubicBezTo>
                    <a:pt x="127" y="118"/>
                    <a:pt x="126" y="119"/>
                    <a:pt x="126" y="119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6" y="120"/>
                    <a:pt x="126" y="120"/>
                    <a:pt x="125" y="121"/>
                  </a:cubicBezTo>
                  <a:cubicBezTo>
                    <a:pt x="125" y="121"/>
                    <a:pt x="125" y="122"/>
                    <a:pt x="125" y="122"/>
                  </a:cubicBezTo>
                  <a:cubicBezTo>
                    <a:pt x="125" y="122"/>
                    <a:pt x="125" y="123"/>
                    <a:pt x="125" y="123"/>
                  </a:cubicBezTo>
                  <a:cubicBezTo>
                    <a:pt x="125" y="123"/>
                    <a:pt x="125" y="125"/>
                    <a:pt x="125" y="125"/>
                  </a:cubicBezTo>
                  <a:cubicBezTo>
                    <a:pt x="125" y="125"/>
                    <a:pt x="124" y="126"/>
                    <a:pt x="124" y="126"/>
                  </a:cubicBezTo>
                  <a:cubicBezTo>
                    <a:pt x="124" y="126"/>
                    <a:pt x="124" y="126"/>
                    <a:pt x="123" y="126"/>
                  </a:cubicBezTo>
                  <a:cubicBezTo>
                    <a:pt x="123" y="127"/>
                    <a:pt x="123" y="127"/>
                    <a:pt x="123" y="127"/>
                  </a:cubicBezTo>
                  <a:cubicBezTo>
                    <a:pt x="123" y="127"/>
                    <a:pt x="122" y="128"/>
                    <a:pt x="122" y="128"/>
                  </a:cubicBezTo>
                  <a:cubicBezTo>
                    <a:pt x="121" y="128"/>
                    <a:pt x="121" y="128"/>
                    <a:pt x="121" y="128"/>
                  </a:cubicBezTo>
                  <a:cubicBezTo>
                    <a:pt x="121" y="129"/>
                    <a:pt x="120" y="129"/>
                    <a:pt x="120" y="130"/>
                  </a:cubicBezTo>
                  <a:cubicBezTo>
                    <a:pt x="120" y="130"/>
                    <a:pt x="120" y="130"/>
                    <a:pt x="120" y="130"/>
                  </a:cubicBezTo>
                  <a:cubicBezTo>
                    <a:pt x="120" y="130"/>
                    <a:pt x="119" y="131"/>
                    <a:pt x="119" y="131"/>
                  </a:cubicBezTo>
                  <a:cubicBezTo>
                    <a:pt x="119" y="131"/>
                    <a:pt x="119" y="132"/>
                    <a:pt x="119" y="132"/>
                  </a:cubicBezTo>
                  <a:cubicBezTo>
                    <a:pt x="118" y="133"/>
                    <a:pt x="119" y="134"/>
                    <a:pt x="118" y="134"/>
                  </a:cubicBezTo>
                  <a:cubicBezTo>
                    <a:pt x="118" y="134"/>
                    <a:pt x="118" y="134"/>
                    <a:pt x="118" y="135"/>
                  </a:cubicBezTo>
                  <a:cubicBezTo>
                    <a:pt x="118" y="135"/>
                    <a:pt x="117" y="135"/>
                    <a:pt x="117" y="136"/>
                  </a:cubicBezTo>
                  <a:cubicBezTo>
                    <a:pt x="117" y="136"/>
                    <a:pt x="117" y="137"/>
                    <a:pt x="117" y="137"/>
                  </a:cubicBezTo>
                  <a:cubicBezTo>
                    <a:pt x="116" y="137"/>
                    <a:pt x="116" y="138"/>
                    <a:pt x="116" y="138"/>
                  </a:cubicBezTo>
                  <a:cubicBezTo>
                    <a:pt x="116" y="139"/>
                    <a:pt x="116" y="138"/>
                    <a:pt x="116" y="139"/>
                  </a:cubicBezTo>
                  <a:cubicBezTo>
                    <a:pt x="116" y="140"/>
                    <a:pt x="115" y="141"/>
                    <a:pt x="115" y="141"/>
                  </a:cubicBezTo>
                  <a:cubicBezTo>
                    <a:pt x="115" y="141"/>
                    <a:pt x="116" y="141"/>
                    <a:pt x="116" y="141"/>
                  </a:cubicBezTo>
                  <a:cubicBezTo>
                    <a:pt x="116" y="141"/>
                    <a:pt x="116" y="141"/>
                    <a:pt x="116" y="141"/>
                  </a:cubicBezTo>
                  <a:cubicBezTo>
                    <a:pt x="116" y="140"/>
                    <a:pt x="116" y="141"/>
                    <a:pt x="116" y="141"/>
                  </a:cubicBezTo>
                  <a:cubicBezTo>
                    <a:pt x="116" y="141"/>
                    <a:pt x="116" y="142"/>
                    <a:pt x="116" y="142"/>
                  </a:cubicBezTo>
                  <a:cubicBezTo>
                    <a:pt x="116" y="141"/>
                    <a:pt x="116" y="141"/>
                    <a:pt x="116" y="141"/>
                  </a:cubicBezTo>
                  <a:cubicBezTo>
                    <a:pt x="116" y="141"/>
                    <a:pt x="116" y="142"/>
                    <a:pt x="116" y="142"/>
                  </a:cubicBezTo>
                  <a:cubicBezTo>
                    <a:pt x="117" y="142"/>
                    <a:pt x="117" y="142"/>
                    <a:pt x="117" y="143"/>
                  </a:cubicBezTo>
                  <a:cubicBezTo>
                    <a:pt x="116" y="143"/>
                    <a:pt x="116" y="143"/>
                    <a:pt x="116" y="143"/>
                  </a:cubicBezTo>
                  <a:cubicBezTo>
                    <a:pt x="116" y="143"/>
                    <a:pt x="116" y="143"/>
                    <a:pt x="116" y="144"/>
                  </a:cubicBezTo>
                  <a:cubicBezTo>
                    <a:pt x="116" y="144"/>
                    <a:pt x="116" y="144"/>
                    <a:pt x="116" y="144"/>
                  </a:cubicBezTo>
                  <a:cubicBezTo>
                    <a:pt x="116" y="144"/>
                    <a:pt x="117" y="144"/>
                    <a:pt x="117" y="145"/>
                  </a:cubicBezTo>
                  <a:cubicBezTo>
                    <a:pt x="117" y="145"/>
                    <a:pt x="117" y="147"/>
                    <a:pt x="117" y="147"/>
                  </a:cubicBezTo>
                  <a:cubicBezTo>
                    <a:pt x="117" y="148"/>
                    <a:pt x="116" y="149"/>
                    <a:pt x="116" y="149"/>
                  </a:cubicBezTo>
                  <a:cubicBezTo>
                    <a:pt x="116" y="149"/>
                    <a:pt x="116" y="150"/>
                    <a:pt x="116" y="151"/>
                  </a:cubicBezTo>
                  <a:cubicBezTo>
                    <a:pt x="116" y="151"/>
                    <a:pt x="116" y="152"/>
                    <a:pt x="115" y="152"/>
                  </a:cubicBezTo>
                  <a:cubicBezTo>
                    <a:pt x="115" y="152"/>
                    <a:pt x="116" y="153"/>
                    <a:pt x="116" y="154"/>
                  </a:cubicBezTo>
                  <a:cubicBezTo>
                    <a:pt x="116" y="154"/>
                    <a:pt x="116" y="155"/>
                    <a:pt x="116" y="155"/>
                  </a:cubicBezTo>
                  <a:cubicBezTo>
                    <a:pt x="116" y="155"/>
                    <a:pt x="116" y="155"/>
                    <a:pt x="116" y="155"/>
                  </a:cubicBezTo>
                  <a:cubicBezTo>
                    <a:pt x="116" y="155"/>
                    <a:pt x="116" y="155"/>
                    <a:pt x="116" y="156"/>
                  </a:cubicBezTo>
                  <a:cubicBezTo>
                    <a:pt x="116" y="156"/>
                    <a:pt x="116" y="158"/>
                    <a:pt x="116" y="158"/>
                  </a:cubicBezTo>
                  <a:cubicBezTo>
                    <a:pt x="116" y="158"/>
                    <a:pt x="116" y="158"/>
                    <a:pt x="117" y="158"/>
                  </a:cubicBezTo>
                  <a:cubicBezTo>
                    <a:pt x="117" y="158"/>
                    <a:pt x="117" y="158"/>
                    <a:pt x="117" y="158"/>
                  </a:cubicBezTo>
                  <a:cubicBezTo>
                    <a:pt x="117" y="158"/>
                    <a:pt x="118" y="159"/>
                    <a:pt x="118" y="159"/>
                  </a:cubicBezTo>
                  <a:cubicBezTo>
                    <a:pt x="118" y="159"/>
                    <a:pt x="118" y="159"/>
                    <a:pt x="118" y="160"/>
                  </a:cubicBezTo>
                  <a:cubicBezTo>
                    <a:pt x="118" y="160"/>
                    <a:pt x="118" y="160"/>
                    <a:pt x="118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160"/>
                    <a:pt x="119" y="161"/>
                    <a:pt x="119" y="161"/>
                  </a:cubicBezTo>
                  <a:cubicBezTo>
                    <a:pt x="119" y="161"/>
                    <a:pt x="119" y="161"/>
                    <a:pt x="120" y="161"/>
                  </a:cubicBezTo>
                  <a:cubicBezTo>
                    <a:pt x="120" y="161"/>
                    <a:pt x="120" y="162"/>
                    <a:pt x="120" y="162"/>
                  </a:cubicBezTo>
                  <a:cubicBezTo>
                    <a:pt x="120" y="163"/>
                    <a:pt x="121" y="163"/>
                    <a:pt x="121" y="163"/>
                  </a:cubicBezTo>
                  <a:cubicBezTo>
                    <a:pt x="121" y="164"/>
                    <a:pt x="121" y="164"/>
                    <a:pt x="121" y="164"/>
                  </a:cubicBezTo>
                  <a:cubicBezTo>
                    <a:pt x="121" y="165"/>
                    <a:pt x="121" y="165"/>
                    <a:pt x="121" y="165"/>
                  </a:cubicBezTo>
                  <a:cubicBezTo>
                    <a:pt x="121" y="165"/>
                    <a:pt x="122" y="166"/>
                    <a:pt x="122" y="166"/>
                  </a:cubicBezTo>
                  <a:cubicBezTo>
                    <a:pt x="122" y="166"/>
                    <a:pt x="122" y="166"/>
                    <a:pt x="122" y="167"/>
                  </a:cubicBezTo>
                  <a:cubicBezTo>
                    <a:pt x="123" y="167"/>
                    <a:pt x="123" y="167"/>
                    <a:pt x="123" y="168"/>
                  </a:cubicBezTo>
                  <a:cubicBezTo>
                    <a:pt x="124" y="168"/>
                    <a:pt x="124" y="168"/>
                    <a:pt x="124" y="168"/>
                  </a:cubicBezTo>
                  <a:cubicBezTo>
                    <a:pt x="124" y="168"/>
                    <a:pt x="124" y="168"/>
                    <a:pt x="125" y="169"/>
                  </a:cubicBezTo>
                  <a:cubicBezTo>
                    <a:pt x="125" y="169"/>
                    <a:pt x="125" y="169"/>
                    <a:pt x="125" y="170"/>
                  </a:cubicBezTo>
                  <a:cubicBezTo>
                    <a:pt x="126" y="170"/>
                    <a:pt x="126" y="170"/>
                    <a:pt x="126" y="170"/>
                  </a:cubicBezTo>
                  <a:cubicBezTo>
                    <a:pt x="126" y="170"/>
                    <a:pt x="127" y="171"/>
                    <a:pt x="127" y="171"/>
                  </a:cubicBezTo>
                  <a:cubicBezTo>
                    <a:pt x="127" y="171"/>
                    <a:pt x="128" y="172"/>
                    <a:pt x="128" y="172"/>
                  </a:cubicBezTo>
                  <a:cubicBezTo>
                    <a:pt x="129" y="172"/>
                    <a:pt x="130" y="171"/>
                    <a:pt x="130" y="171"/>
                  </a:cubicBezTo>
                  <a:cubicBezTo>
                    <a:pt x="130" y="171"/>
                    <a:pt x="132" y="170"/>
                    <a:pt x="132" y="170"/>
                  </a:cubicBezTo>
                  <a:cubicBezTo>
                    <a:pt x="132" y="170"/>
                    <a:pt x="133" y="170"/>
                    <a:pt x="134" y="170"/>
                  </a:cubicBezTo>
                  <a:cubicBezTo>
                    <a:pt x="134" y="170"/>
                    <a:pt x="135" y="171"/>
                    <a:pt x="135" y="171"/>
                  </a:cubicBezTo>
                  <a:cubicBezTo>
                    <a:pt x="136" y="171"/>
                    <a:pt x="136" y="171"/>
                    <a:pt x="136" y="171"/>
                  </a:cubicBezTo>
                  <a:cubicBezTo>
                    <a:pt x="136" y="171"/>
                    <a:pt x="137" y="170"/>
                    <a:pt x="137" y="170"/>
                  </a:cubicBezTo>
                  <a:cubicBezTo>
                    <a:pt x="137" y="170"/>
                    <a:pt x="138" y="170"/>
                    <a:pt x="138" y="170"/>
                  </a:cubicBezTo>
                  <a:cubicBezTo>
                    <a:pt x="138" y="170"/>
                    <a:pt x="138" y="170"/>
                    <a:pt x="138" y="169"/>
                  </a:cubicBezTo>
                  <a:cubicBezTo>
                    <a:pt x="139" y="169"/>
                    <a:pt x="139" y="169"/>
                    <a:pt x="139" y="169"/>
                  </a:cubicBezTo>
                  <a:cubicBezTo>
                    <a:pt x="139" y="169"/>
                    <a:pt x="140" y="169"/>
                    <a:pt x="140" y="169"/>
                  </a:cubicBezTo>
                  <a:cubicBezTo>
                    <a:pt x="140" y="168"/>
                    <a:pt x="140" y="168"/>
                    <a:pt x="141" y="168"/>
                  </a:cubicBezTo>
                  <a:cubicBezTo>
                    <a:pt x="142" y="168"/>
                    <a:pt x="143" y="168"/>
                    <a:pt x="143" y="168"/>
                  </a:cubicBezTo>
                  <a:cubicBezTo>
                    <a:pt x="144" y="168"/>
                    <a:pt x="144" y="168"/>
                    <a:pt x="144" y="168"/>
                  </a:cubicBezTo>
                  <a:cubicBezTo>
                    <a:pt x="144" y="169"/>
                    <a:pt x="145" y="170"/>
                    <a:pt x="145" y="170"/>
                  </a:cubicBezTo>
                  <a:cubicBezTo>
                    <a:pt x="145" y="171"/>
                    <a:pt x="146" y="172"/>
                    <a:pt x="146" y="172"/>
                  </a:cubicBezTo>
                  <a:cubicBezTo>
                    <a:pt x="146" y="172"/>
                    <a:pt x="146" y="172"/>
                    <a:pt x="147" y="172"/>
                  </a:cubicBezTo>
                  <a:cubicBezTo>
                    <a:pt x="147" y="172"/>
                    <a:pt x="147" y="172"/>
                    <a:pt x="148" y="172"/>
                  </a:cubicBezTo>
                  <a:cubicBezTo>
                    <a:pt x="148" y="172"/>
                    <a:pt x="148" y="172"/>
                    <a:pt x="148" y="172"/>
                  </a:cubicBezTo>
                  <a:cubicBezTo>
                    <a:pt x="148" y="172"/>
                    <a:pt x="149" y="172"/>
                    <a:pt x="149" y="172"/>
                  </a:cubicBezTo>
                  <a:cubicBezTo>
                    <a:pt x="149" y="171"/>
                    <a:pt x="149" y="171"/>
                    <a:pt x="149" y="171"/>
                  </a:cubicBezTo>
                  <a:cubicBezTo>
                    <a:pt x="149" y="171"/>
                    <a:pt x="149" y="171"/>
                    <a:pt x="149" y="171"/>
                  </a:cubicBezTo>
                  <a:cubicBezTo>
                    <a:pt x="150" y="171"/>
                    <a:pt x="149" y="171"/>
                    <a:pt x="150" y="172"/>
                  </a:cubicBezTo>
                  <a:cubicBezTo>
                    <a:pt x="150" y="172"/>
                    <a:pt x="151" y="173"/>
                    <a:pt x="151" y="173"/>
                  </a:cubicBezTo>
                  <a:cubicBezTo>
                    <a:pt x="151" y="173"/>
                    <a:pt x="151" y="174"/>
                    <a:pt x="151" y="174"/>
                  </a:cubicBezTo>
                  <a:cubicBezTo>
                    <a:pt x="151" y="174"/>
                    <a:pt x="151" y="175"/>
                    <a:pt x="151" y="175"/>
                  </a:cubicBezTo>
                  <a:cubicBezTo>
                    <a:pt x="151" y="176"/>
                    <a:pt x="151" y="176"/>
                    <a:pt x="151" y="177"/>
                  </a:cubicBezTo>
                  <a:cubicBezTo>
                    <a:pt x="151" y="177"/>
                    <a:pt x="151" y="177"/>
                    <a:pt x="151" y="177"/>
                  </a:cubicBezTo>
                  <a:cubicBezTo>
                    <a:pt x="151" y="178"/>
                    <a:pt x="151" y="178"/>
                    <a:pt x="151" y="178"/>
                  </a:cubicBezTo>
                  <a:cubicBezTo>
                    <a:pt x="151" y="178"/>
                    <a:pt x="151" y="178"/>
                    <a:pt x="151" y="179"/>
                  </a:cubicBezTo>
                  <a:cubicBezTo>
                    <a:pt x="151" y="179"/>
                    <a:pt x="151" y="179"/>
                    <a:pt x="151" y="179"/>
                  </a:cubicBezTo>
                  <a:cubicBezTo>
                    <a:pt x="151" y="179"/>
                    <a:pt x="151" y="179"/>
                    <a:pt x="151" y="179"/>
                  </a:cubicBezTo>
                  <a:cubicBezTo>
                    <a:pt x="151" y="179"/>
                    <a:pt x="150" y="179"/>
                    <a:pt x="151" y="179"/>
                  </a:cubicBezTo>
                  <a:cubicBezTo>
                    <a:pt x="151" y="179"/>
                    <a:pt x="151" y="180"/>
                    <a:pt x="150" y="181"/>
                  </a:cubicBezTo>
                  <a:cubicBezTo>
                    <a:pt x="150" y="181"/>
                    <a:pt x="150" y="181"/>
                    <a:pt x="150" y="181"/>
                  </a:cubicBezTo>
                  <a:cubicBezTo>
                    <a:pt x="150" y="181"/>
                    <a:pt x="150" y="182"/>
                    <a:pt x="150" y="182"/>
                  </a:cubicBezTo>
                  <a:cubicBezTo>
                    <a:pt x="150" y="182"/>
                    <a:pt x="150" y="182"/>
                    <a:pt x="150" y="182"/>
                  </a:cubicBezTo>
                  <a:cubicBezTo>
                    <a:pt x="150" y="182"/>
                    <a:pt x="150" y="183"/>
                    <a:pt x="150" y="183"/>
                  </a:cubicBezTo>
                  <a:cubicBezTo>
                    <a:pt x="150" y="183"/>
                    <a:pt x="151" y="185"/>
                    <a:pt x="151" y="185"/>
                  </a:cubicBezTo>
                  <a:cubicBezTo>
                    <a:pt x="152" y="186"/>
                    <a:pt x="152" y="186"/>
                    <a:pt x="152" y="187"/>
                  </a:cubicBezTo>
                  <a:cubicBezTo>
                    <a:pt x="153" y="187"/>
                    <a:pt x="153" y="188"/>
                    <a:pt x="154" y="188"/>
                  </a:cubicBezTo>
                  <a:cubicBezTo>
                    <a:pt x="154" y="188"/>
                    <a:pt x="154" y="189"/>
                    <a:pt x="154" y="189"/>
                  </a:cubicBezTo>
                  <a:cubicBezTo>
                    <a:pt x="154" y="189"/>
                    <a:pt x="154" y="190"/>
                    <a:pt x="154" y="190"/>
                  </a:cubicBezTo>
                  <a:cubicBezTo>
                    <a:pt x="154" y="190"/>
                    <a:pt x="154" y="191"/>
                    <a:pt x="154" y="191"/>
                  </a:cubicBezTo>
                  <a:cubicBezTo>
                    <a:pt x="154" y="191"/>
                    <a:pt x="155" y="193"/>
                    <a:pt x="155" y="194"/>
                  </a:cubicBezTo>
                  <a:cubicBezTo>
                    <a:pt x="156" y="194"/>
                    <a:pt x="156" y="195"/>
                    <a:pt x="156" y="195"/>
                  </a:cubicBezTo>
                  <a:cubicBezTo>
                    <a:pt x="156" y="196"/>
                    <a:pt x="156" y="196"/>
                    <a:pt x="156" y="196"/>
                  </a:cubicBezTo>
                  <a:cubicBezTo>
                    <a:pt x="156" y="196"/>
                    <a:pt x="156" y="197"/>
                    <a:pt x="156" y="197"/>
                  </a:cubicBezTo>
                  <a:cubicBezTo>
                    <a:pt x="156" y="197"/>
                    <a:pt x="156" y="197"/>
                    <a:pt x="156" y="198"/>
                  </a:cubicBezTo>
                  <a:cubicBezTo>
                    <a:pt x="156" y="198"/>
                    <a:pt x="156" y="199"/>
                    <a:pt x="156" y="199"/>
                  </a:cubicBezTo>
                  <a:cubicBezTo>
                    <a:pt x="156" y="200"/>
                    <a:pt x="156" y="200"/>
                    <a:pt x="156" y="200"/>
                  </a:cubicBezTo>
                  <a:cubicBezTo>
                    <a:pt x="157" y="201"/>
                    <a:pt x="157" y="201"/>
                    <a:pt x="157" y="201"/>
                  </a:cubicBezTo>
                  <a:cubicBezTo>
                    <a:pt x="156" y="201"/>
                    <a:pt x="157" y="202"/>
                    <a:pt x="156" y="202"/>
                  </a:cubicBezTo>
                  <a:cubicBezTo>
                    <a:pt x="156" y="203"/>
                    <a:pt x="156" y="203"/>
                    <a:pt x="156" y="203"/>
                  </a:cubicBezTo>
                  <a:cubicBezTo>
                    <a:pt x="156" y="203"/>
                    <a:pt x="156" y="204"/>
                    <a:pt x="156" y="204"/>
                  </a:cubicBezTo>
                  <a:cubicBezTo>
                    <a:pt x="156" y="204"/>
                    <a:pt x="155" y="204"/>
                    <a:pt x="155" y="204"/>
                  </a:cubicBezTo>
                  <a:cubicBezTo>
                    <a:pt x="155" y="204"/>
                    <a:pt x="155" y="205"/>
                    <a:pt x="155" y="205"/>
                  </a:cubicBezTo>
                  <a:cubicBezTo>
                    <a:pt x="155" y="205"/>
                    <a:pt x="155" y="205"/>
                    <a:pt x="155" y="206"/>
                  </a:cubicBezTo>
                  <a:cubicBezTo>
                    <a:pt x="155" y="206"/>
                    <a:pt x="155" y="206"/>
                    <a:pt x="155" y="207"/>
                  </a:cubicBezTo>
                  <a:cubicBezTo>
                    <a:pt x="155" y="207"/>
                    <a:pt x="155" y="207"/>
                    <a:pt x="154" y="208"/>
                  </a:cubicBezTo>
                  <a:cubicBezTo>
                    <a:pt x="154" y="208"/>
                    <a:pt x="154" y="209"/>
                    <a:pt x="154" y="209"/>
                  </a:cubicBezTo>
                  <a:cubicBezTo>
                    <a:pt x="154" y="209"/>
                    <a:pt x="154" y="210"/>
                    <a:pt x="154" y="210"/>
                  </a:cubicBezTo>
                  <a:cubicBezTo>
                    <a:pt x="154" y="210"/>
                    <a:pt x="154" y="211"/>
                    <a:pt x="154" y="211"/>
                  </a:cubicBezTo>
                  <a:cubicBezTo>
                    <a:pt x="154" y="211"/>
                    <a:pt x="154" y="212"/>
                    <a:pt x="154" y="212"/>
                  </a:cubicBezTo>
                  <a:cubicBezTo>
                    <a:pt x="154" y="213"/>
                    <a:pt x="154" y="215"/>
                    <a:pt x="154" y="215"/>
                  </a:cubicBezTo>
                  <a:cubicBezTo>
                    <a:pt x="154" y="215"/>
                    <a:pt x="154" y="215"/>
                    <a:pt x="155" y="215"/>
                  </a:cubicBezTo>
                  <a:cubicBezTo>
                    <a:pt x="155" y="215"/>
                    <a:pt x="155" y="217"/>
                    <a:pt x="156" y="218"/>
                  </a:cubicBezTo>
                  <a:cubicBezTo>
                    <a:pt x="156" y="218"/>
                    <a:pt x="156" y="218"/>
                    <a:pt x="156" y="218"/>
                  </a:cubicBezTo>
                  <a:cubicBezTo>
                    <a:pt x="156" y="219"/>
                    <a:pt x="156" y="219"/>
                    <a:pt x="156" y="220"/>
                  </a:cubicBezTo>
                  <a:cubicBezTo>
                    <a:pt x="157" y="220"/>
                    <a:pt x="157" y="220"/>
                    <a:pt x="157" y="221"/>
                  </a:cubicBezTo>
                  <a:cubicBezTo>
                    <a:pt x="157" y="221"/>
                    <a:pt x="157" y="222"/>
                    <a:pt x="157" y="222"/>
                  </a:cubicBezTo>
                  <a:cubicBezTo>
                    <a:pt x="157" y="223"/>
                    <a:pt x="157" y="223"/>
                    <a:pt x="157" y="223"/>
                  </a:cubicBezTo>
                  <a:cubicBezTo>
                    <a:pt x="157" y="223"/>
                    <a:pt x="157" y="224"/>
                    <a:pt x="157" y="224"/>
                  </a:cubicBezTo>
                  <a:cubicBezTo>
                    <a:pt x="157" y="225"/>
                    <a:pt x="157" y="225"/>
                    <a:pt x="158" y="226"/>
                  </a:cubicBezTo>
                  <a:cubicBezTo>
                    <a:pt x="158" y="226"/>
                    <a:pt x="158" y="226"/>
                    <a:pt x="158" y="227"/>
                  </a:cubicBezTo>
                  <a:cubicBezTo>
                    <a:pt x="158" y="227"/>
                    <a:pt x="158" y="228"/>
                    <a:pt x="158" y="228"/>
                  </a:cubicBezTo>
                  <a:cubicBezTo>
                    <a:pt x="158" y="228"/>
                    <a:pt x="158" y="229"/>
                    <a:pt x="158" y="229"/>
                  </a:cubicBezTo>
                  <a:cubicBezTo>
                    <a:pt x="158" y="230"/>
                    <a:pt x="158" y="230"/>
                    <a:pt x="158" y="230"/>
                  </a:cubicBezTo>
                  <a:cubicBezTo>
                    <a:pt x="158" y="230"/>
                    <a:pt x="158" y="230"/>
                    <a:pt x="158" y="231"/>
                  </a:cubicBezTo>
                  <a:cubicBezTo>
                    <a:pt x="158" y="231"/>
                    <a:pt x="158" y="231"/>
                    <a:pt x="159" y="231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59" y="232"/>
                    <a:pt x="159" y="233"/>
                    <a:pt x="159" y="233"/>
                  </a:cubicBezTo>
                  <a:cubicBezTo>
                    <a:pt x="159" y="233"/>
                    <a:pt x="159" y="233"/>
                    <a:pt x="159" y="233"/>
                  </a:cubicBezTo>
                  <a:cubicBezTo>
                    <a:pt x="160" y="233"/>
                    <a:pt x="160" y="233"/>
                    <a:pt x="160" y="234"/>
                  </a:cubicBezTo>
                  <a:cubicBezTo>
                    <a:pt x="160" y="234"/>
                    <a:pt x="161" y="234"/>
                    <a:pt x="161" y="235"/>
                  </a:cubicBezTo>
                  <a:cubicBezTo>
                    <a:pt x="161" y="235"/>
                    <a:pt x="161" y="236"/>
                    <a:pt x="161" y="237"/>
                  </a:cubicBezTo>
                  <a:cubicBezTo>
                    <a:pt x="161" y="237"/>
                    <a:pt x="162" y="238"/>
                    <a:pt x="162" y="238"/>
                  </a:cubicBezTo>
                  <a:cubicBezTo>
                    <a:pt x="162" y="239"/>
                    <a:pt x="162" y="239"/>
                    <a:pt x="162" y="239"/>
                  </a:cubicBezTo>
                  <a:cubicBezTo>
                    <a:pt x="163" y="240"/>
                    <a:pt x="163" y="240"/>
                    <a:pt x="163" y="240"/>
                  </a:cubicBezTo>
                  <a:cubicBezTo>
                    <a:pt x="163" y="240"/>
                    <a:pt x="163" y="241"/>
                    <a:pt x="163" y="241"/>
                  </a:cubicBezTo>
                  <a:cubicBezTo>
                    <a:pt x="162" y="241"/>
                    <a:pt x="162" y="241"/>
                    <a:pt x="162" y="241"/>
                  </a:cubicBezTo>
                  <a:cubicBezTo>
                    <a:pt x="162" y="241"/>
                    <a:pt x="162" y="242"/>
                    <a:pt x="162" y="242"/>
                  </a:cubicBezTo>
                  <a:cubicBezTo>
                    <a:pt x="162" y="242"/>
                    <a:pt x="162" y="242"/>
                    <a:pt x="162" y="242"/>
                  </a:cubicBezTo>
                  <a:cubicBezTo>
                    <a:pt x="162" y="242"/>
                    <a:pt x="163" y="243"/>
                    <a:pt x="163" y="243"/>
                  </a:cubicBezTo>
                  <a:cubicBezTo>
                    <a:pt x="163" y="243"/>
                    <a:pt x="163" y="243"/>
                    <a:pt x="163" y="243"/>
                  </a:cubicBezTo>
                  <a:cubicBezTo>
                    <a:pt x="163" y="243"/>
                    <a:pt x="163" y="243"/>
                    <a:pt x="163" y="244"/>
                  </a:cubicBezTo>
                  <a:cubicBezTo>
                    <a:pt x="163" y="244"/>
                    <a:pt x="163" y="244"/>
                    <a:pt x="163" y="244"/>
                  </a:cubicBezTo>
                  <a:cubicBezTo>
                    <a:pt x="163" y="244"/>
                    <a:pt x="163" y="244"/>
                    <a:pt x="163" y="244"/>
                  </a:cubicBezTo>
                  <a:cubicBezTo>
                    <a:pt x="163" y="244"/>
                    <a:pt x="163" y="243"/>
                    <a:pt x="163" y="243"/>
                  </a:cubicBezTo>
                  <a:cubicBezTo>
                    <a:pt x="164" y="243"/>
                    <a:pt x="164" y="243"/>
                    <a:pt x="164" y="243"/>
                  </a:cubicBezTo>
                  <a:cubicBezTo>
                    <a:pt x="164" y="243"/>
                    <a:pt x="163" y="244"/>
                    <a:pt x="163" y="244"/>
                  </a:cubicBezTo>
                  <a:cubicBezTo>
                    <a:pt x="163" y="244"/>
                    <a:pt x="163" y="244"/>
                    <a:pt x="163" y="244"/>
                  </a:cubicBezTo>
                  <a:cubicBezTo>
                    <a:pt x="163" y="244"/>
                    <a:pt x="164" y="244"/>
                    <a:pt x="164" y="244"/>
                  </a:cubicBezTo>
                  <a:cubicBezTo>
                    <a:pt x="164" y="244"/>
                    <a:pt x="164" y="245"/>
                    <a:pt x="164" y="245"/>
                  </a:cubicBezTo>
                  <a:cubicBezTo>
                    <a:pt x="164" y="245"/>
                    <a:pt x="165" y="245"/>
                    <a:pt x="165" y="245"/>
                  </a:cubicBezTo>
                  <a:cubicBezTo>
                    <a:pt x="165" y="245"/>
                    <a:pt x="165" y="245"/>
                    <a:pt x="165" y="245"/>
                  </a:cubicBezTo>
                  <a:cubicBezTo>
                    <a:pt x="166" y="245"/>
                    <a:pt x="167" y="245"/>
                    <a:pt x="167" y="244"/>
                  </a:cubicBezTo>
                  <a:cubicBezTo>
                    <a:pt x="167" y="244"/>
                    <a:pt x="167" y="244"/>
                    <a:pt x="168" y="244"/>
                  </a:cubicBezTo>
                  <a:cubicBezTo>
                    <a:pt x="168" y="244"/>
                    <a:pt x="168" y="244"/>
                    <a:pt x="168" y="244"/>
                  </a:cubicBezTo>
                  <a:cubicBezTo>
                    <a:pt x="168" y="244"/>
                    <a:pt x="169" y="244"/>
                    <a:pt x="169" y="244"/>
                  </a:cubicBezTo>
                  <a:cubicBezTo>
                    <a:pt x="169" y="244"/>
                    <a:pt x="169" y="244"/>
                    <a:pt x="170" y="244"/>
                  </a:cubicBezTo>
                  <a:cubicBezTo>
                    <a:pt x="170" y="244"/>
                    <a:pt x="171" y="244"/>
                    <a:pt x="171" y="244"/>
                  </a:cubicBezTo>
                  <a:cubicBezTo>
                    <a:pt x="171" y="244"/>
                    <a:pt x="171" y="244"/>
                    <a:pt x="171" y="244"/>
                  </a:cubicBezTo>
                  <a:cubicBezTo>
                    <a:pt x="172" y="243"/>
                    <a:pt x="172" y="243"/>
                    <a:pt x="172" y="243"/>
                  </a:cubicBezTo>
                  <a:cubicBezTo>
                    <a:pt x="172" y="244"/>
                    <a:pt x="172" y="243"/>
                    <a:pt x="172" y="243"/>
                  </a:cubicBezTo>
                  <a:cubicBezTo>
                    <a:pt x="173" y="243"/>
                    <a:pt x="173" y="243"/>
                    <a:pt x="173" y="243"/>
                  </a:cubicBezTo>
                  <a:cubicBezTo>
                    <a:pt x="173" y="243"/>
                    <a:pt x="174" y="243"/>
                    <a:pt x="175" y="242"/>
                  </a:cubicBezTo>
                  <a:cubicBezTo>
                    <a:pt x="175" y="242"/>
                    <a:pt x="176" y="241"/>
                    <a:pt x="176" y="241"/>
                  </a:cubicBezTo>
                  <a:cubicBezTo>
                    <a:pt x="176" y="241"/>
                    <a:pt x="177" y="240"/>
                    <a:pt x="178" y="239"/>
                  </a:cubicBezTo>
                  <a:cubicBezTo>
                    <a:pt x="178" y="239"/>
                    <a:pt x="179" y="237"/>
                    <a:pt x="179" y="237"/>
                  </a:cubicBezTo>
                  <a:cubicBezTo>
                    <a:pt x="179" y="236"/>
                    <a:pt x="180" y="235"/>
                    <a:pt x="180" y="235"/>
                  </a:cubicBezTo>
                  <a:cubicBezTo>
                    <a:pt x="180" y="234"/>
                    <a:pt x="181" y="234"/>
                    <a:pt x="181" y="234"/>
                  </a:cubicBezTo>
                  <a:cubicBezTo>
                    <a:pt x="181" y="234"/>
                    <a:pt x="181" y="233"/>
                    <a:pt x="181" y="232"/>
                  </a:cubicBezTo>
                  <a:cubicBezTo>
                    <a:pt x="182" y="232"/>
                    <a:pt x="182" y="231"/>
                    <a:pt x="182" y="231"/>
                  </a:cubicBezTo>
                  <a:cubicBezTo>
                    <a:pt x="182" y="231"/>
                    <a:pt x="182" y="230"/>
                    <a:pt x="182" y="229"/>
                  </a:cubicBezTo>
                  <a:cubicBezTo>
                    <a:pt x="182" y="229"/>
                    <a:pt x="182" y="229"/>
                    <a:pt x="182" y="229"/>
                  </a:cubicBezTo>
                  <a:cubicBezTo>
                    <a:pt x="181" y="229"/>
                    <a:pt x="181" y="229"/>
                    <a:pt x="181" y="229"/>
                  </a:cubicBezTo>
                  <a:cubicBezTo>
                    <a:pt x="181" y="229"/>
                    <a:pt x="182" y="228"/>
                    <a:pt x="182" y="228"/>
                  </a:cubicBezTo>
                  <a:cubicBezTo>
                    <a:pt x="182" y="228"/>
                    <a:pt x="182" y="228"/>
                    <a:pt x="183" y="227"/>
                  </a:cubicBezTo>
                  <a:cubicBezTo>
                    <a:pt x="183" y="227"/>
                    <a:pt x="184" y="227"/>
                    <a:pt x="184" y="227"/>
                  </a:cubicBezTo>
                  <a:cubicBezTo>
                    <a:pt x="184" y="226"/>
                    <a:pt x="185" y="226"/>
                    <a:pt x="185" y="226"/>
                  </a:cubicBezTo>
                  <a:cubicBezTo>
                    <a:pt x="185" y="225"/>
                    <a:pt x="185" y="225"/>
                    <a:pt x="185" y="225"/>
                  </a:cubicBezTo>
                  <a:cubicBezTo>
                    <a:pt x="185" y="224"/>
                    <a:pt x="185" y="223"/>
                    <a:pt x="185" y="223"/>
                  </a:cubicBezTo>
                  <a:cubicBezTo>
                    <a:pt x="185" y="223"/>
                    <a:pt x="185" y="221"/>
                    <a:pt x="185" y="221"/>
                  </a:cubicBezTo>
                  <a:cubicBezTo>
                    <a:pt x="185" y="220"/>
                    <a:pt x="185" y="219"/>
                    <a:pt x="185" y="219"/>
                  </a:cubicBezTo>
                  <a:cubicBezTo>
                    <a:pt x="185" y="219"/>
                    <a:pt x="184" y="218"/>
                    <a:pt x="184" y="218"/>
                  </a:cubicBezTo>
                  <a:cubicBezTo>
                    <a:pt x="185" y="217"/>
                    <a:pt x="185" y="216"/>
                    <a:pt x="185" y="216"/>
                  </a:cubicBezTo>
                  <a:cubicBezTo>
                    <a:pt x="186" y="216"/>
                    <a:pt x="186" y="215"/>
                    <a:pt x="186" y="215"/>
                  </a:cubicBezTo>
                  <a:cubicBezTo>
                    <a:pt x="187" y="215"/>
                    <a:pt x="187" y="214"/>
                    <a:pt x="187" y="214"/>
                  </a:cubicBezTo>
                  <a:cubicBezTo>
                    <a:pt x="187" y="214"/>
                    <a:pt x="187" y="214"/>
                    <a:pt x="188" y="213"/>
                  </a:cubicBezTo>
                  <a:cubicBezTo>
                    <a:pt x="188" y="213"/>
                    <a:pt x="188" y="213"/>
                    <a:pt x="189" y="213"/>
                  </a:cubicBezTo>
                  <a:cubicBezTo>
                    <a:pt x="189" y="213"/>
                    <a:pt x="190" y="211"/>
                    <a:pt x="190" y="211"/>
                  </a:cubicBezTo>
                  <a:cubicBezTo>
                    <a:pt x="191" y="211"/>
                    <a:pt x="192" y="210"/>
                    <a:pt x="192" y="210"/>
                  </a:cubicBezTo>
                  <a:cubicBezTo>
                    <a:pt x="192" y="209"/>
                    <a:pt x="192" y="208"/>
                    <a:pt x="192" y="208"/>
                  </a:cubicBezTo>
                  <a:cubicBezTo>
                    <a:pt x="192" y="207"/>
                    <a:pt x="192" y="207"/>
                    <a:pt x="192" y="206"/>
                  </a:cubicBezTo>
                  <a:cubicBezTo>
                    <a:pt x="192" y="206"/>
                    <a:pt x="192" y="204"/>
                    <a:pt x="192" y="203"/>
                  </a:cubicBezTo>
                  <a:cubicBezTo>
                    <a:pt x="192" y="203"/>
                    <a:pt x="192" y="202"/>
                    <a:pt x="192" y="201"/>
                  </a:cubicBezTo>
                  <a:cubicBezTo>
                    <a:pt x="192" y="201"/>
                    <a:pt x="192" y="200"/>
                    <a:pt x="192" y="199"/>
                  </a:cubicBezTo>
                  <a:cubicBezTo>
                    <a:pt x="191" y="199"/>
                    <a:pt x="191" y="199"/>
                    <a:pt x="191" y="199"/>
                  </a:cubicBezTo>
                  <a:cubicBezTo>
                    <a:pt x="191" y="198"/>
                    <a:pt x="191" y="198"/>
                    <a:pt x="191" y="197"/>
                  </a:cubicBezTo>
                  <a:cubicBezTo>
                    <a:pt x="191" y="197"/>
                    <a:pt x="191" y="196"/>
                    <a:pt x="190" y="196"/>
                  </a:cubicBezTo>
                  <a:cubicBezTo>
                    <a:pt x="190" y="196"/>
                    <a:pt x="190" y="195"/>
                    <a:pt x="191" y="195"/>
                  </a:cubicBezTo>
                  <a:cubicBezTo>
                    <a:pt x="191" y="195"/>
                    <a:pt x="190" y="194"/>
                    <a:pt x="190" y="194"/>
                  </a:cubicBezTo>
                  <a:cubicBezTo>
                    <a:pt x="190" y="193"/>
                    <a:pt x="191" y="193"/>
                    <a:pt x="191" y="193"/>
                  </a:cubicBezTo>
                  <a:cubicBezTo>
                    <a:pt x="191" y="193"/>
                    <a:pt x="190" y="192"/>
                    <a:pt x="190" y="192"/>
                  </a:cubicBezTo>
                  <a:cubicBezTo>
                    <a:pt x="190" y="192"/>
                    <a:pt x="190" y="190"/>
                    <a:pt x="190" y="190"/>
                  </a:cubicBezTo>
                  <a:cubicBezTo>
                    <a:pt x="190" y="190"/>
                    <a:pt x="190" y="189"/>
                    <a:pt x="191" y="189"/>
                  </a:cubicBezTo>
                  <a:cubicBezTo>
                    <a:pt x="191" y="188"/>
                    <a:pt x="191" y="187"/>
                    <a:pt x="191" y="187"/>
                  </a:cubicBezTo>
                  <a:cubicBezTo>
                    <a:pt x="191" y="186"/>
                    <a:pt x="192" y="186"/>
                    <a:pt x="192" y="185"/>
                  </a:cubicBezTo>
                  <a:cubicBezTo>
                    <a:pt x="192" y="185"/>
                    <a:pt x="192" y="185"/>
                    <a:pt x="193" y="184"/>
                  </a:cubicBezTo>
                  <a:cubicBezTo>
                    <a:pt x="193" y="184"/>
                    <a:pt x="194" y="182"/>
                    <a:pt x="194" y="182"/>
                  </a:cubicBezTo>
                  <a:cubicBezTo>
                    <a:pt x="194" y="182"/>
                    <a:pt x="195" y="180"/>
                    <a:pt x="195" y="180"/>
                  </a:cubicBezTo>
                  <a:cubicBezTo>
                    <a:pt x="195" y="180"/>
                    <a:pt x="196" y="179"/>
                    <a:pt x="196" y="178"/>
                  </a:cubicBezTo>
                  <a:cubicBezTo>
                    <a:pt x="197" y="178"/>
                    <a:pt x="198" y="177"/>
                    <a:pt x="198" y="177"/>
                  </a:cubicBezTo>
                  <a:cubicBezTo>
                    <a:pt x="198" y="177"/>
                    <a:pt x="199" y="176"/>
                    <a:pt x="199" y="175"/>
                  </a:cubicBezTo>
                  <a:cubicBezTo>
                    <a:pt x="200" y="175"/>
                    <a:pt x="201" y="173"/>
                    <a:pt x="201" y="173"/>
                  </a:cubicBezTo>
                  <a:cubicBezTo>
                    <a:pt x="202" y="172"/>
                    <a:pt x="202" y="171"/>
                    <a:pt x="202" y="171"/>
                  </a:cubicBezTo>
                  <a:cubicBezTo>
                    <a:pt x="203" y="170"/>
                    <a:pt x="203" y="169"/>
                    <a:pt x="203" y="168"/>
                  </a:cubicBezTo>
                  <a:cubicBezTo>
                    <a:pt x="203" y="168"/>
                    <a:pt x="204" y="167"/>
                    <a:pt x="204" y="167"/>
                  </a:cubicBezTo>
                  <a:cubicBezTo>
                    <a:pt x="204" y="167"/>
                    <a:pt x="204" y="165"/>
                    <a:pt x="204" y="165"/>
                  </a:cubicBezTo>
                  <a:cubicBezTo>
                    <a:pt x="204" y="165"/>
                    <a:pt x="205" y="164"/>
                    <a:pt x="205" y="164"/>
                  </a:cubicBezTo>
                  <a:cubicBezTo>
                    <a:pt x="205" y="164"/>
                    <a:pt x="205" y="164"/>
                    <a:pt x="205" y="163"/>
                  </a:cubicBezTo>
                  <a:cubicBezTo>
                    <a:pt x="205" y="163"/>
                    <a:pt x="206" y="163"/>
                    <a:pt x="206" y="162"/>
                  </a:cubicBezTo>
                  <a:cubicBezTo>
                    <a:pt x="206" y="162"/>
                    <a:pt x="206" y="161"/>
                    <a:pt x="206" y="161"/>
                  </a:cubicBezTo>
                  <a:cubicBezTo>
                    <a:pt x="206" y="161"/>
                    <a:pt x="206" y="160"/>
                    <a:pt x="206" y="160"/>
                  </a:cubicBezTo>
                  <a:cubicBezTo>
                    <a:pt x="206" y="160"/>
                    <a:pt x="206" y="159"/>
                    <a:pt x="206" y="159"/>
                  </a:cubicBezTo>
                  <a:cubicBezTo>
                    <a:pt x="206" y="159"/>
                    <a:pt x="206" y="159"/>
                    <a:pt x="206" y="158"/>
                  </a:cubicBezTo>
                  <a:cubicBezTo>
                    <a:pt x="206" y="158"/>
                    <a:pt x="206" y="158"/>
                    <a:pt x="206" y="158"/>
                  </a:cubicBezTo>
                  <a:cubicBezTo>
                    <a:pt x="206" y="158"/>
                    <a:pt x="206" y="158"/>
                    <a:pt x="206" y="158"/>
                  </a:cubicBezTo>
                  <a:cubicBezTo>
                    <a:pt x="205" y="158"/>
                    <a:pt x="205" y="158"/>
                    <a:pt x="205" y="158"/>
                  </a:cubicBezTo>
                  <a:cubicBezTo>
                    <a:pt x="205" y="158"/>
                    <a:pt x="205" y="158"/>
                    <a:pt x="205" y="159"/>
                  </a:cubicBezTo>
                  <a:cubicBezTo>
                    <a:pt x="205" y="159"/>
                    <a:pt x="204" y="159"/>
                    <a:pt x="204" y="159"/>
                  </a:cubicBezTo>
                  <a:cubicBezTo>
                    <a:pt x="204" y="159"/>
                    <a:pt x="203" y="159"/>
                    <a:pt x="203" y="159"/>
                  </a:cubicBezTo>
                  <a:cubicBezTo>
                    <a:pt x="203" y="159"/>
                    <a:pt x="203" y="159"/>
                    <a:pt x="202" y="159"/>
                  </a:cubicBezTo>
                  <a:cubicBezTo>
                    <a:pt x="202" y="159"/>
                    <a:pt x="202" y="159"/>
                    <a:pt x="202" y="159"/>
                  </a:cubicBezTo>
                  <a:cubicBezTo>
                    <a:pt x="202" y="159"/>
                    <a:pt x="201" y="159"/>
                    <a:pt x="201" y="159"/>
                  </a:cubicBezTo>
                  <a:cubicBezTo>
                    <a:pt x="201" y="159"/>
                    <a:pt x="201" y="160"/>
                    <a:pt x="200" y="160"/>
                  </a:cubicBezTo>
                  <a:cubicBezTo>
                    <a:pt x="200" y="160"/>
                    <a:pt x="200" y="160"/>
                    <a:pt x="199" y="160"/>
                  </a:cubicBezTo>
                  <a:cubicBezTo>
                    <a:pt x="199" y="160"/>
                    <a:pt x="199" y="160"/>
                    <a:pt x="199" y="160"/>
                  </a:cubicBezTo>
                  <a:cubicBezTo>
                    <a:pt x="198" y="160"/>
                    <a:pt x="198" y="160"/>
                    <a:pt x="198" y="160"/>
                  </a:cubicBezTo>
                  <a:cubicBezTo>
                    <a:pt x="198" y="161"/>
                    <a:pt x="197" y="161"/>
                    <a:pt x="197" y="160"/>
                  </a:cubicBezTo>
                  <a:cubicBezTo>
                    <a:pt x="197" y="160"/>
                    <a:pt x="196" y="160"/>
                    <a:pt x="196" y="159"/>
                  </a:cubicBezTo>
                  <a:cubicBezTo>
                    <a:pt x="196" y="159"/>
                    <a:pt x="196" y="159"/>
                    <a:pt x="196" y="159"/>
                  </a:cubicBezTo>
                  <a:cubicBezTo>
                    <a:pt x="196" y="159"/>
                    <a:pt x="195" y="158"/>
                    <a:pt x="195" y="158"/>
                  </a:cubicBezTo>
                  <a:cubicBezTo>
                    <a:pt x="195" y="158"/>
                    <a:pt x="195" y="159"/>
                    <a:pt x="195" y="159"/>
                  </a:cubicBezTo>
                  <a:cubicBezTo>
                    <a:pt x="195" y="159"/>
                    <a:pt x="195" y="158"/>
                    <a:pt x="195" y="158"/>
                  </a:cubicBezTo>
                  <a:cubicBezTo>
                    <a:pt x="195" y="158"/>
                    <a:pt x="196" y="158"/>
                    <a:pt x="196" y="158"/>
                  </a:cubicBezTo>
                  <a:cubicBezTo>
                    <a:pt x="196" y="157"/>
                    <a:pt x="196" y="157"/>
                    <a:pt x="196" y="157"/>
                  </a:cubicBezTo>
                  <a:cubicBezTo>
                    <a:pt x="196" y="157"/>
                    <a:pt x="195" y="156"/>
                    <a:pt x="195" y="156"/>
                  </a:cubicBezTo>
                  <a:cubicBezTo>
                    <a:pt x="195" y="156"/>
                    <a:pt x="195" y="155"/>
                    <a:pt x="195" y="155"/>
                  </a:cubicBezTo>
                  <a:cubicBezTo>
                    <a:pt x="195" y="155"/>
                    <a:pt x="195" y="155"/>
                    <a:pt x="194" y="155"/>
                  </a:cubicBezTo>
                  <a:cubicBezTo>
                    <a:pt x="194" y="154"/>
                    <a:pt x="194" y="154"/>
                    <a:pt x="194" y="154"/>
                  </a:cubicBezTo>
                  <a:cubicBezTo>
                    <a:pt x="193" y="154"/>
                    <a:pt x="193" y="153"/>
                    <a:pt x="193" y="153"/>
                  </a:cubicBezTo>
                  <a:cubicBezTo>
                    <a:pt x="193" y="153"/>
                    <a:pt x="192" y="153"/>
                    <a:pt x="192" y="152"/>
                  </a:cubicBezTo>
                  <a:cubicBezTo>
                    <a:pt x="192" y="152"/>
                    <a:pt x="193" y="152"/>
                    <a:pt x="192" y="152"/>
                  </a:cubicBezTo>
                  <a:cubicBezTo>
                    <a:pt x="192" y="152"/>
                    <a:pt x="192" y="152"/>
                    <a:pt x="191" y="152"/>
                  </a:cubicBezTo>
                  <a:cubicBezTo>
                    <a:pt x="191" y="152"/>
                    <a:pt x="191" y="151"/>
                    <a:pt x="191" y="151"/>
                  </a:cubicBezTo>
                  <a:cubicBezTo>
                    <a:pt x="191" y="151"/>
                    <a:pt x="191" y="151"/>
                    <a:pt x="191" y="151"/>
                  </a:cubicBezTo>
                  <a:cubicBezTo>
                    <a:pt x="191" y="152"/>
                    <a:pt x="191" y="152"/>
                    <a:pt x="191" y="152"/>
                  </a:cubicBezTo>
                  <a:cubicBezTo>
                    <a:pt x="191" y="152"/>
                    <a:pt x="191" y="150"/>
                    <a:pt x="190" y="150"/>
                  </a:cubicBezTo>
                  <a:cubicBezTo>
                    <a:pt x="190" y="150"/>
                    <a:pt x="190" y="149"/>
                    <a:pt x="190" y="149"/>
                  </a:cubicBezTo>
                  <a:cubicBezTo>
                    <a:pt x="190" y="148"/>
                    <a:pt x="190" y="146"/>
                    <a:pt x="189" y="146"/>
                  </a:cubicBezTo>
                  <a:cubicBezTo>
                    <a:pt x="189" y="146"/>
                    <a:pt x="189" y="146"/>
                    <a:pt x="189" y="146"/>
                  </a:cubicBezTo>
                  <a:cubicBezTo>
                    <a:pt x="189" y="146"/>
                    <a:pt x="189" y="145"/>
                    <a:pt x="189" y="145"/>
                  </a:cubicBezTo>
                  <a:cubicBezTo>
                    <a:pt x="188" y="145"/>
                    <a:pt x="188" y="145"/>
                    <a:pt x="188" y="145"/>
                  </a:cubicBezTo>
                  <a:cubicBezTo>
                    <a:pt x="188" y="145"/>
                    <a:pt x="188" y="144"/>
                    <a:pt x="188" y="144"/>
                  </a:cubicBezTo>
                  <a:cubicBezTo>
                    <a:pt x="188" y="143"/>
                    <a:pt x="188" y="142"/>
                    <a:pt x="188" y="141"/>
                  </a:cubicBezTo>
                  <a:cubicBezTo>
                    <a:pt x="188" y="141"/>
                    <a:pt x="188" y="140"/>
                    <a:pt x="188" y="140"/>
                  </a:cubicBezTo>
                  <a:cubicBezTo>
                    <a:pt x="187" y="140"/>
                    <a:pt x="187" y="139"/>
                    <a:pt x="187" y="139"/>
                  </a:cubicBezTo>
                  <a:cubicBezTo>
                    <a:pt x="187" y="139"/>
                    <a:pt x="187" y="139"/>
                    <a:pt x="187" y="138"/>
                  </a:cubicBezTo>
                  <a:cubicBezTo>
                    <a:pt x="187" y="138"/>
                    <a:pt x="186" y="138"/>
                    <a:pt x="186" y="138"/>
                  </a:cubicBezTo>
                  <a:cubicBezTo>
                    <a:pt x="186" y="137"/>
                    <a:pt x="186" y="137"/>
                    <a:pt x="186" y="137"/>
                  </a:cubicBezTo>
                  <a:cubicBezTo>
                    <a:pt x="186" y="137"/>
                    <a:pt x="186" y="137"/>
                    <a:pt x="186" y="137"/>
                  </a:cubicBezTo>
                  <a:cubicBezTo>
                    <a:pt x="185" y="136"/>
                    <a:pt x="185" y="136"/>
                    <a:pt x="185" y="136"/>
                  </a:cubicBezTo>
                  <a:cubicBezTo>
                    <a:pt x="185" y="135"/>
                    <a:pt x="185" y="135"/>
                    <a:pt x="186" y="135"/>
                  </a:cubicBezTo>
                  <a:cubicBezTo>
                    <a:pt x="186" y="135"/>
                    <a:pt x="186" y="135"/>
                    <a:pt x="185" y="135"/>
                  </a:cubicBezTo>
                  <a:cubicBezTo>
                    <a:pt x="185" y="135"/>
                    <a:pt x="185" y="133"/>
                    <a:pt x="184" y="133"/>
                  </a:cubicBezTo>
                  <a:cubicBezTo>
                    <a:pt x="184" y="132"/>
                    <a:pt x="184" y="131"/>
                    <a:pt x="184" y="131"/>
                  </a:cubicBezTo>
                  <a:cubicBezTo>
                    <a:pt x="184" y="130"/>
                    <a:pt x="183" y="130"/>
                    <a:pt x="183" y="129"/>
                  </a:cubicBezTo>
                  <a:cubicBezTo>
                    <a:pt x="183" y="129"/>
                    <a:pt x="183" y="129"/>
                    <a:pt x="183" y="129"/>
                  </a:cubicBezTo>
                  <a:cubicBezTo>
                    <a:pt x="183" y="128"/>
                    <a:pt x="183" y="128"/>
                    <a:pt x="183" y="128"/>
                  </a:cubicBezTo>
                  <a:cubicBezTo>
                    <a:pt x="183" y="128"/>
                    <a:pt x="183" y="128"/>
                    <a:pt x="182" y="127"/>
                  </a:cubicBezTo>
                  <a:cubicBezTo>
                    <a:pt x="182" y="127"/>
                    <a:pt x="182" y="127"/>
                    <a:pt x="182" y="126"/>
                  </a:cubicBezTo>
                  <a:cubicBezTo>
                    <a:pt x="182" y="126"/>
                    <a:pt x="182" y="126"/>
                    <a:pt x="182" y="126"/>
                  </a:cubicBezTo>
                  <a:cubicBezTo>
                    <a:pt x="182" y="125"/>
                    <a:pt x="182" y="125"/>
                    <a:pt x="181" y="125"/>
                  </a:cubicBezTo>
                  <a:cubicBezTo>
                    <a:pt x="181" y="125"/>
                    <a:pt x="181" y="125"/>
                    <a:pt x="181" y="125"/>
                  </a:cubicBezTo>
                  <a:cubicBezTo>
                    <a:pt x="181" y="124"/>
                    <a:pt x="181" y="124"/>
                    <a:pt x="181" y="124"/>
                  </a:cubicBezTo>
                  <a:cubicBezTo>
                    <a:pt x="181" y="124"/>
                    <a:pt x="182" y="124"/>
                    <a:pt x="182" y="124"/>
                  </a:cubicBezTo>
                  <a:cubicBezTo>
                    <a:pt x="182" y="124"/>
                    <a:pt x="182" y="125"/>
                    <a:pt x="182" y="125"/>
                  </a:cubicBezTo>
                  <a:cubicBezTo>
                    <a:pt x="182" y="125"/>
                    <a:pt x="182" y="126"/>
                    <a:pt x="182" y="126"/>
                  </a:cubicBezTo>
                  <a:cubicBezTo>
                    <a:pt x="182" y="126"/>
                    <a:pt x="182" y="126"/>
                    <a:pt x="182" y="126"/>
                  </a:cubicBezTo>
                  <a:cubicBezTo>
                    <a:pt x="182" y="127"/>
                    <a:pt x="183" y="127"/>
                    <a:pt x="183" y="127"/>
                  </a:cubicBezTo>
                  <a:cubicBezTo>
                    <a:pt x="183" y="127"/>
                    <a:pt x="183" y="128"/>
                    <a:pt x="184" y="128"/>
                  </a:cubicBezTo>
                  <a:cubicBezTo>
                    <a:pt x="184" y="128"/>
                    <a:pt x="184" y="128"/>
                    <a:pt x="184" y="127"/>
                  </a:cubicBezTo>
                  <a:cubicBezTo>
                    <a:pt x="184" y="127"/>
                    <a:pt x="184" y="127"/>
                    <a:pt x="184" y="127"/>
                  </a:cubicBezTo>
                  <a:cubicBezTo>
                    <a:pt x="184" y="127"/>
                    <a:pt x="184" y="126"/>
                    <a:pt x="184" y="126"/>
                  </a:cubicBezTo>
                  <a:cubicBezTo>
                    <a:pt x="184" y="126"/>
                    <a:pt x="184" y="125"/>
                    <a:pt x="184" y="125"/>
                  </a:cubicBezTo>
                  <a:cubicBezTo>
                    <a:pt x="185" y="125"/>
                    <a:pt x="185" y="125"/>
                    <a:pt x="185" y="125"/>
                  </a:cubicBezTo>
                  <a:cubicBezTo>
                    <a:pt x="185" y="125"/>
                    <a:pt x="185" y="125"/>
                    <a:pt x="185" y="126"/>
                  </a:cubicBezTo>
                  <a:cubicBezTo>
                    <a:pt x="184" y="126"/>
                    <a:pt x="185" y="127"/>
                    <a:pt x="184" y="127"/>
                  </a:cubicBezTo>
                  <a:cubicBezTo>
                    <a:pt x="184" y="127"/>
                    <a:pt x="184" y="127"/>
                    <a:pt x="184" y="127"/>
                  </a:cubicBezTo>
                  <a:cubicBezTo>
                    <a:pt x="184" y="128"/>
                    <a:pt x="184" y="128"/>
                    <a:pt x="184" y="128"/>
                  </a:cubicBezTo>
                  <a:cubicBezTo>
                    <a:pt x="184" y="128"/>
                    <a:pt x="185" y="127"/>
                    <a:pt x="185" y="127"/>
                  </a:cubicBezTo>
                  <a:cubicBezTo>
                    <a:pt x="185" y="128"/>
                    <a:pt x="185" y="128"/>
                    <a:pt x="185" y="128"/>
                  </a:cubicBezTo>
                  <a:cubicBezTo>
                    <a:pt x="185" y="128"/>
                    <a:pt x="186" y="130"/>
                    <a:pt x="186" y="130"/>
                  </a:cubicBezTo>
                  <a:cubicBezTo>
                    <a:pt x="186" y="130"/>
                    <a:pt x="187" y="131"/>
                    <a:pt x="187" y="131"/>
                  </a:cubicBezTo>
                  <a:cubicBezTo>
                    <a:pt x="187" y="131"/>
                    <a:pt x="187" y="131"/>
                    <a:pt x="187" y="132"/>
                  </a:cubicBezTo>
                  <a:cubicBezTo>
                    <a:pt x="187" y="132"/>
                    <a:pt x="187" y="132"/>
                    <a:pt x="187" y="132"/>
                  </a:cubicBezTo>
                  <a:cubicBezTo>
                    <a:pt x="187" y="132"/>
                    <a:pt x="187" y="132"/>
                    <a:pt x="187" y="133"/>
                  </a:cubicBezTo>
                  <a:cubicBezTo>
                    <a:pt x="187" y="133"/>
                    <a:pt x="188" y="133"/>
                    <a:pt x="188" y="133"/>
                  </a:cubicBezTo>
                  <a:cubicBezTo>
                    <a:pt x="188" y="133"/>
                    <a:pt x="188" y="134"/>
                    <a:pt x="188" y="134"/>
                  </a:cubicBezTo>
                  <a:cubicBezTo>
                    <a:pt x="188" y="134"/>
                    <a:pt x="188" y="134"/>
                    <a:pt x="188" y="135"/>
                  </a:cubicBezTo>
                  <a:cubicBezTo>
                    <a:pt x="188" y="135"/>
                    <a:pt x="188" y="135"/>
                    <a:pt x="188" y="135"/>
                  </a:cubicBezTo>
                  <a:cubicBezTo>
                    <a:pt x="188" y="135"/>
                    <a:pt x="189" y="135"/>
                    <a:pt x="189" y="136"/>
                  </a:cubicBezTo>
                  <a:cubicBezTo>
                    <a:pt x="189" y="136"/>
                    <a:pt x="190" y="137"/>
                    <a:pt x="190" y="137"/>
                  </a:cubicBezTo>
                  <a:cubicBezTo>
                    <a:pt x="190" y="137"/>
                    <a:pt x="190" y="138"/>
                    <a:pt x="190" y="138"/>
                  </a:cubicBezTo>
                  <a:cubicBezTo>
                    <a:pt x="190" y="138"/>
                    <a:pt x="190" y="139"/>
                    <a:pt x="190" y="139"/>
                  </a:cubicBezTo>
                  <a:cubicBezTo>
                    <a:pt x="190" y="139"/>
                    <a:pt x="190" y="139"/>
                    <a:pt x="190" y="139"/>
                  </a:cubicBezTo>
                  <a:cubicBezTo>
                    <a:pt x="190" y="140"/>
                    <a:pt x="190" y="140"/>
                    <a:pt x="190" y="140"/>
                  </a:cubicBezTo>
                  <a:cubicBezTo>
                    <a:pt x="190" y="140"/>
                    <a:pt x="190" y="141"/>
                    <a:pt x="191" y="141"/>
                  </a:cubicBezTo>
                  <a:cubicBezTo>
                    <a:pt x="191" y="141"/>
                    <a:pt x="191" y="142"/>
                    <a:pt x="191" y="142"/>
                  </a:cubicBezTo>
                  <a:cubicBezTo>
                    <a:pt x="191" y="142"/>
                    <a:pt x="192" y="142"/>
                    <a:pt x="192" y="142"/>
                  </a:cubicBezTo>
                  <a:cubicBezTo>
                    <a:pt x="192" y="143"/>
                    <a:pt x="193" y="143"/>
                    <a:pt x="193" y="144"/>
                  </a:cubicBezTo>
                  <a:cubicBezTo>
                    <a:pt x="193" y="144"/>
                    <a:pt x="193" y="145"/>
                    <a:pt x="193" y="145"/>
                  </a:cubicBezTo>
                  <a:cubicBezTo>
                    <a:pt x="193" y="145"/>
                    <a:pt x="193" y="145"/>
                    <a:pt x="193" y="146"/>
                  </a:cubicBezTo>
                  <a:cubicBezTo>
                    <a:pt x="193" y="146"/>
                    <a:pt x="194" y="147"/>
                    <a:pt x="194" y="147"/>
                  </a:cubicBezTo>
                  <a:cubicBezTo>
                    <a:pt x="194" y="147"/>
                    <a:pt x="194" y="147"/>
                    <a:pt x="194" y="148"/>
                  </a:cubicBezTo>
                  <a:cubicBezTo>
                    <a:pt x="194" y="148"/>
                    <a:pt x="195" y="148"/>
                    <a:pt x="195" y="148"/>
                  </a:cubicBezTo>
                  <a:cubicBezTo>
                    <a:pt x="195" y="149"/>
                    <a:pt x="195" y="149"/>
                    <a:pt x="195" y="149"/>
                  </a:cubicBezTo>
                  <a:cubicBezTo>
                    <a:pt x="195" y="150"/>
                    <a:pt x="195" y="150"/>
                    <a:pt x="195" y="150"/>
                  </a:cubicBezTo>
                  <a:cubicBezTo>
                    <a:pt x="195" y="151"/>
                    <a:pt x="195" y="151"/>
                    <a:pt x="195" y="151"/>
                  </a:cubicBezTo>
                  <a:cubicBezTo>
                    <a:pt x="195" y="151"/>
                    <a:pt x="195" y="151"/>
                    <a:pt x="195" y="152"/>
                  </a:cubicBezTo>
                  <a:cubicBezTo>
                    <a:pt x="195" y="152"/>
                    <a:pt x="195" y="153"/>
                    <a:pt x="195" y="153"/>
                  </a:cubicBezTo>
                  <a:cubicBezTo>
                    <a:pt x="196" y="154"/>
                    <a:pt x="196" y="154"/>
                    <a:pt x="196" y="154"/>
                  </a:cubicBezTo>
                  <a:cubicBezTo>
                    <a:pt x="196" y="155"/>
                    <a:pt x="196" y="155"/>
                    <a:pt x="196" y="155"/>
                  </a:cubicBezTo>
                  <a:cubicBezTo>
                    <a:pt x="196" y="156"/>
                    <a:pt x="196" y="156"/>
                    <a:pt x="196" y="156"/>
                  </a:cubicBezTo>
                  <a:cubicBezTo>
                    <a:pt x="196" y="156"/>
                    <a:pt x="196" y="156"/>
                    <a:pt x="196" y="156"/>
                  </a:cubicBezTo>
                  <a:cubicBezTo>
                    <a:pt x="196" y="156"/>
                    <a:pt x="197" y="157"/>
                    <a:pt x="197" y="156"/>
                  </a:cubicBezTo>
                  <a:cubicBezTo>
                    <a:pt x="197" y="156"/>
                    <a:pt x="197" y="156"/>
                    <a:pt x="198" y="156"/>
                  </a:cubicBezTo>
                  <a:cubicBezTo>
                    <a:pt x="198" y="156"/>
                    <a:pt x="198" y="156"/>
                    <a:pt x="198" y="156"/>
                  </a:cubicBezTo>
                  <a:cubicBezTo>
                    <a:pt x="198" y="156"/>
                    <a:pt x="198" y="156"/>
                    <a:pt x="198" y="156"/>
                  </a:cubicBezTo>
                  <a:cubicBezTo>
                    <a:pt x="199" y="155"/>
                    <a:pt x="199" y="155"/>
                    <a:pt x="199" y="155"/>
                  </a:cubicBezTo>
                  <a:cubicBezTo>
                    <a:pt x="199" y="155"/>
                    <a:pt x="200" y="155"/>
                    <a:pt x="200" y="155"/>
                  </a:cubicBezTo>
                  <a:cubicBezTo>
                    <a:pt x="200" y="155"/>
                    <a:pt x="201" y="155"/>
                    <a:pt x="201" y="155"/>
                  </a:cubicBezTo>
                  <a:cubicBezTo>
                    <a:pt x="201" y="154"/>
                    <a:pt x="201" y="155"/>
                    <a:pt x="201" y="155"/>
                  </a:cubicBezTo>
                  <a:cubicBezTo>
                    <a:pt x="201" y="154"/>
                    <a:pt x="202" y="154"/>
                    <a:pt x="202" y="154"/>
                  </a:cubicBezTo>
                  <a:cubicBezTo>
                    <a:pt x="202" y="154"/>
                    <a:pt x="202" y="154"/>
                    <a:pt x="202" y="154"/>
                  </a:cubicBezTo>
                  <a:cubicBezTo>
                    <a:pt x="203" y="154"/>
                    <a:pt x="203" y="154"/>
                    <a:pt x="203" y="153"/>
                  </a:cubicBezTo>
                  <a:cubicBezTo>
                    <a:pt x="204" y="153"/>
                    <a:pt x="204" y="152"/>
                    <a:pt x="204" y="152"/>
                  </a:cubicBezTo>
                  <a:cubicBezTo>
                    <a:pt x="204" y="152"/>
                    <a:pt x="205" y="152"/>
                    <a:pt x="205" y="152"/>
                  </a:cubicBezTo>
                  <a:cubicBezTo>
                    <a:pt x="205" y="152"/>
                    <a:pt x="205" y="152"/>
                    <a:pt x="205" y="152"/>
                  </a:cubicBezTo>
                  <a:cubicBezTo>
                    <a:pt x="206" y="152"/>
                    <a:pt x="206" y="152"/>
                    <a:pt x="206" y="152"/>
                  </a:cubicBezTo>
                  <a:cubicBezTo>
                    <a:pt x="207" y="151"/>
                    <a:pt x="207" y="151"/>
                    <a:pt x="207" y="151"/>
                  </a:cubicBezTo>
                  <a:cubicBezTo>
                    <a:pt x="207" y="151"/>
                    <a:pt x="208" y="150"/>
                    <a:pt x="208" y="150"/>
                  </a:cubicBezTo>
                  <a:cubicBezTo>
                    <a:pt x="208" y="150"/>
                    <a:pt x="208" y="149"/>
                    <a:pt x="208" y="149"/>
                  </a:cubicBezTo>
                  <a:cubicBezTo>
                    <a:pt x="208" y="149"/>
                    <a:pt x="209" y="149"/>
                    <a:pt x="209" y="149"/>
                  </a:cubicBezTo>
                  <a:cubicBezTo>
                    <a:pt x="210" y="148"/>
                    <a:pt x="210" y="148"/>
                    <a:pt x="211" y="148"/>
                  </a:cubicBezTo>
                  <a:cubicBezTo>
                    <a:pt x="211" y="148"/>
                    <a:pt x="211" y="149"/>
                    <a:pt x="211" y="148"/>
                  </a:cubicBezTo>
                  <a:cubicBezTo>
                    <a:pt x="211" y="148"/>
                    <a:pt x="212" y="148"/>
                    <a:pt x="212" y="147"/>
                  </a:cubicBezTo>
                  <a:cubicBezTo>
                    <a:pt x="212" y="147"/>
                    <a:pt x="212" y="147"/>
                    <a:pt x="212" y="147"/>
                  </a:cubicBezTo>
                  <a:cubicBezTo>
                    <a:pt x="212" y="147"/>
                    <a:pt x="212" y="146"/>
                    <a:pt x="212" y="146"/>
                  </a:cubicBezTo>
                  <a:cubicBezTo>
                    <a:pt x="213" y="146"/>
                    <a:pt x="213" y="146"/>
                    <a:pt x="213" y="146"/>
                  </a:cubicBezTo>
                  <a:cubicBezTo>
                    <a:pt x="213" y="146"/>
                    <a:pt x="213" y="146"/>
                    <a:pt x="213" y="146"/>
                  </a:cubicBezTo>
                  <a:cubicBezTo>
                    <a:pt x="213" y="145"/>
                    <a:pt x="214" y="145"/>
                    <a:pt x="214" y="145"/>
                  </a:cubicBezTo>
                  <a:cubicBezTo>
                    <a:pt x="214" y="145"/>
                    <a:pt x="215" y="144"/>
                    <a:pt x="215" y="145"/>
                  </a:cubicBezTo>
                  <a:cubicBezTo>
                    <a:pt x="215" y="145"/>
                    <a:pt x="215" y="144"/>
                    <a:pt x="215" y="143"/>
                  </a:cubicBezTo>
                  <a:cubicBezTo>
                    <a:pt x="215" y="143"/>
                    <a:pt x="215" y="143"/>
                    <a:pt x="215" y="142"/>
                  </a:cubicBezTo>
                  <a:cubicBezTo>
                    <a:pt x="215" y="142"/>
                    <a:pt x="216" y="141"/>
                    <a:pt x="216" y="141"/>
                  </a:cubicBezTo>
                  <a:cubicBezTo>
                    <a:pt x="216" y="142"/>
                    <a:pt x="216" y="142"/>
                    <a:pt x="216" y="142"/>
                  </a:cubicBezTo>
                  <a:cubicBezTo>
                    <a:pt x="216" y="142"/>
                    <a:pt x="216" y="142"/>
                    <a:pt x="216" y="142"/>
                  </a:cubicBezTo>
                  <a:cubicBezTo>
                    <a:pt x="216" y="141"/>
                    <a:pt x="217" y="140"/>
                    <a:pt x="217" y="140"/>
                  </a:cubicBezTo>
                  <a:cubicBezTo>
                    <a:pt x="217" y="140"/>
                    <a:pt x="217" y="139"/>
                    <a:pt x="217" y="139"/>
                  </a:cubicBezTo>
                  <a:cubicBezTo>
                    <a:pt x="217" y="139"/>
                    <a:pt x="218" y="138"/>
                    <a:pt x="218" y="138"/>
                  </a:cubicBezTo>
                  <a:cubicBezTo>
                    <a:pt x="218" y="138"/>
                    <a:pt x="217" y="138"/>
                    <a:pt x="217" y="138"/>
                  </a:cubicBezTo>
                  <a:cubicBezTo>
                    <a:pt x="217" y="138"/>
                    <a:pt x="217" y="137"/>
                    <a:pt x="217" y="137"/>
                  </a:cubicBezTo>
                  <a:cubicBezTo>
                    <a:pt x="216" y="136"/>
                    <a:pt x="216" y="136"/>
                    <a:pt x="216" y="136"/>
                  </a:cubicBezTo>
                  <a:cubicBezTo>
                    <a:pt x="216" y="136"/>
                    <a:pt x="215" y="136"/>
                    <a:pt x="215" y="135"/>
                  </a:cubicBezTo>
                  <a:cubicBezTo>
                    <a:pt x="214" y="135"/>
                    <a:pt x="213" y="134"/>
                    <a:pt x="213" y="133"/>
                  </a:cubicBezTo>
                  <a:cubicBezTo>
                    <a:pt x="213" y="133"/>
                    <a:pt x="213" y="132"/>
                    <a:pt x="213" y="132"/>
                  </a:cubicBezTo>
                  <a:cubicBezTo>
                    <a:pt x="213" y="132"/>
                    <a:pt x="213" y="131"/>
                    <a:pt x="213" y="131"/>
                  </a:cubicBezTo>
                  <a:cubicBezTo>
                    <a:pt x="213" y="131"/>
                    <a:pt x="213" y="131"/>
                    <a:pt x="213" y="131"/>
                  </a:cubicBezTo>
                  <a:cubicBezTo>
                    <a:pt x="213" y="131"/>
                    <a:pt x="213" y="131"/>
                    <a:pt x="213" y="131"/>
                  </a:cubicBezTo>
                  <a:cubicBezTo>
                    <a:pt x="213" y="131"/>
                    <a:pt x="213" y="131"/>
                    <a:pt x="213" y="131"/>
                  </a:cubicBezTo>
                  <a:cubicBezTo>
                    <a:pt x="213" y="131"/>
                    <a:pt x="213" y="132"/>
                    <a:pt x="213" y="132"/>
                  </a:cubicBezTo>
                  <a:cubicBezTo>
                    <a:pt x="212" y="132"/>
                    <a:pt x="212" y="132"/>
                    <a:pt x="212" y="133"/>
                  </a:cubicBezTo>
                  <a:cubicBezTo>
                    <a:pt x="212" y="133"/>
                    <a:pt x="211" y="133"/>
                    <a:pt x="211" y="133"/>
                  </a:cubicBezTo>
                  <a:cubicBezTo>
                    <a:pt x="211" y="134"/>
                    <a:pt x="211" y="134"/>
                    <a:pt x="211" y="134"/>
                  </a:cubicBezTo>
                  <a:cubicBezTo>
                    <a:pt x="211" y="134"/>
                    <a:pt x="210" y="134"/>
                    <a:pt x="210" y="134"/>
                  </a:cubicBezTo>
                  <a:cubicBezTo>
                    <a:pt x="210" y="134"/>
                    <a:pt x="210" y="134"/>
                    <a:pt x="210" y="135"/>
                  </a:cubicBezTo>
                  <a:cubicBezTo>
                    <a:pt x="210" y="135"/>
                    <a:pt x="210" y="134"/>
                    <a:pt x="210" y="134"/>
                  </a:cubicBezTo>
                  <a:cubicBezTo>
                    <a:pt x="210" y="134"/>
                    <a:pt x="210" y="135"/>
                    <a:pt x="210" y="135"/>
                  </a:cubicBezTo>
                  <a:cubicBezTo>
                    <a:pt x="210" y="135"/>
                    <a:pt x="210" y="135"/>
                    <a:pt x="210" y="135"/>
                  </a:cubicBezTo>
                  <a:cubicBezTo>
                    <a:pt x="209" y="135"/>
                    <a:pt x="209" y="135"/>
                    <a:pt x="209" y="135"/>
                  </a:cubicBezTo>
                  <a:cubicBezTo>
                    <a:pt x="210" y="135"/>
                    <a:pt x="210" y="135"/>
                    <a:pt x="210" y="135"/>
                  </a:cubicBezTo>
                  <a:cubicBezTo>
                    <a:pt x="210" y="135"/>
                    <a:pt x="210" y="135"/>
                    <a:pt x="209" y="135"/>
                  </a:cubicBezTo>
                  <a:cubicBezTo>
                    <a:pt x="209" y="135"/>
                    <a:pt x="208" y="135"/>
                    <a:pt x="208" y="135"/>
                  </a:cubicBezTo>
                  <a:cubicBezTo>
                    <a:pt x="208" y="135"/>
                    <a:pt x="207" y="135"/>
                    <a:pt x="207" y="135"/>
                  </a:cubicBezTo>
                  <a:cubicBezTo>
                    <a:pt x="207" y="135"/>
                    <a:pt x="207" y="135"/>
                    <a:pt x="207" y="135"/>
                  </a:cubicBezTo>
                  <a:cubicBezTo>
                    <a:pt x="207" y="135"/>
                    <a:pt x="207" y="135"/>
                    <a:pt x="207" y="135"/>
                  </a:cubicBezTo>
                  <a:cubicBezTo>
                    <a:pt x="207" y="135"/>
                    <a:pt x="206" y="134"/>
                    <a:pt x="206" y="134"/>
                  </a:cubicBezTo>
                  <a:cubicBezTo>
                    <a:pt x="206" y="134"/>
                    <a:pt x="206" y="134"/>
                    <a:pt x="206" y="134"/>
                  </a:cubicBezTo>
                  <a:cubicBezTo>
                    <a:pt x="207" y="134"/>
                    <a:pt x="207" y="134"/>
                    <a:pt x="207" y="133"/>
                  </a:cubicBezTo>
                  <a:cubicBezTo>
                    <a:pt x="207" y="133"/>
                    <a:pt x="207" y="132"/>
                    <a:pt x="207" y="132"/>
                  </a:cubicBezTo>
                  <a:cubicBezTo>
                    <a:pt x="207" y="132"/>
                    <a:pt x="207" y="132"/>
                    <a:pt x="207" y="132"/>
                  </a:cubicBezTo>
                  <a:cubicBezTo>
                    <a:pt x="207" y="131"/>
                    <a:pt x="206" y="131"/>
                    <a:pt x="206" y="131"/>
                  </a:cubicBezTo>
                  <a:cubicBezTo>
                    <a:pt x="206" y="131"/>
                    <a:pt x="206" y="131"/>
                    <a:pt x="206" y="131"/>
                  </a:cubicBezTo>
                  <a:cubicBezTo>
                    <a:pt x="206" y="132"/>
                    <a:pt x="206" y="132"/>
                    <a:pt x="206" y="132"/>
                  </a:cubicBezTo>
                  <a:cubicBezTo>
                    <a:pt x="206" y="132"/>
                    <a:pt x="206" y="133"/>
                    <a:pt x="206" y="133"/>
                  </a:cubicBezTo>
                  <a:cubicBezTo>
                    <a:pt x="206" y="133"/>
                    <a:pt x="206" y="134"/>
                    <a:pt x="206" y="134"/>
                  </a:cubicBezTo>
                  <a:cubicBezTo>
                    <a:pt x="205" y="134"/>
                    <a:pt x="205" y="133"/>
                    <a:pt x="205" y="133"/>
                  </a:cubicBezTo>
                  <a:cubicBezTo>
                    <a:pt x="205" y="132"/>
                    <a:pt x="205" y="132"/>
                    <a:pt x="205" y="132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5" y="130"/>
                    <a:pt x="205" y="130"/>
                    <a:pt x="205" y="130"/>
                  </a:cubicBezTo>
                  <a:cubicBezTo>
                    <a:pt x="205" y="130"/>
                    <a:pt x="205" y="130"/>
                    <a:pt x="204" y="130"/>
                  </a:cubicBezTo>
                  <a:cubicBezTo>
                    <a:pt x="204" y="129"/>
                    <a:pt x="204" y="129"/>
                    <a:pt x="204" y="129"/>
                  </a:cubicBezTo>
                  <a:cubicBezTo>
                    <a:pt x="204" y="129"/>
                    <a:pt x="204" y="129"/>
                    <a:pt x="204" y="129"/>
                  </a:cubicBezTo>
                  <a:cubicBezTo>
                    <a:pt x="204" y="129"/>
                    <a:pt x="204" y="128"/>
                    <a:pt x="203" y="128"/>
                  </a:cubicBezTo>
                  <a:cubicBezTo>
                    <a:pt x="203" y="128"/>
                    <a:pt x="203" y="128"/>
                    <a:pt x="203" y="128"/>
                  </a:cubicBezTo>
                  <a:cubicBezTo>
                    <a:pt x="203" y="128"/>
                    <a:pt x="203" y="128"/>
                    <a:pt x="203" y="127"/>
                  </a:cubicBezTo>
                  <a:cubicBezTo>
                    <a:pt x="203" y="127"/>
                    <a:pt x="202" y="126"/>
                    <a:pt x="202" y="126"/>
                  </a:cubicBezTo>
                  <a:cubicBezTo>
                    <a:pt x="202" y="126"/>
                    <a:pt x="202" y="125"/>
                    <a:pt x="202" y="125"/>
                  </a:cubicBezTo>
                  <a:cubicBezTo>
                    <a:pt x="202" y="125"/>
                    <a:pt x="202" y="125"/>
                    <a:pt x="202" y="125"/>
                  </a:cubicBezTo>
                  <a:cubicBezTo>
                    <a:pt x="203" y="125"/>
                    <a:pt x="203" y="124"/>
                    <a:pt x="203" y="124"/>
                  </a:cubicBezTo>
                  <a:cubicBezTo>
                    <a:pt x="203" y="124"/>
                    <a:pt x="203" y="124"/>
                    <a:pt x="203" y="124"/>
                  </a:cubicBezTo>
                  <a:cubicBezTo>
                    <a:pt x="204" y="124"/>
                    <a:pt x="204" y="124"/>
                    <a:pt x="204" y="124"/>
                  </a:cubicBezTo>
                  <a:cubicBezTo>
                    <a:pt x="204" y="124"/>
                    <a:pt x="205" y="123"/>
                    <a:pt x="205" y="124"/>
                  </a:cubicBezTo>
                  <a:cubicBezTo>
                    <a:pt x="205" y="124"/>
                    <a:pt x="205" y="124"/>
                    <a:pt x="205" y="124"/>
                  </a:cubicBezTo>
                  <a:cubicBezTo>
                    <a:pt x="205" y="124"/>
                    <a:pt x="205" y="125"/>
                    <a:pt x="205" y="125"/>
                  </a:cubicBezTo>
                  <a:cubicBezTo>
                    <a:pt x="205" y="125"/>
                    <a:pt x="206" y="126"/>
                    <a:pt x="206" y="126"/>
                  </a:cubicBezTo>
                  <a:cubicBezTo>
                    <a:pt x="206" y="126"/>
                    <a:pt x="206" y="126"/>
                    <a:pt x="206" y="126"/>
                  </a:cubicBezTo>
                  <a:cubicBezTo>
                    <a:pt x="206" y="127"/>
                    <a:pt x="206" y="128"/>
                    <a:pt x="207" y="128"/>
                  </a:cubicBezTo>
                  <a:cubicBezTo>
                    <a:pt x="207" y="128"/>
                    <a:pt x="207" y="128"/>
                    <a:pt x="207" y="128"/>
                  </a:cubicBezTo>
                  <a:cubicBezTo>
                    <a:pt x="208" y="128"/>
                    <a:pt x="208" y="129"/>
                    <a:pt x="208" y="129"/>
                  </a:cubicBezTo>
                  <a:cubicBezTo>
                    <a:pt x="208" y="129"/>
                    <a:pt x="208" y="129"/>
                    <a:pt x="208" y="129"/>
                  </a:cubicBezTo>
                  <a:cubicBezTo>
                    <a:pt x="208" y="129"/>
                    <a:pt x="209" y="129"/>
                    <a:pt x="209" y="130"/>
                  </a:cubicBezTo>
                  <a:cubicBezTo>
                    <a:pt x="209" y="130"/>
                    <a:pt x="209" y="130"/>
                    <a:pt x="210" y="130"/>
                  </a:cubicBezTo>
                  <a:cubicBezTo>
                    <a:pt x="210" y="130"/>
                    <a:pt x="210" y="130"/>
                    <a:pt x="211" y="130"/>
                  </a:cubicBezTo>
                  <a:cubicBezTo>
                    <a:pt x="211" y="130"/>
                    <a:pt x="211" y="131"/>
                    <a:pt x="211" y="130"/>
                  </a:cubicBezTo>
                  <a:cubicBezTo>
                    <a:pt x="211" y="130"/>
                    <a:pt x="212" y="130"/>
                    <a:pt x="212" y="130"/>
                  </a:cubicBezTo>
                  <a:cubicBezTo>
                    <a:pt x="212" y="130"/>
                    <a:pt x="212" y="130"/>
                    <a:pt x="212" y="130"/>
                  </a:cubicBezTo>
                  <a:cubicBezTo>
                    <a:pt x="212" y="130"/>
                    <a:pt x="212" y="130"/>
                    <a:pt x="212" y="130"/>
                  </a:cubicBezTo>
                  <a:cubicBezTo>
                    <a:pt x="212" y="130"/>
                    <a:pt x="212" y="130"/>
                    <a:pt x="213" y="130"/>
                  </a:cubicBezTo>
                  <a:cubicBezTo>
                    <a:pt x="213" y="130"/>
                    <a:pt x="213" y="130"/>
                    <a:pt x="213" y="130"/>
                  </a:cubicBezTo>
                  <a:cubicBezTo>
                    <a:pt x="213" y="129"/>
                    <a:pt x="213" y="129"/>
                    <a:pt x="213" y="130"/>
                  </a:cubicBezTo>
                  <a:cubicBezTo>
                    <a:pt x="212" y="130"/>
                    <a:pt x="213" y="129"/>
                    <a:pt x="213" y="129"/>
                  </a:cubicBezTo>
                  <a:cubicBezTo>
                    <a:pt x="213" y="129"/>
                    <a:pt x="214" y="129"/>
                    <a:pt x="214" y="130"/>
                  </a:cubicBezTo>
                  <a:cubicBezTo>
                    <a:pt x="214" y="130"/>
                    <a:pt x="214" y="131"/>
                    <a:pt x="214" y="131"/>
                  </a:cubicBezTo>
                  <a:cubicBezTo>
                    <a:pt x="214" y="131"/>
                    <a:pt x="214" y="132"/>
                    <a:pt x="214" y="132"/>
                  </a:cubicBezTo>
                  <a:cubicBezTo>
                    <a:pt x="215" y="132"/>
                    <a:pt x="215" y="132"/>
                    <a:pt x="215" y="132"/>
                  </a:cubicBezTo>
                  <a:cubicBezTo>
                    <a:pt x="215" y="132"/>
                    <a:pt x="216" y="132"/>
                    <a:pt x="216" y="132"/>
                  </a:cubicBezTo>
                  <a:cubicBezTo>
                    <a:pt x="216" y="132"/>
                    <a:pt x="216" y="132"/>
                    <a:pt x="217" y="132"/>
                  </a:cubicBezTo>
                  <a:cubicBezTo>
                    <a:pt x="217" y="132"/>
                    <a:pt x="217" y="132"/>
                    <a:pt x="217" y="132"/>
                  </a:cubicBezTo>
                  <a:cubicBezTo>
                    <a:pt x="217" y="132"/>
                    <a:pt x="218" y="133"/>
                    <a:pt x="218" y="133"/>
                  </a:cubicBezTo>
                  <a:cubicBezTo>
                    <a:pt x="218" y="133"/>
                    <a:pt x="219" y="133"/>
                    <a:pt x="219" y="133"/>
                  </a:cubicBezTo>
                  <a:cubicBezTo>
                    <a:pt x="219" y="133"/>
                    <a:pt x="220" y="133"/>
                    <a:pt x="220" y="133"/>
                  </a:cubicBezTo>
                  <a:cubicBezTo>
                    <a:pt x="220" y="133"/>
                    <a:pt x="220" y="133"/>
                    <a:pt x="220" y="133"/>
                  </a:cubicBezTo>
                  <a:cubicBezTo>
                    <a:pt x="220" y="133"/>
                    <a:pt x="221" y="133"/>
                    <a:pt x="221" y="133"/>
                  </a:cubicBezTo>
                  <a:cubicBezTo>
                    <a:pt x="221" y="133"/>
                    <a:pt x="222" y="133"/>
                    <a:pt x="222" y="133"/>
                  </a:cubicBezTo>
                  <a:cubicBezTo>
                    <a:pt x="222" y="133"/>
                    <a:pt x="223" y="133"/>
                    <a:pt x="223" y="133"/>
                  </a:cubicBezTo>
                  <a:cubicBezTo>
                    <a:pt x="223" y="133"/>
                    <a:pt x="224" y="133"/>
                    <a:pt x="225" y="133"/>
                  </a:cubicBezTo>
                  <a:cubicBezTo>
                    <a:pt x="225" y="132"/>
                    <a:pt x="226" y="132"/>
                    <a:pt x="226" y="132"/>
                  </a:cubicBezTo>
                  <a:cubicBezTo>
                    <a:pt x="226" y="132"/>
                    <a:pt x="227" y="133"/>
                    <a:pt x="227" y="133"/>
                  </a:cubicBezTo>
                  <a:cubicBezTo>
                    <a:pt x="227" y="133"/>
                    <a:pt x="227" y="134"/>
                    <a:pt x="227" y="134"/>
                  </a:cubicBezTo>
                  <a:cubicBezTo>
                    <a:pt x="227" y="134"/>
                    <a:pt x="227" y="133"/>
                    <a:pt x="227" y="134"/>
                  </a:cubicBezTo>
                  <a:cubicBezTo>
                    <a:pt x="227" y="134"/>
                    <a:pt x="228" y="134"/>
                    <a:pt x="228" y="135"/>
                  </a:cubicBezTo>
                  <a:cubicBezTo>
                    <a:pt x="228" y="135"/>
                    <a:pt x="228" y="135"/>
                    <a:pt x="228" y="135"/>
                  </a:cubicBezTo>
                  <a:cubicBezTo>
                    <a:pt x="228" y="136"/>
                    <a:pt x="229" y="136"/>
                    <a:pt x="229" y="136"/>
                  </a:cubicBezTo>
                  <a:cubicBezTo>
                    <a:pt x="229" y="136"/>
                    <a:pt x="229" y="137"/>
                    <a:pt x="229" y="137"/>
                  </a:cubicBezTo>
                  <a:cubicBezTo>
                    <a:pt x="230" y="137"/>
                    <a:pt x="230" y="137"/>
                    <a:pt x="230" y="137"/>
                  </a:cubicBezTo>
                  <a:cubicBezTo>
                    <a:pt x="230" y="137"/>
                    <a:pt x="230" y="138"/>
                    <a:pt x="231" y="138"/>
                  </a:cubicBezTo>
                  <a:cubicBezTo>
                    <a:pt x="231" y="137"/>
                    <a:pt x="231" y="137"/>
                    <a:pt x="231" y="137"/>
                  </a:cubicBezTo>
                  <a:cubicBezTo>
                    <a:pt x="232" y="138"/>
                    <a:pt x="231" y="138"/>
                    <a:pt x="231" y="138"/>
                  </a:cubicBezTo>
                  <a:cubicBezTo>
                    <a:pt x="231" y="138"/>
                    <a:pt x="231" y="138"/>
                    <a:pt x="231" y="138"/>
                  </a:cubicBezTo>
                  <a:cubicBezTo>
                    <a:pt x="231" y="138"/>
                    <a:pt x="230" y="138"/>
                    <a:pt x="230" y="138"/>
                  </a:cubicBezTo>
                  <a:cubicBezTo>
                    <a:pt x="230" y="138"/>
                    <a:pt x="230" y="138"/>
                    <a:pt x="230" y="138"/>
                  </a:cubicBezTo>
                  <a:cubicBezTo>
                    <a:pt x="230" y="138"/>
                    <a:pt x="230" y="138"/>
                    <a:pt x="230" y="139"/>
                  </a:cubicBezTo>
                  <a:cubicBezTo>
                    <a:pt x="230" y="139"/>
                    <a:pt x="231" y="139"/>
                    <a:pt x="231" y="140"/>
                  </a:cubicBezTo>
                  <a:cubicBezTo>
                    <a:pt x="231" y="140"/>
                    <a:pt x="231" y="141"/>
                    <a:pt x="231" y="141"/>
                  </a:cubicBezTo>
                  <a:cubicBezTo>
                    <a:pt x="232" y="141"/>
                    <a:pt x="232" y="141"/>
                    <a:pt x="232" y="141"/>
                  </a:cubicBezTo>
                  <a:cubicBezTo>
                    <a:pt x="232" y="141"/>
                    <a:pt x="233" y="141"/>
                    <a:pt x="233" y="141"/>
                  </a:cubicBezTo>
                  <a:cubicBezTo>
                    <a:pt x="233" y="141"/>
                    <a:pt x="233" y="142"/>
                    <a:pt x="233" y="142"/>
                  </a:cubicBezTo>
                  <a:cubicBezTo>
                    <a:pt x="233" y="142"/>
                    <a:pt x="233" y="142"/>
                    <a:pt x="234" y="142"/>
                  </a:cubicBezTo>
                  <a:cubicBezTo>
                    <a:pt x="234" y="142"/>
                    <a:pt x="234" y="142"/>
                    <a:pt x="234" y="142"/>
                  </a:cubicBezTo>
                  <a:cubicBezTo>
                    <a:pt x="234" y="142"/>
                    <a:pt x="234" y="142"/>
                    <a:pt x="234" y="142"/>
                  </a:cubicBezTo>
                  <a:cubicBezTo>
                    <a:pt x="235" y="142"/>
                    <a:pt x="235" y="143"/>
                    <a:pt x="234" y="143"/>
                  </a:cubicBezTo>
                  <a:cubicBezTo>
                    <a:pt x="234" y="144"/>
                    <a:pt x="234" y="144"/>
                    <a:pt x="235" y="144"/>
                  </a:cubicBezTo>
                  <a:cubicBezTo>
                    <a:pt x="235" y="144"/>
                    <a:pt x="235" y="144"/>
                    <a:pt x="235" y="145"/>
                  </a:cubicBezTo>
                  <a:cubicBezTo>
                    <a:pt x="235" y="145"/>
                    <a:pt x="235" y="146"/>
                    <a:pt x="235" y="146"/>
                  </a:cubicBezTo>
                  <a:cubicBezTo>
                    <a:pt x="235" y="146"/>
                    <a:pt x="236" y="148"/>
                    <a:pt x="236" y="148"/>
                  </a:cubicBezTo>
                  <a:cubicBezTo>
                    <a:pt x="236" y="149"/>
                    <a:pt x="236" y="150"/>
                    <a:pt x="236" y="150"/>
                  </a:cubicBezTo>
                  <a:cubicBezTo>
                    <a:pt x="236" y="150"/>
                    <a:pt x="236" y="152"/>
                    <a:pt x="236" y="152"/>
                  </a:cubicBezTo>
                  <a:cubicBezTo>
                    <a:pt x="236" y="152"/>
                    <a:pt x="237" y="153"/>
                    <a:pt x="237" y="153"/>
                  </a:cubicBezTo>
                  <a:cubicBezTo>
                    <a:pt x="237" y="154"/>
                    <a:pt x="238" y="154"/>
                    <a:pt x="238" y="155"/>
                  </a:cubicBezTo>
                  <a:cubicBezTo>
                    <a:pt x="238" y="155"/>
                    <a:pt x="237" y="156"/>
                    <a:pt x="238" y="156"/>
                  </a:cubicBezTo>
                  <a:cubicBezTo>
                    <a:pt x="238" y="157"/>
                    <a:pt x="238" y="157"/>
                    <a:pt x="238" y="158"/>
                  </a:cubicBezTo>
                  <a:cubicBezTo>
                    <a:pt x="238" y="158"/>
                    <a:pt x="239" y="158"/>
                    <a:pt x="239" y="159"/>
                  </a:cubicBezTo>
                  <a:cubicBezTo>
                    <a:pt x="239" y="159"/>
                    <a:pt x="239" y="160"/>
                    <a:pt x="239" y="160"/>
                  </a:cubicBezTo>
                  <a:cubicBezTo>
                    <a:pt x="239" y="161"/>
                    <a:pt x="239" y="161"/>
                    <a:pt x="240" y="162"/>
                  </a:cubicBezTo>
                  <a:cubicBezTo>
                    <a:pt x="240" y="162"/>
                    <a:pt x="240" y="163"/>
                    <a:pt x="240" y="164"/>
                  </a:cubicBezTo>
                  <a:cubicBezTo>
                    <a:pt x="240" y="164"/>
                    <a:pt x="241" y="165"/>
                    <a:pt x="241" y="165"/>
                  </a:cubicBezTo>
                  <a:cubicBezTo>
                    <a:pt x="242" y="165"/>
                    <a:pt x="242" y="165"/>
                    <a:pt x="242" y="164"/>
                  </a:cubicBezTo>
                  <a:cubicBezTo>
                    <a:pt x="242" y="164"/>
                    <a:pt x="242" y="164"/>
                    <a:pt x="242" y="164"/>
                  </a:cubicBezTo>
                  <a:cubicBezTo>
                    <a:pt x="242" y="163"/>
                    <a:pt x="242" y="163"/>
                    <a:pt x="242" y="163"/>
                  </a:cubicBezTo>
                  <a:cubicBezTo>
                    <a:pt x="243" y="163"/>
                    <a:pt x="243" y="163"/>
                    <a:pt x="243" y="163"/>
                  </a:cubicBezTo>
                  <a:cubicBezTo>
                    <a:pt x="243" y="163"/>
                    <a:pt x="243" y="162"/>
                    <a:pt x="243" y="162"/>
                  </a:cubicBezTo>
                  <a:cubicBezTo>
                    <a:pt x="243" y="162"/>
                    <a:pt x="243" y="162"/>
                    <a:pt x="243" y="162"/>
                  </a:cubicBezTo>
                  <a:cubicBezTo>
                    <a:pt x="243" y="161"/>
                    <a:pt x="244" y="161"/>
                    <a:pt x="244" y="161"/>
                  </a:cubicBezTo>
                  <a:cubicBezTo>
                    <a:pt x="244" y="161"/>
                    <a:pt x="244" y="161"/>
                    <a:pt x="244" y="161"/>
                  </a:cubicBezTo>
                  <a:cubicBezTo>
                    <a:pt x="244" y="161"/>
                    <a:pt x="244" y="161"/>
                    <a:pt x="244" y="160"/>
                  </a:cubicBezTo>
                  <a:cubicBezTo>
                    <a:pt x="244" y="160"/>
                    <a:pt x="244" y="159"/>
                    <a:pt x="244" y="159"/>
                  </a:cubicBezTo>
                  <a:cubicBezTo>
                    <a:pt x="244" y="159"/>
                    <a:pt x="244" y="158"/>
                    <a:pt x="244" y="157"/>
                  </a:cubicBezTo>
                  <a:cubicBezTo>
                    <a:pt x="245" y="157"/>
                    <a:pt x="245" y="156"/>
                    <a:pt x="245" y="155"/>
                  </a:cubicBezTo>
                  <a:cubicBezTo>
                    <a:pt x="245" y="155"/>
                    <a:pt x="245" y="152"/>
                    <a:pt x="245" y="152"/>
                  </a:cubicBezTo>
                  <a:cubicBezTo>
                    <a:pt x="245" y="152"/>
                    <a:pt x="245" y="150"/>
                    <a:pt x="245" y="150"/>
                  </a:cubicBezTo>
                  <a:cubicBezTo>
                    <a:pt x="246" y="151"/>
                    <a:pt x="246" y="150"/>
                    <a:pt x="246" y="150"/>
                  </a:cubicBezTo>
                  <a:cubicBezTo>
                    <a:pt x="246" y="150"/>
                    <a:pt x="246" y="149"/>
                    <a:pt x="246" y="149"/>
                  </a:cubicBezTo>
                  <a:cubicBezTo>
                    <a:pt x="246" y="149"/>
                    <a:pt x="247" y="149"/>
                    <a:pt x="247" y="149"/>
                  </a:cubicBezTo>
                  <a:cubicBezTo>
                    <a:pt x="247" y="149"/>
                    <a:pt x="248" y="149"/>
                    <a:pt x="248" y="148"/>
                  </a:cubicBezTo>
                  <a:cubicBezTo>
                    <a:pt x="248" y="148"/>
                    <a:pt x="248" y="148"/>
                    <a:pt x="248" y="148"/>
                  </a:cubicBezTo>
                  <a:cubicBezTo>
                    <a:pt x="248" y="147"/>
                    <a:pt x="249" y="147"/>
                    <a:pt x="249" y="147"/>
                  </a:cubicBezTo>
                  <a:cubicBezTo>
                    <a:pt x="249" y="147"/>
                    <a:pt x="249" y="147"/>
                    <a:pt x="249" y="146"/>
                  </a:cubicBezTo>
                  <a:cubicBezTo>
                    <a:pt x="249" y="146"/>
                    <a:pt x="250" y="146"/>
                    <a:pt x="250" y="145"/>
                  </a:cubicBezTo>
                  <a:cubicBezTo>
                    <a:pt x="250" y="145"/>
                    <a:pt x="251" y="145"/>
                    <a:pt x="251" y="145"/>
                  </a:cubicBezTo>
                  <a:cubicBezTo>
                    <a:pt x="251" y="144"/>
                    <a:pt x="251" y="143"/>
                    <a:pt x="252" y="143"/>
                  </a:cubicBezTo>
                  <a:cubicBezTo>
                    <a:pt x="252" y="143"/>
                    <a:pt x="252" y="143"/>
                    <a:pt x="253" y="143"/>
                  </a:cubicBezTo>
                  <a:cubicBezTo>
                    <a:pt x="253" y="143"/>
                    <a:pt x="253" y="142"/>
                    <a:pt x="253" y="142"/>
                  </a:cubicBezTo>
                  <a:cubicBezTo>
                    <a:pt x="254" y="142"/>
                    <a:pt x="254" y="141"/>
                    <a:pt x="254" y="141"/>
                  </a:cubicBezTo>
                  <a:cubicBezTo>
                    <a:pt x="254" y="141"/>
                    <a:pt x="254" y="141"/>
                    <a:pt x="254" y="140"/>
                  </a:cubicBezTo>
                  <a:cubicBezTo>
                    <a:pt x="254" y="140"/>
                    <a:pt x="254" y="140"/>
                    <a:pt x="254" y="140"/>
                  </a:cubicBezTo>
                  <a:cubicBezTo>
                    <a:pt x="255" y="140"/>
                    <a:pt x="255" y="140"/>
                    <a:pt x="255" y="140"/>
                  </a:cubicBezTo>
                  <a:cubicBezTo>
                    <a:pt x="255" y="140"/>
                    <a:pt x="255" y="140"/>
                    <a:pt x="256" y="140"/>
                  </a:cubicBezTo>
                  <a:cubicBezTo>
                    <a:pt x="256" y="140"/>
                    <a:pt x="256" y="140"/>
                    <a:pt x="256" y="140"/>
                  </a:cubicBezTo>
                  <a:cubicBezTo>
                    <a:pt x="256" y="140"/>
                    <a:pt x="257" y="140"/>
                    <a:pt x="257" y="140"/>
                  </a:cubicBezTo>
                  <a:cubicBezTo>
                    <a:pt x="257" y="140"/>
                    <a:pt x="257" y="139"/>
                    <a:pt x="258" y="140"/>
                  </a:cubicBezTo>
                  <a:cubicBezTo>
                    <a:pt x="258" y="140"/>
                    <a:pt x="258" y="140"/>
                    <a:pt x="258" y="140"/>
                  </a:cubicBezTo>
                  <a:cubicBezTo>
                    <a:pt x="259" y="140"/>
                    <a:pt x="259" y="140"/>
                    <a:pt x="259" y="140"/>
                  </a:cubicBezTo>
                  <a:cubicBezTo>
                    <a:pt x="259" y="139"/>
                    <a:pt x="260" y="138"/>
                    <a:pt x="260" y="139"/>
                  </a:cubicBezTo>
                  <a:cubicBezTo>
                    <a:pt x="260" y="140"/>
                    <a:pt x="261" y="140"/>
                    <a:pt x="261" y="141"/>
                  </a:cubicBezTo>
                  <a:cubicBezTo>
                    <a:pt x="261" y="141"/>
                    <a:pt x="261" y="142"/>
                    <a:pt x="262" y="142"/>
                  </a:cubicBezTo>
                  <a:cubicBezTo>
                    <a:pt x="262" y="142"/>
                    <a:pt x="262" y="143"/>
                    <a:pt x="262" y="143"/>
                  </a:cubicBezTo>
                  <a:cubicBezTo>
                    <a:pt x="262" y="143"/>
                    <a:pt x="262" y="142"/>
                    <a:pt x="262" y="143"/>
                  </a:cubicBezTo>
                  <a:cubicBezTo>
                    <a:pt x="262" y="143"/>
                    <a:pt x="263" y="143"/>
                    <a:pt x="263" y="143"/>
                  </a:cubicBezTo>
                  <a:cubicBezTo>
                    <a:pt x="263" y="143"/>
                    <a:pt x="263" y="144"/>
                    <a:pt x="263" y="144"/>
                  </a:cubicBezTo>
                  <a:cubicBezTo>
                    <a:pt x="263" y="144"/>
                    <a:pt x="263" y="145"/>
                    <a:pt x="263" y="145"/>
                  </a:cubicBezTo>
                  <a:cubicBezTo>
                    <a:pt x="263" y="145"/>
                    <a:pt x="263" y="145"/>
                    <a:pt x="263" y="145"/>
                  </a:cubicBezTo>
                  <a:cubicBezTo>
                    <a:pt x="263" y="145"/>
                    <a:pt x="264" y="146"/>
                    <a:pt x="264" y="147"/>
                  </a:cubicBezTo>
                  <a:cubicBezTo>
                    <a:pt x="264" y="147"/>
                    <a:pt x="264" y="147"/>
                    <a:pt x="264" y="148"/>
                  </a:cubicBezTo>
                  <a:cubicBezTo>
                    <a:pt x="264" y="148"/>
                    <a:pt x="264" y="148"/>
                    <a:pt x="264" y="149"/>
                  </a:cubicBezTo>
                  <a:cubicBezTo>
                    <a:pt x="264" y="149"/>
                    <a:pt x="264" y="149"/>
                    <a:pt x="264" y="150"/>
                  </a:cubicBezTo>
                  <a:cubicBezTo>
                    <a:pt x="263" y="150"/>
                    <a:pt x="264" y="150"/>
                    <a:pt x="264" y="150"/>
                  </a:cubicBezTo>
                  <a:cubicBezTo>
                    <a:pt x="264" y="150"/>
                    <a:pt x="264" y="150"/>
                    <a:pt x="264" y="151"/>
                  </a:cubicBezTo>
                  <a:cubicBezTo>
                    <a:pt x="264" y="151"/>
                    <a:pt x="265" y="151"/>
                    <a:pt x="265" y="151"/>
                  </a:cubicBezTo>
                  <a:cubicBezTo>
                    <a:pt x="265" y="151"/>
                    <a:pt x="266" y="150"/>
                    <a:pt x="266" y="150"/>
                  </a:cubicBezTo>
                  <a:cubicBezTo>
                    <a:pt x="266" y="150"/>
                    <a:pt x="266" y="150"/>
                    <a:pt x="267" y="150"/>
                  </a:cubicBezTo>
                  <a:cubicBezTo>
                    <a:pt x="267" y="150"/>
                    <a:pt x="267" y="150"/>
                    <a:pt x="267" y="150"/>
                  </a:cubicBezTo>
                  <a:cubicBezTo>
                    <a:pt x="267" y="150"/>
                    <a:pt x="267" y="150"/>
                    <a:pt x="268" y="150"/>
                  </a:cubicBezTo>
                  <a:cubicBezTo>
                    <a:pt x="268" y="150"/>
                    <a:pt x="268" y="152"/>
                    <a:pt x="268" y="152"/>
                  </a:cubicBezTo>
                  <a:cubicBezTo>
                    <a:pt x="268" y="153"/>
                    <a:pt x="269" y="153"/>
                    <a:pt x="269" y="154"/>
                  </a:cubicBezTo>
                  <a:cubicBezTo>
                    <a:pt x="269" y="154"/>
                    <a:pt x="269" y="155"/>
                    <a:pt x="269" y="154"/>
                  </a:cubicBezTo>
                  <a:cubicBezTo>
                    <a:pt x="269" y="154"/>
                    <a:pt x="269" y="155"/>
                    <a:pt x="269" y="155"/>
                  </a:cubicBezTo>
                  <a:cubicBezTo>
                    <a:pt x="269" y="156"/>
                    <a:pt x="269" y="156"/>
                    <a:pt x="269" y="156"/>
                  </a:cubicBezTo>
                  <a:cubicBezTo>
                    <a:pt x="269" y="157"/>
                    <a:pt x="269" y="156"/>
                    <a:pt x="269" y="156"/>
                  </a:cubicBezTo>
                  <a:cubicBezTo>
                    <a:pt x="269" y="156"/>
                    <a:pt x="269" y="157"/>
                    <a:pt x="269" y="157"/>
                  </a:cubicBezTo>
                  <a:cubicBezTo>
                    <a:pt x="269" y="157"/>
                    <a:pt x="269" y="158"/>
                    <a:pt x="269" y="158"/>
                  </a:cubicBezTo>
                  <a:cubicBezTo>
                    <a:pt x="269" y="158"/>
                    <a:pt x="269" y="158"/>
                    <a:pt x="269" y="158"/>
                  </a:cubicBezTo>
                  <a:cubicBezTo>
                    <a:pt x="269" y="158"/>
                    <a:pt x="269" y="158"/>
                    <a:pt x="269" y="158"/>
                  </a:cubicBezTo>
                  <a:cubicBezTo>
                    <a:pt x="269" y="158"/>
                    <a:pt x="269" y="158"/>
                    <a:pt x="269" y="159"/>
                  </a:cubicBezTo>
                  <a:cubicBezTo>
                    <a:pt x="269" y="159"/>
                    <a:pt x="270" y="159"/>
                    <a:pt x="269" y="159"/>
                  </a:cubicBezTo>
                  <a:cubicBezTo>
                    <a:pt x="269" y="159"/>
                    <a:pt x="269" y="160"/>
                    <a:pt x="269" y="160"/>
                  </a:cubicBezTo>
                  <a:cubicBezTo>
                    <a:pt x="269" y="160"/>
                    <a:pt x="269" y="161"/>
                    <a:pt x="269" y="162"/>
                  </a:cubicBezTo>
                  <a:cubicBezTo>
                    <a:pt x="269" y="162"/>
                    <a:pt x="269" y="162"/>
                    <a:pt x="269" y="162"/>
                  </a:cubicBezTo>
                  <a:cubicBezTo>
                    <a:pt x="269" y="163"/>
                    <a:pt x="269" y="164"/>
                    <a:pt x="269" y="164"/>
                  </a:cubicBezTo>
                  <a:cubicBezTo>
                    <a:pt x="269" y="164"/>
                    <a:pt x="269" y="165"/>
                    <a:pt x="269" y="165"/>
                  </a:cubicBezTo>
                  <a:cubicBezTo>
                    <a:pt x="269" y="165"/>
                    <a:pt x="269" y="164"/>
                    <a:pt x="269" y="164"/>
                  </a:cubicBezTo>
                  <a:cubicBezTo>
                    <a:pt x="269" y="164"/>
                    <a:pt x="270" y="165"/>
                    <a:pt x="270" y="166"/>
                  </a:cubicBezTo>
                  <a:cubicBezTo>
                    <a:pt x="270" y="166"/>
                    <a:pt x="271" y="167"/>
                    <a:pt x="271" y="167"/>
                  </a:cubicBezTo>
                  <a:cubicBezTo>
                    <a:pt x="271" y="167"/>
                    <a:pt x="271" y="168"/>
                    <a:pt x="271" y="168"/>
                  </a:cubicBezTo>
                  <a:cubicBezTo>
                    <a:pt x="271" y="168"/>
                    <a:pt x="272" y="169"/>
                    <a:pt x="272" y="169"/>
                  </a:cubicBezTo>
                  <a:cubicBezTo>
                    <a:pt x="272" y="169"/>
                    <a:pt x="271" y="170"/>
                    <a:pt x="272" y="171"/>
                  </a:cubicBezTo>
                  <a:cubicBezTo>
                    <a:pt x="272" y="171"/>
                    <a:pt x="272" y="171"/>
                    <a:pt x="272" y="171"/>
                  </a:cubicBezTo>
                  <a:cubicBezTo>
                    <a:pt x="272" y="172"/>
                    <a:pt x="272" y="172"/>
                    <a:pt x="272" y="172"/>
                  </a:cubicBezTo>
                  <a:cubicBezTo>
                    <a:pt x="272" y="173"/>
                    <a:pt x="273" y="173"/>
                    <a:pt x="273" y="174"/>
                  </a:cubicBezTo>
                  <a:cubicBezTo>
                    <a:pt x="273" y="174"/>
                    <a:pt x="273" y="174"/>
                    <a:pt x="273" y="175"/>
                  </a:cubicBezTo>
                  <a:cubicBezTo>
                    <a:pt x="273" y="175"/>
                    <a:pt x="273" y="175"/>
                    <a:pt x="274" y="175"/>
                  </a:cubicBezTo>
                  <a:cubicBezTo>
                    <a:pt x="274" y="175"/>
                    <a:pt x="274" y="176"/>
                    <a:pt x="274" y="176"/>
                  </a:cubicBezTo>
                  <a:cubicBezTo>
                    <a:pt x="275" y="176"/>
                    <a:pt x="275" y="177"/>
                    <a:pt x="275" y="177"/>
                  </a:cubicBezTo>
                  <a:cubicBezTo>
                    <a:pt x="275" y="177"/>
                    <a:pt x="276" y="177"/>
                    <a:pt x="276" y="177"/>
                  </a:cubicBezTo>
                  <a:cubicBezTo>
                    <a:pt x="276" y="177"/>
                    <a:pt x="276" y="178"/>
                    <a:pt x="276" y="178"/>
                  </a:cubicBezTo>
                  <a:cubicBezTo>
                    <a:pt x="276" y="177"/>
                    <a:pt x="277" y="177"/>
                    <a:pt x="277" y="177"/>
                  </a:cubicBezTo>
                  <a:cubicBezTo>
                    <a:pt x="277" y="177"/>
                    <a:pt x="277" y="176"/>
                    <a:pt x="276" y="176"/>
                  </a:cubicBezTo>
                  <a:cubicBezTo>
                    <a:pt x="276" y="176"/>
                    <a:pt x="276" y="175"/>
                    <a:pt x="276" y="175"/>
                  </a:cubicBezTo>
                  <a:cubicBezTo>
                    <a:pt x="276" y="175"/>
                    <a:pt x="276" y="174"/>
                    <a:pt x="276" y="174"/>
                  </a:cubicBezTo>
                  <a:cubicBezTo>
                    <a:pt x="276" y="173"/>
                    <a:pt x="276" y="173"/>
                    <a:pt x="276" y="173"/>
                  </a:cubicBezTo>
                  <a:cubicBezTo>
                    <a:pt x="276" y="172"/>
                    <a:pt x="276" y="171"/>
                    <a:pt x="276" y="171"/>
                  </a:cubicBezTo>
                  <a:cubicBezTo>
                    <a:pt x="276" y="171"/>
                    <a:pt x="275" y="170"/>
                    <a:pt x="275" y="170"/>
                  </a:cubicBezTo>
                  <a:cubicBezTo>
                    <a:pt x="275" y="170"/>
                    <a:pt x="274" y="169"/>
                    <a:pt x="274" y="169"/>
                  </a:cubicBezTo>
                  <a:cubicBezTo>
                    <a:pt x="274" y="169"/>
                    <a:pt x="274" y="168"/>
                    <a:pt x="274" y="168"/>
                  </a:cubicBezTo>
                  <a:cubicBezTo>
                    <a:pt x="274" y="168"/>
                    <a:pt x="273" y="167"/>
                    <a:pt x="273" y="167"/>
                  </a:cubicBezTo>
                  <a:cubicBezTo>
                    <a:pt x="273" y="167"/>
                    <a:pt x="272" y="167"/>
                    <a:pt x="272" y="167"/>
                  </a:cubicBezTo>
                  <a:cubicBezTo>
                    <a:pt x="272" y="167"/>
                    <a:pt x="272" y="166"/>
                    <a:pt x="272" y="166"/>
                  </a:cubicBezTo>
                  <a:cubicBezTo>
                    <a:pt x="271" y="165"/>
                    <a:pt x="271" y="164"/>
                    <a:pt x="271" y="164"/>
                  </a:cubicBezTo>
                  <a:cubicBezTo>
                    <a:pt x="271" y="164"/>
                    <a:pt x="271" y="164"/>
                    <a:pt x="271" y="163"/>
                  </a:cubicBezTo>
                  <a:cubicBezTo>
                    <a:pt x="271" y="163"/>
                    <a:pt x="271" y="163"/>
                    <a:pt x="271" y="163"/>
                  </a:cubicBezTo>
                  <a:cubicBezTo>
                    <a:pt x="270" y="163"/>
                    <a:pt x="270" y="163"/>
                    <a:pt x="270" y="163"/>
                  </a:cubicBezTo>
                  <a:cubicBezTo>
                    <a:pt x="270" y="162"/>
                    <a:pt x="270" y="161"/>
                    <a:pt x="270" y="161"/>
                  </a:cubicBezTo>
                  <a:cubicBezTo>
                    <a:pt x="270" y="161"/>
                    <a:pt x="270" y="160"/>
                    <a:pt x="270" y="159"/>
                  </a:cubicBezTo>
                  <a:cubicBezTo>
                    <a:pt x="270" y="159"/>
                    <a:pt x="271" y="158"/>
                    <a:pt x="271" y="158"/>
                  </a:cubicBezTo>
                  <a:cubicBezTo>
                    <a:pt x="271" y="158"/>
                    <a:pt x="271" y="157"/>
                    <a:pt x="271" y="157"/>
                  </a:cubicBezTo>
                  <a:cubicBezTo>
                    <a:pt x="271" y="157"/>
                    <a:pt x="271" y="155"/>
                    <a:pt x="271" y="155"/>
                  </a:cubicBezTo>
                  <a:cubicBezTo>
                    <a:pt x="271" y="155"/>
                    <a:pt x="272" y="155"/>
                    <a:pt x="272" y="155"/>
                  </a:cubicBezTo>
                  <a:cubicBezTo>
                    <a:pt x="272" y="155"/>
                    <a:pt x="272" y="155"/>
                    <a:pt x="272" y="155"/>
                  </a:cubicBezTo>
                  <a:cubicBezTo>
                    <a:pt x="272" y="155"/>
                    <a:pt x="272" y="156"/>
                    <a:pt x="272" y="156"/>
                  </a:cubicBezTo>
                  <a:cubicBezTo>
                    <a:pt x="273" y="156"/>
                    <a:pt x="273" y="156"/>
                    <a:pt x="273" y="156"/>
                  </a:cubicBezTo>
                  <a:cubicBezTo>
                    <a:pt x="273" y="156"/>
                    <a:pt x="274" y="157"/>
                    <a:pt x="274" y="157"/>
                  </a:cubicBezTo>
                  <a:cubicBezTo>
                    <a:pt x="274" y="157"/>
                    <a:pt x="275" y="157"/>
                    <a:pt x="275" y="157"/>
                  </a:cubicBezTo>
                  <a:cubicBezTo>
                    <a:pt x="275" y="157"/>
                    <a:pt x="275" y="158"/>
                    <a:pt x="275" y="158"/>
                  </a:cubicBezTo>
                  <a:cubicBezTo>
                    <a:pt x="275" y="158"/>
                    <a:pt x="275" y="159"/>
                    <a:pt x="275" y="159"/>
                  </a:cubicBezTo>
                  <a:cubicBezTo>
                    <a:pt x="275" y="159"/>
                    <a:pt x="275" y="159"/>
                    <a:pt x="275" y="159"/>
                  </a:cubicBezTo>
                  <a:cubicBezTo>
                    <a:pt x="275" y="159"/>
                    <a:pt x="276" y="160"/>
                    <a:pt x="276" y="160"/>
                  </a:cubicBezTo>
                  <a:cubicBezTo>
                    <a:pt x="276" y="159"/>
                    <a:pt x="276" y="160"/>
                    <a:pt x="276" y="160"/>
                  </a:cubicBezTo>
                  <a:cubicBezTo>
                    <a:pt x="276" y="160"/>
                    <a:pt x="276" y="160"/>
                    <a:pt x="276" y="160"/>
                  </a:cubicBezTo>
                  <a:cubicBezTo>
                    <a:pt x="276" y="160"/>
                    <a:pt x="277" y="160"/>
                    <a:pt x="277" y="160"/>
                  </a:cubicBezTo>
                  <a:cubicBezTo>
                    <a:pt x="277" y="160"/>
                    <a:pt x="277" y="161"/>
                    <a:pt x="277" y="161"/>
                  </a:cubicBezTo>
                  <a:cubicBezTo>
                    <a:pt x="277" y="161"/>
                    <a:pt x="277" y="161"/>
                    <a:pt x="277" y="161"/>
                  </a:cubicBezTo>
                  <a:cubicBezTo>
                    <a:pt x="277" y="162"/>
                    <a:pt x="278" y="163"/>
                    <a:pt x="277" y="163"/>
                  </a:cubicBezTo>
                  <a:cubicBezTo>
                    <a:pt x="277" y="163"/>
                    <a:pt x="277" y="164"/>
                    <a:pt x="277" y="164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77" y="164"/>
                    <a:pt x="278" y="164"/>
                    <a:pt x="278" y="164"/>
                  </a:cubicBezTo>
                  <a:cubicBezTo>
                    <a:pt x="278" y="164"/>
                    <a:pt x="278" y="163"/>
                    <a:pt x="279" y="163"/>
                  </a:cubicBezTo>
                  <a:cubicBezTo>
                    <a:pt x="279" y="163"/>
                    <a:pt x="280" y="163"/>
                    <a:pt x="280" y="163"/>
                  </a:cubicBezTo>
                  <a:cubicBezTo>
                    <a:pt x="280" y="162"/>
                    <a:pt x="280" y="162"/>
                    <a:pt x="280" y="161"/>
                  </a:cubicBezTo>
                  <a:cubicBezTo>
                    <a:pt x="280" y="161"/>
                    <a:pt x="281" y="160"/>
                    <a:pt x="281" y="160"/>
                  </a:cubicBezTo>
                  <a:cubicBezTo>
                    <a:pt x="281" y="160"/>
                    <a:pt x="283" y="159"/>
                    <a:pt x="283" y="159"/>
                  </a:cubicBezTo>
                  <a:cubicBezTo>
                    <a:pt x="283" y="159"/>
                    <a:pt x="283" y="158"/>
                    <a:pt x="283" y="158"/>
                  </a:cubicBezTo>
                  <a:cubicBezTo>
                    <a:pt x="283" y="157"/>
                    <a:pt x="284" y="157"/>
                    <a:pt x="283" y="155"/>
                  </a:cubicBezTo>
                  <a:cubicBezTo>
                    <a:pt x="283" y="153"/>
                    <a:pt x="283" y="152"/>
                    <a:pt x="283" y="152"/>
                  </a:cubicBezTo>
                  <a:cubicBezTo>
                    <a:pt x="283" y="151"/>
                    <a:pt x="282" y="150"/>
                    <a:pt x="282" y="150"/>
                  </a:cubicBezTo>
                  <a:cubicBezTo>
                    <a:pt x="282" y="150"/>
                    <a:pt x="282" y="149"/>
                    <a:pt x="281" y="149"/>
                  </a:cubicBezTo>
                  <a:cubicBezTo>
                    <a:pt x="281" y="149"/>
                    <a:pt x="281" y="148"/>
                    <a:pt x="280" y="148"/>
                  </a:cubicBezTo>
                  <a:cubicBezTo>
                    <a:pt x="280" y="148"/>
                    <a:pt x="280" y="147"/>
                    <a:pt x="280" y="147"/>
                  </a:cubicBezTo>
                  <a:cubicBezTo>
                    <a:pt x="280" y="146"/>
                    <a:pt x="279" y="146"/>
                    <a:pt x="279" y="146"/>
                  </a:cubicBezTo>
                  <a:cubicBezTo>
                    <a:pt x="279" y="146"/>
                    <a:pt x="279" y="145"/>
                    <a:pt x="279" y="145"/>
                  </a:cubicBezTo>
                  <a:cubicBezTo>
                    <a:pt x="279" y="144"/>
                    <a:pt x="279" y="144"/>
                    <a:pt x="279" y="143"/>
                  </a:cubicBezTo>
                  <a:cubicBezTo>
                    <a:pt x="279" y="143"/>
                    <a:pt x="279" y="143"/>
                    <a:pt x="279" y="143"/>
                  </a:cubicBezTo>
                  <a:cubicBezTo>
                    <a:pt x="279" y="143"/>
                    <a:pt x="279" y="142"/>
                    <a:pt x="280" y="142"/>
                  </a:cubicBezTo>
                  <a:cubicBezTo>
                    <a:pt x="280" y="142"/>
                    <a:pt x="280" y="142"/>
                    <a:pt x="280" y="141"/>
                  </a:cubicBezTo>
                  <a:cubicBezTo>
                    <a:pt x="280" y="141"/>
                    <a:pt x="281" y="140"/>
                    <a:pt x="281" y="141"/>
                  </a:cubicBezTo>
                  <a:cubicBezTo>
                    <a:pt x="281" y="141"/>
                    <a:pt x="281" y="141"/>
                    <a:pt x="281" y="141"/>
                  </a:cubicBezTo>
                  <a:cubicBezTo>
                    <a:pt x="281" y="141"/>
                    <a:pt x="281" y="141"/>
                    <a:pt x="282" y="140"/>
                  </a:cubicBezTo>
                  <a:cubicBezTo>
                    <a:pt x="282" y="140"/>
                    <a:pt x="283" y="140"/>
                    <a:pt x="283" y="140"/>
                  </a:cubicBezTo>
                  <a:cubicBezTo>
                    <a:pt x="283" y="140"/>
                    <a:pt x="284" y="140"/>
                    <a:pt x="284" y="140"/>
                  </a:cubicBezTo>
                  <a:cubicBezTo>
                    <a:pt x="284" y="140"/>
                    <a:pt x="284" y="140"/>
                    <a:pt x="284" y="140"/>
                  </a:cubicBezTo>
                  <a:cubicBezTo>
                    <a:pt x="284" y="141"/>
                    <a:pt x="284" y="141"/>
                    <a:pt x="284" y="141"/>
                  </a:cubicBezTo>
                  <a:cubicBezTo>
                    <a:pt x="284" y="141"/>
                    <a:pt x="284" y="141"/>
                    <a:pt x="284" y="142"/>
                  </a:cubicBezTo>
                  <a:cubicBezTo>
                    <a:pt x="284" y="142"/>
                    <a:pt x="284" y="142"/>
                    <a:pt x="284" y="142"/>
                  </a:cubicBezTo>
                  <a:cubicBezTo>
                    <a:pt x="285" y="142"/>
                    <a:pt x="285" y="142"/>
                    <a:pt x="285" y="142"/>
                  </a:cubicBezTo>
                  <a:cubicBezTo>
                    <a:pt x="285" y="142"/>
                    <a:pt x="285" y="142"/>
                    <a:pt x="285" y="141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5" y="140"/>
                    <a:pt x="285" y="140"/>
                    <a:pt x="286" y="140"/>
                  </a:cubicBezTo>
                  <a:cubicBezTo>
                    <a:pt x="286" y="140"/>
                    <a:pt x="286" y="140"/>
                    <a:pt x="286" y="140"/>
                  </a:cubicBezTo>
                  <a:cubicBezTo>
                    <a:pt x="287" y="140"/>
                    <a:pt x="287" y="139"/>
                    <a:pt x="287" y="139"/>
                  </a:cubicBezTo>
                  <a:cubicBezTo>
                    <a:pt x="287" y="139"/>
                    <a:pt x="288" y="140"/>
                    <a:pt x="288" y="139"/>
                  </a:cubicBezTo>
                  <a:cubicBezTo>
                    <a:pt x="288" y="139"/>
                    <a:pt x="288" y="139"/>
                    <a:pt x="289" y="139"/>
                  </a:cubicBezTo>
                  <a:cubicBezTo>
                    <a:pt x="289" y="139"/>
                    <a:pt x="289" y="139"/>
                    <a:pt x="289" y="139"/>
                  </a:cubicBezTo>
                  <a:cubicBezTo>
                    <a:pt x="289" y="138"/>
                    <a:pt x="290" y="138"/>
                    <a:pt x="290" y="138"/>
                  </a:cubicBezTo>
                  <a:cubicBezTo>
                    <a:pt x="290" y="138"/>
                    <a:pt x="290" y="138"/>
                    <a:pt x="290" y="138"/>
                  </a:cubicBezTo>
                  <a:cubicBezTo>
                    <a:pt x="291" y="137"/>
                    <a:pt x="291" y="137"/>
                    <a:pt x="292" y="137"/>
                  </a:cubicBezTo>
                  <a:cubicBezTo>
                    <a:pt x="292" y="137"/>
                    <a:pt x="293" y="137"/>
                    <a:pt x="293" y="137"/>
                  </a:cubicBezTo>
                  <a:cubicBezTo>
                    <a:pt x="293" y="137"/>
                    <a:pt x="293" y="137"/>
                    <a:pt x="293" y="137"/>
                  </a:cubicBezTo>
                  <a:cubicBezTo>
                    <a:pt x="293" y="137"/>
                    <a:pt x="293" y="137"/>
                    <a:pt x="293" y="137"/>
                  </a:cubicBezTo>
                  <a:cubicBezTo>
                    <a:pt x="293" y="136"/>
                    <a:pt x="294" y="136"/>
                    <a:pt x="294" y="136"/>
                  </a:cubicBezTo>
                  <a:cubicBezTo>
                    <a:pt x="294" y="136"/>
                    <a:pt x="294" y="136"/>
                    <a:pt x="294" y="136"/>
                  </a:cubicBezTo>
                  <a:cubicBezTo>
                    <a:pt x="294" y="136"/>
                    <a:pt x="295" y="135"/>
                    <a:pt x="295" y="135"/>
                  </a:cubicBezTo>
                  <a:cubicBezTo>
                    <a:pt x="295" y="135"/>
                    <a:pt x="295" y="134"/>
                    <a:pt x="295" y="134"/>
                  </a:cubicBezTo>
                  <a:cubicBezTo>
                    <a:pt x="295" y="134"/>
                    <a:pt x="296" y="134"/>
                    <a:pt x="296" y="134"/>
                  </a:cubicBezTo>
                  <a:cubicBezTo>
                    <a:pt x="296" y="134"/>
                    <a:pt x="296" y="134"/>
                    <a:pt x="296" y="133"/>
                  </a:cubicBezTo>
                  <a:cubicBezTo>
                    <a:pt x="296" y="133"/>
                    <a:pt x="296" y="133"/>
                    <a:pt x="296" y="133"/>
                  </a:cubicBezTo>
                  <a:cubicBezTo>
                    <a:pt x="297" y="133"/>
                    <a:pt x="297" y="133"/>
                    <a:pt x="297" y="133"/>
                  </a:cubicBezTo>
                  <a:cubicBezTo>
                    <a:pt x="297" y="132"/>
                    <a:pt x="297" y="132"/>
                    <a:pt x="297" y="132"/>
                  </a:cubicBezTo>
                  <a:cubicBezTo>
                    <a:pt x="297" y="132"/>
                    <a:pt x="297" y="133"/>
                    <a:pt x="297" y="133"/>
                  </a:cubicBezTo>
                  <a:cubicBezTo>
                    <a:pt x="298" y="137"/>
                    <a:pt x="298" y="141"/>
                    <a:pt x="299" y="146"/>
                  </a:cubicBezTo>
                  <a:cubicBezTo>
                    <a:pt x="298" y="146"/>
                    <a:pt x="298" y="147"/>
                    <a:pt x="298" y="147"/>
                  </a:cubicBezTo>
                  <a:cubicBezTo>
                    <a:pt x="298" y="148"/>
                    <a:pt x="298" y="149"/>
                    <a:pt x="298" y="149"/>
                  </a:cubicBezTo>
                  <a:cubicBezTo>
                    <a:pt x="298" y="149"/>
                    <a:pt x="298" y="150"/>
                    <a:pt x="298" y="150"/>
                  </a:cubicBezTo>
                  <a:cubicBezTo>
                    <a:pt x="298" y="150"/>
                    <a:pt x="298" y="149"/>
                    <a:pt x="298" y="149"/>
                  </a:cubicBezTo>
                  <a:cubicBezTo>
                    <a:pt x="297" y="149"/>
                    <a:pt x="297" y="149"/>
                    <a:pt x="297" y="150"/>
                  </a:cubicBezTo>
                  <a:cubicBezTo>
                    <a:pt x="297" y="150"/>
                    <a:pt x="298" y="151"/>
                    <a:pt x="297" y="151"/>
                  </a:cubicBezTo>
                  <a:cubicBezTo>
                    <a:pt x="297" y="151"/>
                    <a:pt x="298" y="152"/>
                    <a:pt x="298" y="152"/>
                  </a:cubicBezTo>
                  <a:cubicBezTo>
                    <a:pt x="298" y="153"/>
                    <a:pt x="298" y="153"/>
                    <a:pt x="298" y="153"/>
                  </a:cubicBezTo>
                  <a:cubicBezTo>
                    <a:pt x="299" y="153"/>
                    <a:pt x="298" y="153"/>
                    <a:pt x="299" y="152"/>
                  </a:cubicBezTo>
                  <a:cubicBezTo>
                    <a:pt x="299" y="152"/>
                    <a:pt x="299" y="152"/>
                    <a:pt x="299" y="152"/>
                  </a:cubicBezTo>
                  <a:cubicBezTo>
                    <a:pt x="299" y="153"/>
                    <a:pt x="299" y="153"/>
                    <a:pt x="299" y="153"/>
                  </a:cubicBezTo>
                  <a:cubicBezTo>
                    <a:pt x="299" y="153"/>
                    <a:pt x="299" y="153"/>
                    <a:pt x="299" y="154"/>
                  </a:cubicBezTo>
                  <a:cubicBezTo>
                    <a:pt x="298" y="154"/>
                    <a:pt x="299" y="154"/>
                    <a:pt x="299" y="154"/>
                  </a:cubicBezTo>
                  <a:cubicBezTo>
                    <a:pt x="299" y="154"/>
                    <a:pt x="299" y="155"/>
                    <a:pt x="299" y="155"/>
                  </a:cubicBezTo>
                  <a:cubicBezTo>
                    <a:pt x="298" y="155"/>
                    <a:pt x="298" y="155"/>
                    <a:pt x="298" y="155"/>
                  </a:cubicBezTo>
                  <a:cubicBezTo>
                    <a:pt x="298" y="155"/>
                    <a:pt x="298" y="155"/>
                    <a:pt x="299" y="155"/>
                  </a:cubicBezTo>
                  <a:cubicBezTo>
                    <a:pt x="299" y="155"/>
                    <a:pt x="299" y="155"/>
                    <a:pt x="299" y="155"/>
                  </a:cubicBezTo>
                  <a:cubicBezTo>
                    <a:pt x="297" y="235"/>
                    <a:pt x="233" y="299"/>
                    <a:pt x="153" y="299"/>
                  </a:cubicBezTo>
                  <a:close/>
                  <a:moveTo>
                    <a:pt x="208" y="104"/>
                  </a:moveTo>
                  <a:cubicBezTo>
                    <a:pt x="208" y="104"/>
                    <a:pt x="208" y="105"/>
                    <a:pt x="208" y="105"/>
                  </a:cubicBezTo>
                  <a:cubicBezTo>
                    <a:pt x="208" y="105"/>
                    <a:pt x="208" y="105"/>
                    <a:pt x="209" y="105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09" y="105"/>
                    <a:pt x="209" y="106"/>
                    <a:pt x="209" y="106"/>
                  </a:cubicBezTo>
                  <a:cubicBezTo>
                    <a:pt x="209" y="106"/>
                    <a:pt x="209" y="106"/>
                    <a:pt x="209" y="106"/>
                  </a:cubicBezTo>
                  <a:cubicBezTo>
                    <a:pt x="209" y="106"/>
                    <a:pt x="209" y="106"/>
                    <a:pt x="209" y="106"/>
                  </a:cubicBezTo>
                  <a:cubicBezTo>
                    <a:pt x="209" y="106"/>
                    <a:pt x="209" y="106"/>
                    <a:pt x="209" y="106"/>
                  </a:cubicBezTo>
                  <a:cubicBezTo>
                    <a:pt x="210" y="106"/>
                    <a:pt x="209" y="107"/>
                    <a:pt x="210" y="107"/>
                  </a:cubicBezTo>
                  <a:cubicBezTo>
                    <a:pt x="210" y="107"/>
                    <a:pt x="210" y="107"/>
                    <a:pt x="210" y="107"/>
                  </a:cubicBezTo>
                  <a:cubicBezTo>
                    <a:pt x="210" y="108"/>
                    <a:pt x="210" y="108"/>
                    <a:pt x="210" y="108"/>
                  </a:cubicBezTo>
                  <a:cubicBezTo>
                    <a:pt x="210" y="108"/>
                    <a:pt x="210" y="110"/>
                    <a:pt x="210" y="110"/>
                  </a:cubicBezTo>
                  <a:cubicBezTo>
                    <a:pt x="210" y="111"/>
                    <a:pt x="210" y="111"/>
                    <a:pt x="210" y="111"/>
                  </a:cubicBezTo>
                  <a:cubicBezTo>
                    <a:pt x="210" y="111"/>
                    <a:pt x="210" y="111"/>
                    <a:pt x="210" y="111"/>
                  </a:cubicBezTo>
                  <a:cubicBezTo>
                    <a:pt x="210" y="111"/>
                    <a:pt x="209" y="111"/>
                    <a:pt x="209" y="111"/>
                  </a:cubicBezTo>
                  <a:cubicBezTo>
                    <a:pt x="208" y="111"/>
                    <a:pt x="208" y="112"/>
                    <a:pt x="207" y="112"/>
                  </a:cubicBezTo>
                  <a:cubicBezTo>
                    <a:pt x="207" y="112"/>
                    <a:pt x="206" y="112"/>
                    <a:pt x="206" y="112"/>
                  </a:cubicBezTo>
                  <a:cubicBezTo>
                    <a:pt x="206" y="111"/>
                    <a:pt x="205" y="111"/>
                    <a:pt x="205" y="111"/>
                  </a:cubicBezTo>
                  <a:cubicBezTo>
                    <a:pt x="204" y="111"/>
                    <a:pt x="204" y="111"/>
                    <a:pt x="203" y="110"/>
                  </a:cubicBezTo>
                  <a:cubicBezTo>
                    <a:pt x="203" y="110"/>
                    <a:pt x="203" y="110"/>
                    <a:pt x="203" y="109"/>
                  </a:cubicBezTo>
                  <a:cubicBezTo>
                    <a:pt x="203" y="109"/>
                    <a:pt x="203" y="108"/>
                    <a:pt x="203" y="108"/>
                  </a:cubicBezTo>
                  <a:cubicBezTo>
                    <a:pt x="203" y="107"/>
                    <a:pt x="203" y="107"/>
                    <a:pt x="203" y="107"/>
                  </a:cubicBezTo>
                  <a:cubicBezTo>
                    <a:pt x="204" y="107"/>
                    <a:pt x="204" y="106"/>
                    <a:pt x="204" y="106"/>
                  </a:cubicBezTo>
                  <a:cubicBezTo>
                    <a:pt x="204" y="106"/>
                    <a:pt x="204" y="105"/>
                    <a:pt x="204" y="105"/>
                  </a:cubicBezTo>
                  <a:cubicBezTo>
                    <a:pt x="204" y="105"/>
                    <a:pt x="204" y="105"/>
                    <a:pt x="204" y="105"/>
                  </a:cubicBezTo>
                  <a:cubicBezTo>
                    <a:pt x="204" y="105"/>
                    <a:pt x="204" y="105"/>
                    <a:pt x="205" y="105"/>
                  </a:cubicBezTo>
                  <a:cubicBezTo>
                    <a:pt x="205" y="105"/>
                    <a:pt x="205" y="105"/>
                    <a:pt x="205" y="105"/>
                  </a:cubicBezTo>
                  <a:cubicBezTo>
                    <a:pt x="205" y="105"/>
                    <a:pt x="205" y="105"/>
                    <a:pt x="205" y="105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04"/>
                    <a:pt x="205" y="104"/>
                    <a:pt x="204" y="104"/>
                  </a:cubicBezTo>
                  <a:cubicBezTo>
                    <a:pt x="204" y="104"/>
                    <a:pt x="204" y="104"/>
                    <a:pt x="204" y="104"/>
                  </a:cubicBezTo>
                  <a:cubicBezTo>
                    <a:pt x="204" y="104"/>
                    <a:pt x="204" y="103"/>
                    <a:pt x="204" y="103"/>
                  </a:cubicBezTo>
                  <a:cubicBezTo>
                    <a:pt x="204" y="103"/>
                    <a:pt x="203" y="103"/>
                    <a:pt x="203" y="102"/>
                  </a:cubicBezTo>
                  <a:cubicBezTo>
                    <a:pt x="203" y="102"/>
                    <a:pt x="203" y="102"/>
                    <a:pt x="202" y="101"/>
                  </a:cubicBezTo>
                  <a:cubicBezTo>
                    <a:pt x="202" y="101"/>
                    <a:pt x="202" y="101"/>
                    <a:pt x="202" y="101"/>
                  </a:cubicBezTo>
                  <a:cubicBezTo>
                    <a:pt x="202" y="101"/>
                    <a:pt x="202" y="100"/>
                    <a:pt x="202" y="100"/>
                  </a:cubicBezTo>
                  <a:cubicBezTo>
                    <a:pt x="201" y="99"/>
                    <a:pt x="201" y="99"/>
                    <a:pt x="201" y="99"/>
                  </a:cubicBezTo>
                  <a:cubicBezTo>
                    <a:pt x="201" y="98"/>
                    <a:pt x="202" y="98"/>
                    <a:pt x="201" y="98"/>
                  </a:cubicBezTo>
                  <a:cubicBezTo>
                    <a:pt x="201" y="98"/>
                    <a:pt x="201" y="98"/>
                    <a:pt x="201" y="98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7"/>
                    <a:pt x="200" y="97"/>
                    <a:pt x="200" y="97"/>
                  </a:cubicBezTo>
                  <a:cubicBezTo>
                    <a:pt x="200" y="96"/>
                    <a:pt x="201" y="96"/>
                    <a:pt x="201" y="96"/>
                  </a:cubicBezTo>
                  <a:cubicBezTo>
                    <a:pt x="201" y="96"/>
                    <a:pt x="201" y="96"/>
                    <a:pt x="201" y="96"/>
                  </a:cubicBezTo>
                  <a:cubicBezTo>
                    <a:pt x="201" y="95"/>
                    <a:pt x="201" y="95"/>
                    <a:pt x="201" y="95"/>
                  </a:cubicBezTo>
                  <a:cubicBezTo>
                    <a:pt x="202" y="95"/>
                    <a:pt x="202" y="95"/>
                    <a:pt x="202" y="95"/>
                  </a:cubicBezTo>
                  <a:cubicBezTo>
                    <a:pt x="202" y="95"/>
                    <a:pt x="203" y="94"/>
                    <a:pt x="203" y="94"/>
                  </a:cubicBezTo>
                  <a:cubicBezTo>
                    <a:pt x="203" y="94"/>
                    <a:pt x="203" y="93"/>
                    <a:pt x="204" y="93"/>
                  </a:cubicBezTo>
                  <a:cubicBezTo>
                    <a:pt x="204" y="93"/>
                    <a:pt x="204" y="93"/>
                    <a:pt x="204" y="93"/>
                  </a:cubicBezTo>
                  <a:cubicBezTo>
                    <a:pt x="204" y="93"/>
                    <a:pt x="205" y="93"/>
                    <a:pt x="205" y="93"/>
                  </a:cubicBezTo>
                  <a:cubicBezTo>
                    <a:pt x="205" y="92"/>
                    <a:pt x="206" y="92"/>
                    <a:pt x="206" y="92"/>
                  </a:cubicBezTo>
                  <a:cubicBezTo>
                    <a:pt x="206" y="92"/>
                    <a:pt x="207" y="92"/>
                    <a:pt x="207" y="92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207" y="92"/>
                    <a:pt x="208" y="92"/>
                    <a:pt x="208" y="92"/>
                  </a:cubicBezTo>
                  <a:cubicBezTo>
                    <a:pt x="208" y="92"/>
                    <a:pt x="208" y="92"/>
                    <a:pt x="208" y="92"/>
                  </a:cubicBezTo>
                  <a:cubicBezTo>
                    <a:pt x="208" y="92"/>
                    <a:pt x="209" y="93"/>
                    <a:pt x="209" y="93"/>
                  </a:cubicBezTo>
                  <a:cubicBezTo>
                    <a:pt x="209" y="93"/>
                    <a:pt x="209" y="93"/>
                    <a:pt x="209" y="93"/>
                  </a:cubicBezTo>
                  <a:cubicBezTo>
                    <a:pt x="209" y="93"/>
                    <a:pt x="209" y="94"/>
                    <a:pt x="208" y="94"/>
                  </a:cubicBezTo>
                  <a:cubicBezTo>
                    <a:pt x="208" y="94"/>
                    <a:pt x="209" y="95"/>
                    <a:pt x="209" y="95"/>
                  </a:cubicBezTo>
                  <a:cubicBezTo>
                    <a:pt x="209" y="95"/>
                    <a:pt x="209" y="95"/>
                    <a:pt x="209" y="95"/>
                  </a:cubicBezTo>
                  <a:cubicBezTo>
                    <a:pt x="209" y="95"/>
                    <a:pt x="208" y="95"/>
                    <a:pt x="208" y="95"/>
                  </a:cubicBezTo>
                  <a:cubicBezTo>
                    <a:pt x="208" y="95"/>
                    <a:pt x="208" y="95"/>
                    <a:pt x="208" y="95"/>
                  </a:cubicBezTo>
                  <a:cubicBezTo>
                    <a:pt x="208" y="95"/>
                    <a:pt x="207" y="95"/>
                    <a:pt x="207" y="95"/>
                  </a:cubicBezTo>
                  <a:cubicBezTo>
                    <a:pt x="207" y="95"/>
                    <a:pt x="206" y="95"/>
                    <a:pt x="206" y="95"/>
                  </a:cubicBezTo>
                  <a:cubicBezTo>
                    <a:pt x="206" y="95"/>
                    <a:pt x="206" y="96"/>
                    <a:pt x="206" y="96"/>
                  </a:cubicBezTo>
                  <a:cubicBezTo>
                    <a:pt x="206" y="96"/>
                    <a:pt x="206" y="96"/>
                    <a:pt x="206" y="96"/>
                  </a:cubicBezTo>
                  <a:cubicBezTo>
                    <a:pt x="206" y="96"/>
                    <a:pt x="206" y="96"/>
                    <a:pt x="206" y="96"/>
                  </a:cubicBezTo>
                  <a:cubicBezTo>
                    <a:pt x="206" y="97"/>
                    <a:pt x="207" y="97"/>
                    <a:pt x="207" y="97"/>
                  </a:cubicBezTo>
                  <a:cubicBezTo>
                    <a:pt x="207" y="97"/>
                    <a:pt x="206" y="97"/>
                    <a:pt x="206" y="97"/>
                  </a:cubicBezTo>
                  <a:cubicBezTo>
                    <a:pt x="206" y="97"/>
                    <a:pt x="206" y="97"/>
                    <a:pt x="206" y="97"/>
                  </a:cubicBezTo>
                  <a:cubicBezTo>
                    <a:pt x="206" y="97"/>
                    <a:pt x="206" y="97"/>
                    <a:pt x="206" y="97"/>
                  </a:cubicBezTo>
                  <a:cubicBezTo>
                    <a:pt x="205" y="97"/>
                    <a:pt x="205" y="97"/>
                    <a:pt x="205" y="97"/>
                  </a:cubicBezTo>
                  <a:cubicBezTo>
                    <a:pt x="205" y="97"/>
                    <a:pt x="205" y="97"/>
                    <a:pt x="205" y="97"/>
                  </a:cubicBezTo>
                  <a:cubicBezTo>
                    <a:pt x="205" y="97"/>
                    <a:pt x="205" y="97"/>
                    <a:pt x="205" y="97"/>
                  </a:cubicBezTo>
                  <a:cubicBezTo>
                    <a:pt x="205" y="97"/>
                    <a:pt x="206" y="97"/>
                    <a:pt x="206" y="97"/>
                  </a:cubicBezTo>
                  <a:cubicBezTo>
                    <a:pt x="206" y="97"/>
                    <a:pt x="206" y="98"/>
                    <a:pt x="206" y="98"/>
                  </a:cubicBezTo>
                  <a:cubicBezTo>
                    <a:pt x="206" y="98"/>
                    <a:pt x="206" y="98"/>
                    <a:pt x="206" y="99"/>
                  </a:cubicBezTo>
                  <a:cubicBezTo>
                    <a:pt x="207" y="99"/>
                    <a:pt x="206" y="99"/>
                    <a:pt x="206" y="99"/>
                  </a:cubicBezTo>
                  <a:cubicBezTo>
                    <a:pt x="206" y="99"/>
                    <a:pt x="207" y="99"/>
                    <a:pt x="207" y="99"/>
                  </a:cubicBezTo>
                  <a:cubicBezTo>
                    <a:pt x="207" y="99"/>
                    <a:pt x="207" y="99"/>
                    <a:pt x="207" y="100"/>
                  </a:cubicBezTo>
                  <a:cubicBezTo>
                    <a:pt x="207" y="100"/>
                    <a:pt x="207" y="100"/>
                    <a:pt x="207" y="100"/>
                  </a:cubicBezTo>
                  <a:cubicBezTo>
                    <a:pt x="208" y="100"/>
                    <a:pt x="208" y="100"/>
                    <a:pt x="208" y="100"/>
                  </a:cubicBezTo>
                  <a:cubicBezTo>
                    <a:pt x="208" y="100"/>
                    <a:pt x="208" y="100"/>
                    <a:pt x="208" y="100"/>
                  </a:cubicBezTo>
                  <a:cubicBezTo>
                    <a:pt x="208" y="101"/>
                    <a:pt x="208" y="101"/>
                    <a:pt x="208" y="101"/>
                  </a:cubicBezTo>
                  <a:cubicBezTo>
                    <a:pt x="208" y="102"/>
                    <a:pt x="208" y="102"/>
                    <a:pt x="208" y="102"/>
                  </a:cubicBezTo>
                  <a:cubicBezTo>
                    <a:pt x="208" y="103"/>
                    <a:pt x="208" y="103"/>
                    <a:pt x="208" y="102"/>
                  </a:cubicBezTo>
                  <a:cubicBezTo>
                    <a:pt x="209" y="102"/>
                    <a:pt x="208" y="102"/>
                    <a:pt x="208" y="102"/>
                  </a:cubicBezTo>
                  <a:cubicBezTo>
                    <a:pt x="208" y="102"/>
                    <a:pt x="209" y="102"/>
                    <a:pt x="209" y="101"/>
                  </a:cubicBezTo>
                  <a:cubicBezTo>
                    <a:pt x="209" y="101"/>
                    <a:pt x="209" y="101"/>
                    <a:pt x="209" y="101"/>
                  </a:cubicBezTo>
                  <a:cubicBezTo>
                    <a:pt x="209" y="101"/>
                    <a:pt x="210" y="101"/>
                    <a:pt x="210" y="101"/>
                  </a:cubicBezTo>
                  <a:cubicBezTo>
                    <a:pt x="210" y="102"/>
                    <a:pt x="210" y="102"/>
                    <a:pt x="210" y="102"/>
                  </a:cubicBezTo>
                  <a:cubicBezTo>
                    <a:pt x="210" y="102"/>
                    <a:pt x="210" y="103"/>
                    <a:pt x="210" y="103"/>
                  </a:cubicBezTo>
                  <a:cubicBezTo>
                    <a:pt x="210" y="103"/>
                    <a:pt x="211" y="103"/>
                    <a:pt x="211" y="103"/>
                  </a:cubicBezTo>
                  <a:cubicBezTo>
                    <a:pt x="211" y="103"/>
                    <a:pt x="211" y="104"/>
                    <a:pt x="211" y="104"/>
                  </a:cubicBezTo>
                  <a:cubicBezTo>
                    <a:pt x="211" y="104"/>
                    <a:pt x="211" y="104"/>
                    <a:pt x="211" y="104"/>
                  </a:cubicBezTo>
                  <a:cubicBezTo>
                    <a:pt x="211" y="104"/>
                    <a:pt x="210" y="104"/>
                    <a:pt x="210" y="104"/>
                  </a:cubicBezTo>
                  <a:cubicBezTo>
                    <a:pt x="210" y="104"/>
                    <a:pt x="210" y="104"/>
                    <a:pt x="210" y="104"/>
                  </a:cubicBezTo>
                  <a:cubicBezTo>
                    <a:pt x="209" y="104"/>
                    <a:pt x="210" y="104"/>
                    <a:pt x="209" y="104"/>
                  </a:cubicBezTo>
                  <a:cubicBezTo>
                    <a:pt x="209" y="103"/>
                    <a:pt x="209" y="104"/>
                    <a:pt x="209" y="104"/>
                  </a:cubicBezTo>
                  <a:cubicBezTo>
                    <a:pt x="209" y="104"/>
                    <a:pt x="209" y="104"/>
                    <a:pt x="209" y="104"/>
                  </a:cubicBezTo>
                  <a:cubicBezTo>
                    <a:pt x="209" y="103"/>
                    <a:pt x="208" y="103"/>
                    <a:pt x="209" y="103"/>
                  </a:cubicBezTo>
                  <a:cubicBezTo>
                    <a:pt x="209" y="103"/>
                    <a:pt x="209" y="103"/>
                    <a:pt x="208" y="104"/>
                  </a:cubicBezTo>
                  <a:close/>
                  <a:moveTo>
                    <a:pt x="181" y="93"/>
                  </a:moveTo>
                  <a:cubicBezTo>
                    <a:pt x="181" y="94"/>
                    <a:pt x="181" y="94"/>
                    <a:pt x="181" y="94"/>
                  </a:cubicBezTo>
                  <a:cubicBezTo>
                    <a:pt x="181" y="94"/>
                    <a:pt x="182" y="94"/>
                    <a:pt x="182" y="94"/>
                  </a:cubicBezTo>
                  <a:cubicBezTo>
                    <a:pt x="183" y="94"/>
                    <a:pt x="183" y="94"/>
                    <a:pt x="183" y="94"/>
                  </a:cubicBezTo>
                  <a:cubicBezTo>
                    <a:pt x="183" y="94"/>
                    <a:pt x="183" y="94"/>
                    <a:pt x="183" y="94"/>
                  </a:cubicBezTo>
                  <a:cubicBezTo>
                    <a:pt x="182" y="94"/>
                    <a:pt x="182" y="94"/>
                    <a:pt x="182" y="95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2" y="95"/>
                    <a:pt x="181" y="95"/>
                    <a:pt x="181" y="95"/>
                  </a:cubicBezTo>
                  <a:cubicBezTo>
                    <a:pt x="181" y="95"/>
                    <a:pt x="182" y="95"/>
                    <a:pt x="182" y="95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3" y="95"/>
                    <a:pt x="183" y="95"/>
                    <a:pt x="183" y="96"/>
                  </a:cubicBezTo>
                  <a:cubicBezTo>
                    <a:pt x="183" y="96"/>
                    <a:pt x="183" y="96"/>
                    <a:pt x="183" y="96"/>
                  </a:cubicBezTo>
                  <a:cubicBezTo>
                    <a:pt x="183" y="96"/>
                    <a:pt x="183" y="97"/>
                    <a:pt x="183" y="97"/>
                  </a:cubicBezTo>
                  <a:cubicBezTo>
                    <a:pt x="183" y="97"/>
                    <a:pt x="183" y="97"/>
                    <a:pt x="183" y="97"/>
                  </a:cubicBezTo>
                  <a:cubicBezTo>
                    <a:pt x="183" y="97"/>
                    <a:pt x="184" y="97"/>
                    <a:pt x="184" y="97"/>
                  </a:cubicBezTo>
                  <a:cubicBezTo>
                    <a:pt x="184" y="96"/>
                    <a:pt x="184" y="96"/>
                    <a:pt x="185" y="96"/>
                  </a:cubicBezTo>
                  <a:cubicBezTo>
                    <a:pt x="185" y="96"/>
                    <a:pt x="185" y="96"/>
                    <a:pt x="185" y="96"/>
                  </a:cubicBezTo>
                  <a:cubicBezTo>
                    <a:pt x="185" y="96"/>
                    <a:pt x="185" y="96"/>
                    <a:pt x="185" y="96"/>
                  </a:cubicBezTo>
                  <a:cubicBezTo>
                    <a:pt x="185" y="96"/>
                    <a:pt x="185" y="95"/>
                    <a:pt x="185" y="95"/>
                  </a:cubicBezTo>
                  <a:cubicBezTo>
                    <a:pt x="185" y="95"/>
                    <a:pt x="185" y="95"/>
                    <a:pt x="185" y="95"/>
                  </a:cubicBezTo>
                  <a:cubicBezTo>
                    <a:pt x="185" y="95"/>
                    <a:pt x="185" y="95"/>
                    <a:pt x="184" y="94"/>
                  </a:cubicBezTo>
                  <a:cubicBezTo>
                    <a:pt x="184" y="94"/>
                    <a:pt x="184" y="94"/>
                    <a:pt x="184" y="94"/>
                  </a:cubicBezTo>
                  <a:cubicBezTo>
                    <a:pt x="184" y="94"/>
                    <a:pt x="185" y="93"/>
                    <a:pt x="185" y="93"/>
                  </a:cubicBezTo>
                  <a:cubicBezTo>
                    <a:pt x="185" y="93"/>
                    <a:pt x="186" y="93"/>
                    <a:pt x="186" y="93"/>
                  </a:cubicBezTo>
                  <a:cubicBezTo>
                    <a:pt x="186" y="93"/>
                    <a:pt x="187" y="92"/>
                    <a:pt x="187" y="92"/>
                  </a:cubicBezTo>
                  <a:cubicBezTo>
                    <a:pt x="187" y="92"/>
                    <a:pt x="188" y="92"/>
                    <a:pt x="188" y="92"/>
                  </a:cubicBezTo>
                  <a:cubicBezTo>
                    <a:pt x="188" y="92"/>
                    <a:pt x="188" y="92"/>
                    <a:pt x="189" y="92"/>
                  </a:cubicBezTo>
                  <a:cubicBezTo>
                    <a:pt x="189" y="92"/>
                    <a:pt x="189" y="92"/>
                    <a:pt x="189" y="92"/>
                  </a:cubicBezTo>
                  <a:cubicBezTo>
                    <a:pt x="189" y="92"/>
                    <a:pt x="188" y="92"/>
                    <a:pt x="188" y="93"/>
                  </a:cubicBezTo>
                  <a:cubicBezTo>
                    <a:pt x="188" y="93"/>
                    <a:pt x="188" y="93"/>
                    <a:pt x="188" y="93"/>
                  </a:cubicBezTo>
                  <a:cubicBezTo>
                    <a:pt x="188" y="93"/>
                    <a:pt x="188" y="93"/>
                    <a:pt x="189" y="93"/>
                  </a:cubicBezTo>
                  <a:cubicBezTo>
                    <a:pt x="189" y="93"/>
                    <a:pt x="189" y="93"/>
                    <a:pt x="189" y="93"/>
                  </a:cubicBezTo>
                  <a:cubicBezTo>
                    <a:pt x="189" y="94"/>
                    <a:pt x="189" y="94"/>
                    <a:pt x="188" y="94"/>
                  </a:cubicBezTo>
                  <a:cubicBezTo>
                    <a:pt x="188" y="94"/>
                    <a:pt x="188" y="94"/>
                    <a:pt x="188" y="94"/>
                  </a:cubicBezTo>
                  <a:cubicBezTo>
                    <a:pt x="188" y="94"/>
                    <a:pt x="188" y="94"/>
                    <a:pt x="188" y="95"/>
                  </a:cubicBezTo>
                  <a:cubicBezTo>
                    <a:pt x="188" y="95"/>
                    <a:pt x="188" y="95"/>
                    <a:pt x="188" y="95"/>
                  </a:cubicBezTo>
                  <a:cubicBezTo>
                    <a:pt x="188" y="95"/>
                    <a:pt x="188" y="95"/>
                    <a:pt x="187" y="95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7" y="95"/>
                    <a:pt x="187" y="95"/>
                    <a:pt x="187" y="96"/>
                  </a:cubicBezTo>
                  <a:cubicBezTo>
                    <a:pt x="187" y="96"/>
                    <a:pt x="188" y="96"/>
                    <a:pt x="188" y="96"/>
                  </a:cubicBezTo>
                  <a:cubicBezTo>
                    <a:pt x="188" y="96"/>
                    <a:pt x="188" y="96"/>
                    <a:pt x="188" y="96"/>
                  </a:cubicBezTo>
                  <a:cubicBezTo>
                    <a:pt x="188" y="96"/>
                    <a:pt x="188" y="96"/>
                    <a:pt x="189" y="97"/>
                  </a:cubicBezTo>
                  <a:cubicBezTo>
                    <a:pt x="189" y="97"/>
                    <a:pt x="189" y="97"/>
                    <a:pt x="189" y="97"/>
                  </a:cubicBezTo>
                  <a:cubicBezTo>
                    <a:pt x="190" y="97"/>
                    <a:pt x="190" y="97"/>
                    <a:pt x="190" y="97"/>
                  </a:cubicBezTo>
                  <a:cubicBezTo>
                    <a:pt x="190" y="98"/>
                    <a:pt x="191" y="98"/>
                    <a:pt x="191" y="98"/>
                  </a:cubicBezTo>
                  <a:cubicBezTo>
                    <a:pt x="191" y="98"/>
                    <a:pt x="191" y="99"/>
                    <a:pt x="191" y="99"/>
                  </a:cubicBezTo>
                  <a:cubicBezTo>
                    <a:pt x="192" y="99"/>
                    <a:pt x="192" y="99"/>
                    <a:pt x="192" y="99"/>
                  </a:cubicBezTo>
                  <a:cubicBezTo>
                    <a:pt x="192" y="99"/>
                    <a:pt x="193" y="99"/>
                    <a:pt x="193" y="100"/>
                  </a:cubicBezTo>
                  <a:cubicBezTo>
                    <a:pt x="193" y="100"/>
                    <a:pt x="193" y="100"/>
                    <a:pt x="193" y="100"/>
                  </a:cubicBezTo>
                  <a:cubicBezTo>
                    <a:pt x="193" y="100"/>
                    <a:pt x="193" y="101"/>
                    <a:pt x="193" y="101"/>
                  </a:cubicBezTo>
                  <a:cubicBezTo>
                    <a:pt x="194" y="101"/>
                    <a:pt x="194" y="101"/>
                    <a:pt x="194" y="102"/>
                  </a:cubicBezTo>
                  <a:cubicBezTo>
                    <a:pt x="194" y="102"/>
                    <a:pt x="194" y="102"/>
                    <a:pt x="194" y="102"/>
                  </a:cubicBezTo>
                  <a:cubicBezTo>
                    <a:pt x="193" y="102"/>
                    <a:pt x="193" y="102"/>
                    <a:pt x="193" y="102"/>
                  </a:cubicBezTo>
                  <a:cubicBezTo>
                    <a:pt x="193" y="103"/>
                    <a:pt x="193" y="103"/>
                    <a:pt x="192" y="103"/>
                  </a:cubicBezTo>
                  <a:cubicBezTo>
                    <a:pt x="192" y="103"/>
                    <a:pt x="192" y="103"/>
                    <a:pt x="192" y="103"/>
                  </a:cubicBezTo>
                  <a:cubicBezTo>
                    <a:pt x="191" y="104"/>
                    <a:pt x="191" y="104"/>
                    <a:pt x="191" y="103"/>
                  </a:cubicBezTo>
                  <a:cubicBezTo>
                    <a:pt x="191" y="103"/>
                    <a:pt x="190" y="103"/>
                    <a:pt x="190" y="103"/>
                  </a:cubicBezTo>
                  <a:cubicBezTo>
                    <a:pt x="190" y="103"/>
                    <a:pt x="190" y="103"/>
                    <a:pt x="189" y="103"/>
                  </a:cubicBezTo>
                  <a:cubicBezTo>
                    <a:pt x="189" y="103"/>
                    <a:pt x="189" y="103"/>
                    <a:pt x="188" y="103"/>
                  </a:cubicBezTo>
                  <a:cubicBezTo>
                    <a:pt x="188" y="103"/>
                    <a:pt x="187" y="102"/>
                    <a:pt x="187" y="102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7" y="103"/>
                    <a:pt x="186" y="102"/>
                    <a:pt x="186" y="102"/>
                  </a:cubicBezTo>
                  <a:cubicBezTo>
                    <a:pt x="186" y="102"/>
                    <a:pt x="186" y="102"/>
                    <a:pt x="186" y="102"/>
                  </a:cubicBezTo>
                  <a:cubicBezTo>
                    <a:pt x="186" y="102"/>
                    <a:pt x="186" y="102"/>
                    <a:pt x="186" y="102"/>
                  </a:cubicBezTo>
                  <a:cubicBezTo>
                    <a:pt x="185" y="102"/>
                    <a:pt x="185" y="102"/>
                    <a:pt x="185" y="102"/>
                  </a:cubicBezTo>
                  <a:cubicBezTo>
                    <a:pt x="185" y="102"/>
                    <a:pt x="184" y="101"/>
                    <a:pt x="184" y="101"/>
                  </a:cubicBezTo>
                  <a:cubicBezTo>
                    <a:pt x="184" y="101"/>
                    <a:pt x="183" y="101"/>
                    <a:pt x="183" y="101"/>
                  </a:cubicBezTo>
                  <a:cubicBezTo>
                    <a:pt x="183" y="101"/>
                    <a:pt x="182" y="102"/>
                    <a:pt x="182" y="102"/>
                  </a:cubicBezTo>
                  <a:cubicBezTo>
                    <a:pt x="182" y="102"/>
                    <a:pt x="181" y="102"/>
                    <a:pt x="181" y="102"/>
                  </a:cubicBezTo>
                  <a:cubicBezTo>
                    <a:pt x="181" y="102"/>
                    <a:pt x="180" y="102"/>
                    <a:pt x="180" y="103"/>
                  </a:cubicBezTo>
                  <a:cubicBezTo>
                    <a:pt x="180" y="103"/>
                    <a:pt x="180" y="103"/>
                    <a:pt x="180" y="103"/>
                  </a:cubicBezTo>
                  <a:cubicBezTo>
                    <a:pt x="180" y="103"/>
                    <a:pt x="179" y="103"/>
                    <a:pt x="179" y="103"/>
                  </a:cubicBezTo>
                  <a:cubicBezTo>
                    <a:pt x="179" y="103"/>
                    <a:pt x="179" y="103"/>
                    <a:pt x="178" y="103"/>
                  </a:cubicBezTo>
                  <a:cubicBezTo>
                    <a:pt x="178" y="103"/>
                    <a:pt x="178" y="103"/>
                    <a:pt x="178" y="103"/>
                  </a:cubicBezTo>
                  <a:cubicBezTo>
                    <a:pt x="177" y="103"/>
                    <a:pt x="177" y="103"/>
                    <a:pt x="177" y="103"/>
                  </a:cubicBezTo>
                  <a:cubicBezTo>
                    <a:pt x="177" y="103"/>
                    <a:pt x="176" y="103"/>
                    <a:pt x="176" y="103"/>
                  </a:cubicBezTo>
                  <a:cubicBezTo>
                    <a:pt x="176" y="103"/>
                    <a:pt x="176" y="103"/>
                    <a:pt x="176" y="102"/>
                  </a:cubicBezTo>
                  <a:cubicBezTo>
                    <a:pt x="175" y="102"/>
                    <a:pt x="175" y="102"/>
                    <a:pt x="175" y="102"/>
                  </a:cubicBezTo>
                  <a:cubicBezTo>
                    <a:pt x="175" y="101"/>
                    <a:pt x="175" y="101"/>
                    <a:pt x="175" y="101"/>
                  </a:cubicBezTo>
                  <a:cubicBezTo>
                    <a:pt x="175" y="101"/>
                    <a:pt x="175" y="101"/>
                    <a:pt x="175" y="101"/>
                  </a:cubicBezTo>
                  <a:cubicBezTo>
                    <a:pt x="175" y="100"/>
                    <a:pt x="175" y="100"/>
                    <a:pt x="175" y="100"/>
                  </a:cubicBezTo>
                  <a:cubicBezTo>
                    <a:pt x="175" y="100"/>
                    <a:pt x="175" y="100"/>
                    <a:pt x="175" y="100"/>
                  </a:cubicBezTo>
                  <a:cubicBezTo>
                    <a:pt x="175" y="100"/>
                    <a:pt x="175" y="99"/>
                    <a:pt x="176" y="99"/>
                  </a:cubicBezTo>
                  <a:cubicBezTo>
                    <a:pt x="176" y="99"/>
                    <a:pt x="176" y="99"/>
                    <a:pt x="176" y="99"/>
                  </a:cubicBezTo>
                  <a:cubicBezTo>
                    <a:pt x="176" y="99"/>
                    <a:pt x="176" y="98"/>
                    <a:pt x="176" y="98"/>
                  </a:cubicBezTo>
                  <a:cubicBezTo>
                    <a:pt x="176" y="98"/>
                    <a:pt x="176" y="97"/>
                    <a:pt x="176" y="97"/>
                  </a:cubicBezTo>
                  <a:cubicBezTo>
                    <a:pt x="177" y="97"/>
                    <a:pt x="177" y="96"/>
                    <a:pt x="177" y="96"/>
                  </a:cubicBezTo>
                  <a:cubicBezTo>
                    <a:pt x="177" y="96"/>
                    <a:pt x="177" y="96"/>
                    <a:pt x="177" y="96"/>
                  </a:cubicBezTo>
                  <a:cubicBezTo>
                    <a:pt x="177" y="96"/>
                    <a:pt x="178" y="96"/>
                    <a:pt x="178" y="96"/>
                  </a:cubicBezTo>
                  <a:cubicBezTo>
                    <a:pt x="178" y="96"/>
                    <a:pt x="178" y="95"/>
                    <a:pt x="178" y="95"/>
                  </a:cubicBezTo>
                  <a:cubicBezTo>
                    <a:pt x="178" y="94"/>
                    <a:pt x="178" y="94"/>
                    <a:pt x="178" y="94"/>
                  </a:cubicBezTo>
                  <a:cubicBezTo>
                    <a:pt x="178" y="94"/>
                    <a:pt x="179" y="94"/>
                    <a:pt x="179" y="94"/>
                  </a:cubicBezTo>
                  <a:cubicBezTo>
                    <a:pt x="179" y="93"/>
                    <a:pt x="179" y="93"/>
                    <a:pt x="179" y="93"/>
                  </a:cubicBezTo>
                  <a:cubicBezTo>
                    <a:pt x="180" y="93"/>
                    <a:pt x="181" y="93"/>
                    <a:pt x="181" y="93"/>
                  </a:cubicBezTo>
                  <a:cubicBezTo>
                    <a:pt x="181" y="93"/>
                    <a:pt x="181" y="93"/>
                    <a:pt x="181" y="93"/>
                  </a:cubicBezTo>
                  <a:cubicBezTo>
                    <a:pt x="180" y="93"/>
                    <a:pt x="180" y="93"/>
                    <a:pt x="181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2400" kern="0" dirty="0">
                <a:solidFill>
                  <a:srgbClr val="626250"/>
                </a:solidFill>
              </a:endParaRPr>
            </a:p>
          </p:txBody>
        </p:sp>
      </p:grpSp>
      <p:sp>
        <p:nvSpPr>
          <p:cNvPr id="455" name="Rectangle 454">
            <a:extLst>
              <a:ext uri="{FF2B5EF4-FFF2-40B4-BE49-F238E27FC236}">
                <a16:creationId xmlns:a16="http://schemas.microsoft.com/office/drawing/2014/main" id="{1421FF97-97EF-4306-83EA-74F46C920130}"/>
              </a:ext>
            </a:extLst>
          </p:cNvPr>
          <p:cNvSpPr/>
          <p:nvPr/>
        </p:nvSpPr>
        <p:spPr>
          <a:xfrm>
            <a:off x="2578745" y="2866174"/>
            <a:ext cx="1278885" cy="487759"/>
          </a:xfrm>
          <a:prstGeom prst="rect">
            <a:avLst/>
          </a:prstGeom>
        </p:spPr>
        <p:txBody>
          <a:bodyPr wrap="square" lIns="68514" tIns="34257" rIns="68514" bIns="34257">
            <a:spAutoFit/>
          </a:bodyPr>
          <a:lstStyle/>
          <a:p>
            <a:pPr marL="0" marR="0" lvl="0" indent="0" algn="r" defTabSz="91514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458A"/>
                </a:solidFill>
                <a:latin typeface="Calibri Light" panose="020F0302020204030204" pitchFamily="34" charset="0"/>
              </a:rPr>
              <a:t>Sharp US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458A"/>
                </a:solidFill>
                <a:effectLst/>
                <a:uLnTx/>
                <a:uFillTx/>
                <a:latin typeface="Calibri Light" panose="020F0302020204030204" pitchFamily="34" charset="0"/>
              </a:rPr>
              <a:t> </a:t>
            </a:r>
          </a:p>
          <a:p>
            <a:pPr marL="0" marR="0" lvl="0" indent="0" algn="r" defTabSz="91514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kern="0" dirty="0">
                <a:solidFill>
                  <a:srgbClr val="00458A"/>
                </a:solidFill>
                <a:latin typeface="Calibri Light" panose="020F0302020204030204" pitchFamily="34" charset="0"/>
              </a:rPr>
              <a:t> 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458A"/>
              </a:solidFill>
              <a:effectLst/>
              <a:uLnTx/>
              <a:uFillTx/>
              <a:latin typeface="Calibri Light" panose="020F0302020204030204" pitchFamily="34" charset="0"/>
            </a:endParaRPr>
          </a:p>
        </p:txBody>
      </p:sp>
      <p:sp>
        <p:nvSpPr>
          <p:cNvPr id="456" name="Rectangle 455">
            <a:extLst>
              <a:ext uri="{FF2B5EF4-FFF2-40B4-BE49-F238E27FC236}">
                <a16:creationId xmlns:a16="http://schemas.microsoft.com/office/drawing/2014/main" id="{96499501-E0D5-47EA-A532-42C4FDBA563C}"/>
              </a:ext>
            </a:extLst>
          </p:cNvPr>
          <p:cNvSpPr/>
          <p:nvPr/>
        </p:nvSpPr>
        <p:spPr>
          <a:xfrm>
            <a:off x="2578745" y="3389660"/>
            <a:ext cx="1278885" cy="487759"/>
          </a:xfrm>
          <a:prstGeom prst="rect">
            <a:avLst/>
          </a:prstGeom>
        </p:spPr>
        <p:txBody>
          <a:bodyPr wrap="square" lIns="68514" tIns="34257" rIns="68514" bIns="34257">
            <a:spAutoFit/>
          </a:bodyPr>
          <a:lstStyle/>
          <a:p>
            <a:pPr marL="0" marR="0" lvl="0" indent="0" algn="r" defTabSz="91514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458A"/>
                </a:solidFill>
                <a:latin typeface="Calibri Light" panose="020F0302020204030204" pitchFamily="34" charset="0"/>
              </a:rPr>
              <a:t>Sharp EU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458A"/>
                </a:solidFill>
                <a:effectLst/>
                <a:uLnTx/>
                <a:uFillTx/>
                <a:latin typeface="Calibri Light" panose="020F0302020204030204" pitchFamily="34" charset="0"/>
              </a:rPr>
              <a:t> </a:t>
            </a:r>
          </a:p>
          <a:p>
            <a:pPr marL="0" marR="0" lvl="0" indent="0" algn="r" defTabSz="91514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kern="0" dirty="0">
                <a:solidFill>
                  <a:srgbClr val="00458A"/>
                </a:solidFill>
                <a:latin typeface="Calibri Light" panose="020F0302020204030204" pitchFamily="34" charset="0"/>
              </a:rPr>
              <a:t> 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458A"/>
              </a:solidFill>
              <a:effectLst/>
              <a:uLnTx/>
              <a:uFillTx/>
              <a:latin typeface="Calibri Light" panose="020F0302020204030204" pitchFamily="34" charset="0"/>
            </a:endParaRPr>
          </a:p>
        </p:txBody>
      </p:sp>
      <p:sp>
        <p:nvSpPr>
          <p:cNvPr id="457" name="Rectangle 456">
            <a:extLst>
              <a:ext uri="{FF2B5EF4-FFF2-40B4-BE49-F238E27FC236}">
                <a16:creationId xmlns:a16="http://schemas.microsoft.com/office/drawing/2014/main" id="{2AE6C2E7-D905-4831-93BC-601B87132803}"/>
              </a:ext>
            </a:extLst>
          </p:cNvPr>
          <p:cNvSpPr/>
          <p:nvPr/>
        </p:nvSpPr>
        <p:spPr>
          <a:xfrm>
            <a:off x="2407067" y="3913147"/>
            <a:ext cx="1450563" cy="487759"/>
          </a:xfrm>
          <a:prstGeom prst="rect">
            <a:avLst/>
          </a:prstGeom>
        </p:spPr>
        <p:txBody>
          <a:bodyPr wrap="square" lIns="68514" tIns="34257" rIns="68514" bIns="34257">
            <a:spAutoFit/>
          </a:bodyPr>
          <a:lstStyle/>
          <a:p>
            <a:pPr marL="0" marR="0" lvl="0" indent="0" algn="r" defTabSz="91514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458A"/>
                </a:solidFill>
                <a:latin typeface="Calibri Light" panose="020F0302020204030204" pitchFamily="34" charset="0"/>
              </a:rPr>
              <a:t>Sharp Clinical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458A"/>
                </a:solidFill>
                <a:effectLst/>
                <a:uLnTx/>
                <a:uFillTx/>
                <a:latin typeface="Calibri Light" panose="020F0302020204030204" pitchFamily="34" charset="0"/>
              </a:rPr>
              <a:t> </a:t>
            </a:r>
          </a:p>
          <a:p>
            <a:pPr marL="0" marR="0" lvl="0" indent="0" algn="r" defTabSz="91514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kern="0" dirty="0">
                <a:solidFill>
                  <a:srgbClr val="00458A"/>
                </a:solidFill>
                <a:latin typeface="Calibri Light" panose="020F0302020204030204" pitchFamily="34" charset="0"/>
              </a:rPr>
              <a:t> 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458A"/>
              </a:solidFill>
              <a:effectLst/>
              <a:uLnTx/>
              <a:uFillTx/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882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492A48-8D00-4C32-BE00-82852A0A30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23" y="172024"/>
            <a:ext cx="6965950" cy="594041"/>
          </a:xfrm>
        </p:spPr>
        <p:txBody>
          <a:bodyPr anchor="ctr"/>
          <a:lstStyle/>
          <a:p>
            <a:r>
              <a:rPr lang="en-GB" sz="2000" b="1" dirty="0"/>
              <a:t>Sharp </a:t>
            </a:r>
            <a:r>
              <a:rPr lang="en-GB" sz="2000" b="1" dirty="0" smtClean="0"/>
              <a:t>Services </a:t>
            </a:r>
            <a:r>
              <a:rPr lang="en-GB" sz="2000" b="1" dirty="0"/>
              <a:t>– </a:t>
            </a:r>
            <a:r>
              <a:rPr lang="en-GB" sz="2000" dirty="0"/>
              <a:t>Relocating for Growth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9FC377A-4BC7-4C1E-B18B-E5DB1D00F4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0873" y="2959474"/>
            <a:ext cx="2944221" cy="1689966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76EAD9A-6CFB-4D7F-B009-907D11C495E9}"/>
              </a:ext>
            </a:extLst>
          </p:cNvPr>
          <p:cNvSpPr/>
          <p:nvPr/>
        </p:nvSpPr>
        <p:spPr>
          <a:xfrm>
            <a:off x="3809651" y="865533"/>
            <a:ext cx="3731790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93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300" b="1" dirty="0">
                <a:solidFill>
                  <a:schemeClr val="bg2">
                    <a:lumMod val="50000"/>
                  </a:schemeClr>
                </a:solidFill>
              </a:rPr>
              <a:t>1988</a:t>
            </a:r>
            <a:r>
              <a:rPr lang="en-GB" sz="1300" dirty="0">
                <a:solidFill>
                  <a:schemeClr val="bg2">
                    <a:lumMod val="50000"/>
                  </a:schemeClr>
                </a:solidFill>
              </a:rPr>
              <a:t>: DHP Ltd </a:t>
            </a:r>
            <a:r>
              <a:rPr lang="en-GB" sz="1300" dirty="0" smtClean="0">
                <a:solidFill>
                  <a:schemeClr val="bg2">
                    <a:lumMod val="50000"/>
                  </a:schemeClr>
                </a:solidFill>
              </a:rPr>
              <a:t>founded</a:t>
            </a:r>
            <a:endParaRPr lang="en-GB" sz="1300" dirty="0">
              <a:solidFill>
                <a:schemeClr val="bg2">
                  <a:lumMod val="50000"/>
                </a:schemeClr>
              </a:solidFill>
            </a:endParaRPr>
          </a:p>
          <a:p>
            <a:pPr marL="179388" indent="-1793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300" b="1" dirty="0">
                <a:solidFill>
                  <a:schemeClr val="bg2">
                    <a:lumMod val="50000"/>
                  </a:schemeClr>
                </a:solidFill>
              </a:rPr>
              <a:t>2007:</a:t>
            </a:r>
            <a:r>
              <a:rPr lang="en-GB" sz="1300" dirty="0">
                <a:solidFill>
                  <a:schemeClr val="bg2">
                    <a:lumMod val="50000"/>
                  </a:schemeClr>
                </a:solidFill>
              </a:rPr>
              <a:t> Expanded and relocated to </a:t>
            </a:r>
            <a:r>
              <a:rPr lang="en-GB" sz="1300" dirty="0" smtClean="0">
                <a:solidFill>
                  <a:schemeClr val="bg2">
                    <a:lumMod val="50000"/>
                  </a:schemeClr>
                </a:solidFill>
              </a:rPr>
              <a:t>Crickhowell</a:t>
            </a:r>
            <a:endParaRPr lang="en-GB" sz="1300" dirty="0">
              <a:solidFill>
                <a:schemeClr val="bg2">
                  <a:lumMod val="50000"/>
                </a:schemeClr>
              </a:solidFill>
            </a:endParaRPr>
          </a:p>
          <a:p>
            <a:pPr marL="179388" indent="-1793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300" b="1" dirty="0">
                <a:solidFill>
                  <a:schemeClr val="bg2">
                    <a:lumMod val="50000"/>
                  </a:schemeClr>
                </a:solidFill>
              </a:rPr>
              <a:t>2012</a:t>
            </a:r>
            <a:r>
              <a:rPr lang="en-GB" sz="1300" dirty="0">
                <a:solidFill>
                  <a:schemeClr val="bg2">
                    <a:lumMod val="50000"/>
                  </a:schemeClr>
                </a:solidFill>
              </a:rPr>
              <a:t>: Acquired by UDG Healthcare, rebranded as Sharp </a:t>
            </a:r>
            <a:r>
              <a:rPr lang="en-GB" sz="1300" dirty="0" smtClean="0">
                <a:solidFill>
                  <a:schemeClr val="bg2">
                    <a:lumMod val="50000"/>
                  </a:schemeClr>
                </a:solidFill>
              </a:rPr>
              <a:t>Services</a:t>
            </a:r>
            <a:endParaRPr lang="en-GB" sz="13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35748B-092F-4752-BBAE-58F588F4D62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190" t="13753" r="2035" b="10238"/>
          <a:stretch/>
        </p:blipFill>
        <p:spPr>
          <a:xfrm>
            <a:off x="714274" y="697230"/>
            <a:ext cx="2711349" cy="1814034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0E4A027-71E6-406E-BDEC-DCA815716DC7}"/>
              </a:ext>
            </a:extLst>
          </p:cNvPr>
          <p:cNvSpPr/>
          <p:nvPr/>
        </p:nvSpPr>
        <p:spPr>
          <a:xfrm>
            <a:off x="714274" y="3026735"/>
            <a:ext cx="4149288" cy="1523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93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300" b="1" dirty="0">
                <a:solidFill>
                  <a:schemeClr val="bg2">
                    <a:lumMod val="50000"/>
                  </a:schemeClr>
                </a:solidFill>
              </a:rPr>
              <a:t>2017:  </a:t>
            </a:r>
            <a:r>
              <a:rPr lang="en-GB" sz="1300" dirty="0" smtClean="0">
                <a:solidFill>
                  <a:schemeClr val="bg2">
                    <a:lumMod val="50000"/>
                  </a:schemeClr>
                </a:solidFill>
              </a:rPr>
              <a:t>UDG</a:t>
            </a:r>
            <a:r>
              <a:rPr lang="en-GB" sz="1300" dirty="0">
                <a:solidFill>
                  <a:schemeClr val="bg2">
                    <a:lumMod val="50000"/>
                  </a:schemeClr>
                </a:solidFill>
              </a:rPr>
              <a:t>,</a:t>
            </a:r>
            <a:r>
              <a:rPr lang="en-GB" sz="1300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sz="1300" dirty="0">
                <a:solidFill>
                  <a:schemeClr val="bg2">
                    <a:lumMod val="50000"/>
                  </a:schemeClr>
                </a:solidFill>
              </a:rPr>
              <a:t>Sharp purchased a brownfield site in Rhymney for £3.5 million</a:t>
            </a:r>
          </a:p>
          <a:p>
            <a:pPr marL="179388" indent="-1793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300" b="1" dirty="0">
                <a:solidFill>
                  <a:schemeClr val="bg2">
                    <a:lumMod val="50000"/>
                  </a:schemeClr>
                </a:solidFill>
              </a:rPr>
              <a:t>Dec 2017:</a:t>
            </a:r>
            <a:r>
              <a:rPr lang="en-GB" sz="13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sz="1300" dirty="0" smtClean="0">
                <a:solidFill>
                  <a:schemeClr val="bg2">
                    <a:lumMod val="50000"/>
                  </a:schemeClr>
                </a:solidFill>
              </a:rPr>
              <a:t>£9.5M </a:t>
            </a:r>
            <a:r>
              <a:rPr lang="en-GB" sz="1300" dirty="0">
                <a:solidFill>
                  <a:schemeClr val="bg2">
                    <a:lumMod val="50000"/>
                  </a:schemeClr>
                </a:solidFill>
              </a:rPr>
              <a:t>rebuilding project, with </a:t>
            </a:r>
            <a:r>
              <a:rPr lang="en-GB" sz="1300" dirty="0">
                <a:solidFill>
                  <a:schemeClr val="tx2"/>
                </a:solidFill>
              </a:rPr>
              <a:t>£500,000 support from the Welsh government</a:t>
            </a:r>
          </a:p>
          <a:p>
            <a:pPr marL="179388" indent="-1793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300" b="1" dirty="0">
                <a:solidFill>
                  <a:schemeClr val="bg2">
                    <a:lumMod val="50000"/>
                  </a:schemeClr>
                </a:solidFill>
              </a:rPr>
              <a:t>Oct</a:t>
            </a:r>
            <a:r>
              <a:rPr lang="en-GB" sz="13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sz="1300" b="1" dirty="0">
                <a:solidFill>
                  <a:schemeClr val="bg2">
                    <a:lumMod val="50000"/>
                  </a:schemeClr>
                </a:solidFill>
              </a:rPr>
              <a:t>2018: </a:t>
            </a:r>
            <a:r>
              <a:rPr lang="en-GB" sz="1300" dirty="0">
                <a:solidFill>
                  <a:schemeClr val="bg2">
                    <a:lumMod val="50000"/>
                  </a:schemeClr>
                </a:solidFill>
              </a:rPr>
              <a:t>Facility </a:t>
            </a:r>
            <a:r>
              <a:rPr lang="en-GB" sz="1300" dirty="0" smtClean="0">
                <a:solidFill>
                  <a:schemeClr val="bg2">
                    <a:lumMod val="50000"/>
                  </a:schemeClr>
                </a:solidFill>
              </a:rPr>
              <a:t>was </a:t>
            </a:r>
            <a:r>
              <a:rPr lang="en-GB" sz="1300" dirty="0">
                <a:solidFill>
                  <a:schemeClr val="bg2">
                    <a:lumMod val="50000"/>
                  </a:schemeClr>
                </a:solidFill>
              </a:rPr>
              <a:t>completed</a:t>
            </a:r>
          </a:p>
          <a:p>
            <a:pPr marL="179388" indent="-1793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300" b="1" dirty="0">
                <a:solidFill>
                  <a:schemeClr val="bg2">
                    <a:lumMod val="50000"/>
                  </a:schemeClr>
                </a:solidFill>
              </a:rPr>
              <a:t>April 2019: </a:t>
            </a:r>
            <a:r>
              <a:rPr lang="en-GB" sz="1300" dirty="0" smtClean="0">
                <a:solidFill>
                  <a:schemeClr val="bg2">
                    <a:lumMod val="50000"/>
                  </a:schemeClr>
                </a:solidFill>
              </a:rPr>
              <a:t>Regulatory approval </a:t>
            </a:r>
            <a:r>
              <a:rPr lang="en-GB" sz="1300" dirty="0">
                <a:solidFill>
                  <a:schemeClr val="bg2">
                    <a:lumMod val="50000"/>
                  </a:schemeClr>
                </a:solidFill>
              </a:rPr>
              <a:t>grante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C19D472-DEFE-49F9-8DC2-DDDDA5A1148D}"/>
              </a:ext>
            </a:extLst>
          </p:cNvPr>
          <p:cNvSpPr/>
          <p:nvPr/>
        </p:nvSpPr>
        <p:spPr>
          <a:xfrm>
            <a:off x="714274" y="2571750"/>
            <a:ext cx="7615740" cy="327238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3312A1-F29B-427D-99DA-F155E81396D0}"/>
              </a:ext>
            </a:extLst>
          </p:cNvPr>
          <p:cNvSpPr/>
          <p:nvPr/>
        </p:nvSpPr>
        <p:spPr>
          <a:xfrm>
            <a:off x="1886750" y="2587548"/>
            <a:ext cx="5654691" cy="3139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lvl="1" algn="ctr" defTabSz="1219139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75000"/>
              <a:tabLst>
                <a:tab pos="3888389" algn="l"/>
              </a:tabLst>
              <a:defRPr/>
            </a:pPr>
            <a:r>
              <a:rPr lang="en-GB" sz="1600" b="1" spc="-40" dirty="0">
                <a:solidFill>
                  <a:schemeClr val="bg1"/>
                </a:solidFill>
                <a:cs typeface="Calibri Light" panose="020F0302020204030204" pitchFamily="34" charset="0"/>
              </a:rPr>
              <a:t>Greater capacity | Expanded services | A world-class facility</a:t>
            </a:r>
          </a:p>
        </p:txBody>
      </p:sp>
    </p:spTree>
    <p:extLst>
      <p:ext uri="{BB962C8B-B14F-4D97-AF65-F5344CB8AC3E}">
        <p14:creationId xmlns:p14="http://schemas.microsoft.com/office/powerpoint/2010/main" val="1631477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D01D541-99EF-42DB-8589-D411676754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128" y="316040"/>
            <a:ext cx="6965950" cy="594041"/>
          </a:xfrm>
        </p:spPr>
        <p:txBody>
          <a:bodyPr anchor="ctr"/>
          <a:lstStyle/>
          <a:p>
            <a:r>
              <a:rPr lang="en-IE" sz="2000" b="1" dirty="0"/>
              <a:t>Sharp </a:t>
            </a:r>
            <a:r>
              <a:rPr lang="en-IE" sz="2000" b="1" dirty="0" smtClean="0"/>
              <a:t> Services UK</a:t>
            </a:r>
            <a:endParaRPr lang="en-IE" sz="2000" b="1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0BB6C2-8897-4593-B3C7-0B4AE89D1D9D}"/>
              </a:ext>
            </a:extLst>
          </p:cNvPr>
          <p:cNvSpPr txBox="1">
            <a:spLocks/>
          </p:cNvSpPr>
          <p:nvPr/>
        </p:nvSpPr>
        <p:spPr>
          <a:xfrm>
            <a:off x="704675" y="1142840"/>
            <a:ext cx="7792471" cy="29090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08360" indent="-20836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75000"/>
              <a:buFontTx/>
              <a:buBlip>
                <a:blip r:embed="rId2"/>
              </a:buBlip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7194" indent="-1905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Symbol" pitchFamily="18" charset="2"/>
              <a:buChar char="-"/>
              <a:tabLst>
                <a:tab pos="402431" algn="l"/>
              </a:tabLst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0310" indent="-163116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Arial" pitchFamily="34" charset="0"/>
              <a:buChar char="•"/>
              <a:tabLst>
                <a:tab pos="557213" algn="l"/>
              </a:tabLst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9379" indent="-17740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Arial" pitchFamily="34" charset="0"/>
              <a:buChar char="–"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8688" indent="-1762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Arial" pitchFamily="34" charset="0"/>
              <a:buChar char="»"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600"/>
              </a:spcAft>
            </a:pPr>
            <a:endParaRPr lang="en-GB" sz="1600" dirty="0">
              <a:solidFill>
                <a:schemeClr val="bg2">
                  <a:lumMod val="50000"/>
                </a:schemeClr>
              </a:solidFill>
            </a:endParaRPr>
          </a:p>
          <a:p>
            <a:pPr lvl="1">
              <a:spcAft>
                <a:spcPts val="600"/>
              </a:spcAft>
            </a:pPr>
            <a:endParaRPr lang="en-GB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8D38F637-F7A3-419A-8DBE-438B0D5E3A93}"/>
              </a:ext>
            </a:extLst>
          </p:cNvPr>
          <p:cNvSpPr txBox="1">
            <a:spLocks/>
          </p:cNvSpPr>
          <p:nvPr/>
        </p:nvSpPr>
        <p:spPr>
          <a:xfrm>
            <a:off x="642328" y="933992"/>
            <a:ext cx="8076712" cy="30750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08360" indent="-20836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75000"/>
              <a:buFontTx/>
              <a:buBlip>
                <a:blip r:embed="rId2"/>
              </a:buBlip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7194" indent="-1905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Symbol" pitchFamily="18" charset="2"/>
              <a:buChar char="-"/>
              <a:tabLst>
                <a:tab pos="402431" algn="l"/>
              </a:tabLst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0310" indent="-163116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Arial" pitchFamily="34" charset="0"/>
              <a:buChar char="•"/>
              <a:tabLst>
                <a:tab pos="557213" algn="l"/>
              </a:tabLst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9379" indent="-17740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Arial" pitchFamily="34" charset="0"/>
              <a:buChar char="–"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8688" indent="-1762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Arial" pitchFamily="34" charset="0"/>
              <a:buChar char="»"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	</a:t>
            </a:r>
            <a:r>
              <a:rPr lang="en-GB" i="1" dirty="0">
                <a:solidFill>
                  <a:schemeClr val="tx2"/>
                </a:solidFill>
              </a:rPr>
              <a:t>	</a:t>
            </a:r>
          </a:p>
          <a:p>
            <a:pPr marL="0" indent="0" algn="r">
              <a:buNone/>
            </a:pPr>
            <a:r>
              <a:rPr lang="en-GB" dirty="0">
                <a:solidFill>
                  <a:schemeClr val="tx2"/>
                </a:solidFill>
              </a:rPr>
              <a:t>	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	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86DB602-1D99-4BB8-B29A-6849C63C7D27}"/>
              </a:ext>
            </a:extLst>
          </p:cNvPr>
          <p:cNvSpPr txBox="1"/>
          <p:nvPr/>
        </p:nvSpPr>
        <p:spPr>
          <a:xfrm>
            <a:off x="4374668" y="932628"/>
            <a:ext cx="4084140" cy="1184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2"/>
                </a:solidFill>
              </a:rPr>
              <a:t>110,000</a:t>
            </a:r>
            <a:r>
              <a:rPr lang="en-US" sz="1400" dirty="0">
                <a:solidFill>
                  <a:schemeClr val="tx2"/>
                </a:solidFill>
              </a:rPr>
              <a:t> square foot facility</a:t>
            </a:r>
          </a:p>
          <a:p>
            <a:pPr marL="179388" indent="-1793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2"/>
                </a:solidFill>
              </a:rPr>
              <a:t>14 </a:t>
            </a:r>
            <a:r>
              <a:rPr lang="en-US" sz="1400" dirty="0" smtClean="0">
                <a:solidFill>
                  <a:schemeClr val="tx2"/>
                </a:solidFill>
              </a:rPr>
              <a:t>Manufacturing/production rooms</a:t>
            </a:r>
            <a:endParaRPr lang="en-US" sz="1400" dirty="0">
              <a:solidFill>
                <a:schemeClr val="tx2"/>
              </a:solidFill>
            </a:endParaRPr>
          </a:p>
          <a:p>
            <a:pPr marL="179388" indent="-1793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</a:rPr>
              <a:t>Walk-in </a:t>
            </a:r>
            <a:r>
              <a:rPr lang="en-US" sz="1400" dirty="0">
                <a:solidFill>
                  <a:schemeClr val="tx2"/>
                </a:solidFill>
              </a:rPr>
              <a:t>storage </a:t>
            </a:r>
            <a:r>
              <a:rPr lang="en-US" sz="1400" dirty="0" smtClean="0">
                <a:solidFill>
                  <a:schemeClr val="tx2"/>
                </a:solidFill>
              </a:rPr>
              <a:t>refrigerator and </a:t>
            </a:r>
            <a:r>
              <a:rPr lang="en-US" sz="1400" b="1" dirty="0" smtClean="0">
                <a:solidFill>
                  <a:schemeClr val="tx2"/>
                </a:solidFill>
              </a:rPr>
              <a:t>-20C</a:t>
            </a:r>
            <a:endParaRPr lang="en-US" sz="1400" dirty="0">
              <a:solidFill>
                <a:schemeClr val="tx2"/>
              </a:solidFill>
            </a:endParaRPr>
          </a:p>
          <a:p>
            <a:pPr marL="179388" indent="-1793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Schedule I-V controlled drug storage</a:t>
            </a:r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373231CD-CA7A-4751-A109-ADA17AC13303}"/>
              </a:ext>
            </a:extLst>
          </p:cNvPr>
          <p:cNvSpPr txBox="1">
            <a:spLocks/>
          </p:cNvSpPr>
          <p:nvPr/>
        </p:nvSpPr>
        <p:spPr>
          <a:xfrm>
            <a:off x="4518020" y="599643"/>
            <a:ext cx="1911175" cy="255309"/>
          </a:xfrm>
          <a:prstGeom prst="rect">
            <a:avLst/>
          </a:prstGeom>
          <a:solidFill>
            <a:schemeClr val="bg1"/>
          </a:solidFill>
        </p:spPr>
        <p:txBody>
          <a:bodyPr vert="horz" lIns="0" tIns="45720" rIns="0" bIns="45720" rtlCol="0">
            <a:noAutofit/>
          </a:bodyPr>
          <a:lstStyle>
            <a:lvl1pPr marL="211138" indent="-211138" algn="l" defTabSz="62215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75000"/>
              <a:buFontTx/>
              <a:buBlip>
                <a:blip r:embed="rId3"/>
              </a:buBlip>
              <a:defRPr sz="2000" kern="1200" spc="-41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76250" indent="-260350" algn="l" defTabSz="62215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800" kern="1200" spc="-41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682625" indent="-196850" algn="l" defTabSz="62215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600" kern="1200" spc="-41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862013" indent="-184150" algn="l" defTabSz="62215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600" kern="1200" spc="-41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1054100" indent="-182563" algn="l" defTabSz="62215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»"/>
              <a:defRPr sz="1600" kern="1200" spc="-41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1710934" indent="-155539" algn="l" defTabSz="6221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22013" indent="-155539" algn="l" defTabSz="6221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33092" indent="-155539" algn="l" defTabSz="6221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44170" indent="-155539" algn="l" defTabSz="6221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 marR="0" lvl="1" indent="0" defTabSz="622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64645C"/>
              </a:buClr>
              <a:buSzPct val="75000"/>
              <a:buFont typeface="Symbol" pitchFamily="18" charset="2"/>
              <a:buNone/>
              <a:tabLst/>
              <a:defRPr/>
            </a:pPr>
            <a:r>
              <a:rPr kumimoji="0" lang="en-GB" sz="1600" b="1" i="0" u="none" strike="noStrike" kern="1200" cap="none" spc="-41" normalizeH="0" baseline="0" noProof="0" dirty="0">
                <a:ln>
                  <a:noFill/>
                </a:ln>
                <a:solidFill>
                  <a:srgbClr val="3E6CA3"/>
                </a:solidFill>
                <a:effectLst/>
                <a:uLnTx/>
                <a:uFillTx/>
                <a:latin typeface="Calibri"/>
              </a:rPr>
              <a:t>Facility Capacity</a:t>
            </a:r>
            <a:endParaRPr kumimoji="0" lang="en-GB" sz="1600" b="1" i="0" u="none" strike="noStrike" kern="1200" cap="none" spc="-41" normalizeH="0" baseline="0" noProof="0" dirty="0">
              <a:ln>
                <a:noFill/>
              </a:ln>
              <a:solidFill>
                <a:srgbClr val="3E6CA3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C5636F0-E2E2-47A8-81F1-B77ACB5AE9FD}"/>
              </a:ext>
            </a:extLst>
          </p:cNvPr>
          <p:cNvCxnSpPr>
            <a:cxnSpLocks/>
          </p:cNvCxnSpPr>
          <p:nvPr/>
        </p:nvCxnSpPr>
        <p:spPr>
          <a:xfrm>
            <a:off x="4336330" y="910081"/>
            <a:ext cx="0" cy="3529305"/>
          </a:xfrm>
          <a:prstGeom prst="line">
            <a:avLst/>
          </a:prstGeom>
          <a:ln w="12700">
            <a:solidFill>
              <a:srgbClr val="5F97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A0A16DE8-C2B5-44DA-A26A-0134AD2313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128" y="932628"/>
            <a:ext cx="2886042" cy="1787763"/>
          </a:xfrm>
          <a:prstGeom prst="rect">
            <a:avLst/>
          </a:prstGeom>
          <a:ln w="19050">
            <a:solidFill>
              <a:schemeClr val="bg2"/>
            </a:solidFill>
          </a:ln>
        </p:spPr>
      </p:pic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373231CD-CA7A-4751-A109-ADA17AC13303}"/>
              </a:ext>
            </a:extLst>
          </p:cNvPr>
          <p:cNvSpPr txBox="1">
            <a:spLocks/>
          </p:cNvSpPr>
          <p:nvPr/>
        </p:nvSpPr>
        <p:spPr>
          <a:xfrm>
            <a:off x="4518019" y="2357469"/>
            <a:ext cx="1911175" cy="255309"/>
          </a:xfrm>
          <a:prstGeom prst="rect">
            <a:avLst/>
          </a:prstGeom>
          <a:solidFill>
            <a:schemeClr val="bg1"/>
          </a:solidFill>
        </p:spPr>
        <p:txBody>
          <a:bodyPr vert="horz" lIns="0" tIns="45720" rIns="0" bIns="45720" rtlCol="0">
            <a:noAutofit/>
          </a:bodyPr>
          <a:lstStyle>
            <a:lvl1pPr marL="211138" indent="-211138" algn="l" defTabSz="62215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75000"/>
              <a:buFontTx/>
              <a:buBlip>
                <a:blip r:embed="rId3"/>
              </a:buBlip>
              <a:defRPr sz="2000" kern="1200" spc="-41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76250" indent="-260350" algn="l" defTabSz="62215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800" kern="1200" spc="-41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682625" indent="-196850" algn="l" defTabSz="62215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600" kern="1200" spc="-41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862013" indent="-184150" algn="l" defTabSz="62215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600" kern="1200" spc="-41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1054100" indent="-182563" algn="l" defTabSz="62215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»"/>
              <a:defRPr sz="1600" kern="1200" spc="-41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1710934" indent="-155539" algn="l" defTabSz="6221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22013" indent="-155539" algn="l" defTabSz="6221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33092" indent="-155539" algn="l" defTabSz="6221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44170" indent="-155539" algn="l" defTabSz="6221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 marR="0" lvl="1" indent="0" defTabSz="622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64645C"/>
              </a:buClr>
              <a:buSzPct val="75000"/>
              <a:buFont typeface="Symbol" pitchFamily="18" charset="2"/>
              <a:buNone/>
              <a:tabLst/>
              <a:defRPr/>
            </a:pPr>
            <a:r>
              <a:rPr kumimoji="0" lang="en-GB" sz="1600" b="1" i="0" u="none" strike="noStrike" kern="1200" cap="none" spc="-41" normalizeH="0" baseline="0" noProof="0" dirty="0">
                <a:ln>
                  <a:noFill/>
                </a:ln>
                <a:solidFill>
                  <a:srgbClr val="3E6CA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cility </a:t>
            </a:r>
            <a:r>
              <a:rPr kumimoji="0" lang="en-GB" sz="1600" b="1" i="0" u="none" strike="noStrike" kern="1200" cap="none" spc="-41" normalizeH="0" baseline="0" noProof="0" dirty="0" smtClean="0">
                <a:ln>
                  <a:noFill/>
                </a:ln>
                <a:solidFill>
                  <a:srgbClr val="3E6CA3"/>
                </a:solidFill>
                <a:effectLst/>
                <a:uLnTx/>
                <a:uFillTx/>
                <a:latin typeface="Calibri"/>
              </a:rPr>
              <a:t>Capabilities</a:t>
            </a:r>
            <a:endParaRPr kumimoji="0" lang="en-GB" sz="1600" b="1" i="0" u="none" strike="noStrike" kern="1200" cap="none" spc="-41" normalizeH="0" baseline="0" noProof="0" dirty="0">
              <a:ln>
                <a:noFill/>
              </a:ln>
              <a:solidFill>
                <a:srgbClr val="3E6CA3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86DB602-1D99-4BB8-B29A-6849C63C7D27}"/>
              </a:ext>
            </a:extLst>
          </p:cNvPr>
          <p:cNvSpPr txBox="1"/>
          <p:nvPr/>
        </p:nvSpPr>
        <p:spPr>
          <a:xfrm>
            <a:off x="4485853" y="2642715"/>
            <a:ext cx="408414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</a:rPr>
              <a:t>Blistering and bottling of tablets/capsules</a:t>
            </a:r>
          </a:p>
          <a:p>
            <a:pPr marL="179388" indent="-1793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</a:rPr>
              <a:t>Labeling of clinical trials</a:t>
            </a:r>
          </a:p>
          <a:p>
            <a:pPr marL="179388" indent="-1793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</a:rPr>
              <a:t>Global distribution of clinical trials</a:t>
            </a:r>
            <a:endParaRPr lang="en-US" sz="1400" dirty="0">
              <a:solidFill>
                <a:schemeClr val="tx2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6128" y="2878715"/>
            <a:ext cx="2922660" cy="1740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712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7558F-B393-4971-80A5-AB0026814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90877"/>
            <a:ext cx="6965950" cy="594041"/>
          </a:xfrm>
        </p:spPr>
        <p:txBody>
          <a:bodyPr anchor="ctr"/>
          <a:lstStyle/>
          <a:p>
            <a:r>
              <a:rPr lang="en-GB" sz="2000" b="1" dirty="0" smtClean="0"/>
              <a:t>Release, Storage and Distribution Services</a:t>
            </a:r>
            <a:endParaRPr lang="en-GB" sz="2000" b="1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1721E3-6422-430B-961B-F243F1EB5EA9}"/>
              </a:ext>
            </a:extLst>
          </p:cNvPr>
          <p:cNvSpPr/>
          <p:nvPr/>
        </p:nvSpPr>
        <p:spPr>
          <a:xfrm>
            <a:off x="643658" y="991726"/>
            <a:ext cx="27843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2158">
              <a:buClr>
                <a:srgbClr val="3E6CA3"/>
              </a:buClr>
              <a:buSzPct val="75000"/>
            </a:pPr>
            <a:r>
              <a:rPr lang="en-US" sz="1600" b="1" spc="-40" dirty="0" smtClean="0">
                <a:solidFill>
                  <a:srgbClr val="3E6CA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orage</a:t>
            </a:r>
            <a:endParaRPr lang="en-US" sz="1600" spc="-40" dirty="0">
              <a:solidFill>
                <a:srgbClr val="3E6CA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defTabSz="622158">
              <a:buClr>
                <a:srgbClr val="3E6CA3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600" spc="-40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olled Temperature</a:t>
            </a:r>
          </a:p>
          <a:p>
            <a:pPr marL="285750" indent="-285750" defTabSz="622158">
              <a:buClr>
                <a:srgbClr val="3E6CA3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600" spc="-40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olled Drug</a:t>
            </a:r>
            <a:endParaRPr lang="en-US" sz="1600" spc="-4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7401" y="734028"/>
            <a:ext cx="2655350" cy="186979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C1721E3-6422-430B-961B-F243F1EB5EA9}"/>
              </a:ext>
            </a:extLst>
          </p:cNvPr>
          <p:cNvSpPr/>
          <p:nvPr/>
        </p:nvSpPr>
        <p:spPr>
          <a:xfrm>
            <a:off x="643657" y="2157832"/>
            <a:ext cx="388677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2158">
              <a:buClr>
                <a:srgbClr val="3E6CA3"/>
              </a:buClr>
              <a:buSzPct val="75000"/>
            </a:pPr>
            <a:r>
              <a:rPr lang="en-US" sz="1600" b="1" spc="-40" dirty="0" smtClean="0">
                <a:solidFill>
                  <a:srgbClr val="3E6CA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tribution within the EU</a:t>
            </a:r>
          </a:p>
          <a:p>
            <a:pPr marL="285750" indent="-285750" defTabSz="622158">
              <a:buClr>
                <a:srgbClr val="3E6CA3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600" spc="-40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00 shipments/month temperature controlled</a:t>
            </a:r>
            <a:endParaRPr lang="en-US" sz="1600" spc="-4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C1721E3-6422-430B-961B-F243F1EB5EA9}"/>
              </a:ext>
            </a:extLst>
          </p:cNvPr>
          <p:cNvSpPr/>
          <p:nvPr/>
        </p:nvSpPr>
        <p:spPr>
          <a:xfrm>
            <a:off x="643657" y="3094983"/>
            <a:ext cx="520296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2158">
              <a:buClr>
                <a:srgbClr val="3E6CA3"/>
              </a:buClr>
              <a:buSzPct val="75000"/>
            </a:pPr>
            <a:r>
              <a:rPr lang="en-US" sz="1600" b="1" spc="-40" dirty="0" smtClean="0">
                <a:solidFill>
                  <a:srgbClr val="3E6CA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 Release</a:t>
            </a:r>
          </a:p>
          <a:p>
            <a:pPr marL="285750" indent="-285750" defTabSz="622158">
              <a:buClr>
                <a:srgbClr val="3E6CA3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600" spc="-40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K currently classified as an EU release</a:t>
            </a:r>
          </a:p>
          <a:p>
            <a:pPr marL="285750" indent="-285750" defTabSz="622158">
              <a:buClr>
                <a:srgbClr val="3E6CA3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600" spc="-40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 imported into UK from outside the EU, release and shipped to EU trial sites</a:t>
            </a:r>
            <a:endParaRPr lang="en-US" sz="1600" spc="-4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7192" y="2698090"/>
            <a:ext cx="2817016" cy="1871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439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AF022B-7806-4E66-814A-58890AF0B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GB" sz="2000" b="1" dirty="0"/>
              <a:t>Impact of Brexi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E6BB567-0272-4554-AC57-2FC9E2BF4BA6}"/>
              </a:ext>
            </a:extLst>
          </p:cNvPr>
          <p:cNvSpPr txBox="1">
            <a:spLocks/>
          </p:cNvSpPr>
          <p:nvPr/>
        </p:nvSpPr>
        <p:spPr>
          <a:xfrm>
            <a:off x="662298" y="1224213"/>
            <a:ext cx="6134428" cy="29321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8360" indent="-20836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75000"/>
              <a:buFontTx/>
              <a:buBlip>
                <a:blip r:embed="rId2"/>
              </a:buBlip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7194" indent="-1905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Symbol" pitchFamily="18" charset="2"/>
              <a:buChar char="-"/>
              <a:tabLst>
                <a:tab pos="402431" algn="l"/>
              </a:tabLst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0310" indent="-163116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Arial" pitchFamily="34" charset="0"/>
              <a:buChar char="•"/>
              <a:tabLst>
                <a:tab pos="557213" algn="l"/>
              </a:tabLst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9379" indent="-17740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Arial" pitchFamily="34" charset="0"/>
              <a:buChar char="–"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8688" indent="-1762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Arial" pitchFamily="34" charset="0"/>
              <a:buChar char="»"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b="1" dirty="0">
                <a:solidFill>
                  <a:srgbClr val="3E6CA3"/>
                </a:solidFill>
              </a:rPr>
              <a:t>Current solution</a:t>
            </a:r>
            <a:endParaRPr lang="en-GB" sz="1200" i="1" dirty="0">
              <a:solidFill>
                <a:srgbClr val="3E6CA3"/>
              </a:solidFill>
            </a:endParaRPr>
          </a:p>
          <a:p>
            <a:pPr lvl="1"/>
            <a:r>
              <a:rPr lang="en-GB" sz="1600" dirty="0">
                <a:solidFill>
                  <a:schemeClr val="tx2">
                    <a:lumMod val="75000"/>
                  </a:schemeClr>
                </a:solidFill>
              </a:rPr>
              <a:t>Sharp is currently using an Ireland-based third party </a:t>
            </a:r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vendor </a:t>
            </a:r>
            <a:r>
              <a:rPr lang="en-GB" sz="1600" dirty="0">
                <a:solidFill>
                  <a:schemeClr val="tx2">
                    <a:lumMod val="75000"/>
                  </a:schemeClr>
                </a:solidFill>
              </a:rPr>
              <a:t>for QP release services, storage and </a:t>
            </a:r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distribution</a:t>
            </a:r>
          </a:p>
          <a:p>
            <a:pPr lvl="1"/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Revenue is diverted to a 3</a:t>
            </a:r>
            <a:r>
              <a:rPr lang="en-GB" sz="1600" baseline="30000" dirty="0" smtClean="0">
                <a:solidFill>
                  <a:schemeClr val="tx2">
                    <a:lumMod val="75000"/>
                  </a:schemeClr>
                </a:solidFill>
              </a:rPr>
              <a:t>rd</a:t>
            </a:r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 party, approximately 25%</a:t>
            </a:r>
            <a:endParaRPr lang="en-GB" sz="1600" dirty="0">
              <a:solidFill>
                <a:schemeClr val="tx2">
                  <a:lumMod val="75000"/>
                </a:schemeClr>
              </a:solidFill>
            </a:endParaRPr>
          </a:p>
          <a:p>
            <a:pPr lvl="1"/>
            <a:endParaRPr lang="en-GB" sz="1400" dirty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en-GB" sz="1400" b="1" dirty="0">
                <a:solidFill>
                  <a:srgbClr val="3E6CA3"/>
                </a:solidFill>
              </a:rPr>
              <a:t>Sharp Heerenveen solution  </a:t>
            </a:r>
            <a:r>
              <a:rPr lang="en-GB" sz="1600" dirty="0">
                <a:solidFill>
                  <a:srgbClr val="3E6CA3"/>
                </a:solidFill>
              </a:rPr>
              <a:t>– </a:t>
            </a:r>
            <a:r>
              <a:rPr lang="en-GB" sz="1600" i="1" dirty="0" smtClean="0">
                <a:solidFill>
                  <a:srgbClr val="3E6CA3"/>
                </a:solidFill>
              </a:rPr>
              <a:t>The </a:t>
            </a:r>
            <a:r>
              <a:rPr lang="en-GB" sz="1400" i="1" dirty="0" smtClean="0">
                <a:solidFill>
                  <a:srgbClr val="3E6CA3"/>
                </a:solidFill>
              </a:rPr>
              <a:t>Netherlands</a:t>
            </a:r>
            <a:endParaRPr lang="en-GB" sz="1400" b="1" i="1" dirty="0">
              <a:solidFill>
                <a:srgbClr val="3E6CA3"/>
              </a:solidFill>
            </a:endParaRPr>
          </a:p>
          <a:p>
            <a:pPr lvl="1"/>
            <a:r>
              <a:rPr lang="en-GB" sz="1600" dirty="0">
                <a:solidFill>
                  <a:schemeClr val="tx2">
                    <a:lumMod val="75000"/>
                  </a:schemeClr>
                </a:solidFill>
              </a:rPr>
              <a:t>License </a:t>
            </a:r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application approved by </a:t>
            </a:r>
            <a:r>
              <a:rPr lang="en-GB" sz="1600" dirty="0">
                <a:solidFill>
                  <a:schemeClr val="tx2">
                    <a:lumMod val="75000"/>
                  </a:schemeClr>
                </a:solidFill>
              </a:rPr>
              <a:t>Dutch </a:t>
            </a:r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authorities</a:t>
            </a:r>
            <a:endParaRPr lang="en-GB" sz="1600" dirty="0">
              <a:solidFill>
                <a:schemeClr val="tx2">
                  <a:lumMod val="75000"/>
                </a:schemeClr>
              </a:solidFill>
            </a:endParaRPr>
          </a:p>
          <a:p>
            <a:pPr lvl="1"/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First receipt and </a:t>
            </a:r>
            <a:r>
              <a:rPr lang="en-GB" sz="1600" dirty="0">
                <a:solidFill>
                  <a:schemeClr val="tx2">
                    <a:lumMod val="75000"/>
                  </a:schemeClr>
                </a:solidFill>
              </a:rPr>
              <a:t>release </a:t>
            </a:r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pending distribution from Heerenveen</a:t>
            </a:r>
            <a:endParaRPr lang="en-GB" sz="1600" dirty="0">
              <a:solidFill>
                <a:schemeClr val="tx2">
                  <a:lumMod val="75000"/>
                </a:schemeClr>
              </a:solidFill>
            </a:endParaRPr>
          </a:p>
          <a:p>
            <a:pPr lvl="1"/>
            <a:r>
              <a:rPr lang="en-GB" sz="1600" dirty="0">
                <a:solidFill>
                  <a:schemeClr val="tx2">
                    <a:lumMod val="75000"/>
                  </a:schemeClr>
                </a:solidFill>
              </a:rPr>
              <a:t>Client projects to be supported by UK </a:t>
            </a:r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team</a:t>
            </a:r>
            <a:endParaRPr lang="en-GB" sz="1600" dirty="0">
              <a:solidFill>
                <a:schemeClr val="tx2">
                  <a:lumMod val="75000"/>
                </a:schemeClr>
              </a:solidFill>
            </a:endParaRPr>
          </a:p>
          <a:p>
            <a:pPr lvl="1"/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Released by NL QP (Qualified Person)</a:t>
            </a:r>
            <a:endParaRPr lang="en-GB" sz="1600" dirty="0">
              <a:solidFill>
                <a:schemeClr val="tx2">
                  <a:lumMod val="75000"/>
                </a:schemeClr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75000"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2016" y="1123215"/>
            <a:ext cx="2274166" cy="1567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766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7558F-B393-4971-80A5-AB0026814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90877"/>
            <a:ext cx="6965950" cy="594041"/>
          </a:xfrm>
        </p:spPr>
        <p:txBody>
          <a:bodyPr anchor="ctr"/>
          <a:lstStyle/>
          <a:p>
            <a:r>
              <a:rPr lang="en-GB" sz="2000" b="1" dirty="0" smtClean="0"/>
              <a:t>Tangible Lost Revenue due to Uncertainty</a:t>
            </a:r>
            <a:endParaRPr lang="en-GB" sz="2000" b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14304"/>
          <a:stretch/>
        </p:blipFill>
        <p:spPr>
          <a:xfrm>
            <a:off x="5450418" y="857458"/>
            <a:ext cx="2338113" cy="1869799"/>
          </a:xfrm>
          <a:prstGeom prst="rect">
            <a:avLst/>
          </a:prstGeom>
        </p:spPr>
      </p:pic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7330560"/>
              </p:ext>
            </p:extLst>
          </p:nvPr>
        </p:nvGraphicFramePr>
        <p:xfrm>
          <a:off x="539750" y="857458"/>
          <a:ext cx="3020868" cy="185547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517889">
                  <a:extLst>
                    <a:ext uri="{9D8B030D-6E8A-4147-A177-3AD203B41FA5}">
                      <a16:colId xmlns:a16="http://schemas.microsoft.com/office/drawing/2014/main" val="1308151442"/>
                    </a:ext>
                  </a:extLst>
                </a:gridCol>
                <a:gridCol w="1502979">
                  <a:extLst>
                    <a:ext uri="{9D8B030D-6E8A-4147-A177-3AD203B41FA5}">
                      <a16:colId xmlns:a16="http://schemas.microsoft.com/office/drawing/2014/main" val="3276112780"/>
                    </a:ext>
                  </a:extLst>
                </a:gridCol>
              </a:tblGrid>
              <a:tr h="252648">
                <a:tc>
                  <a:txBody>
                    <a:bodyPr/>
                    <a:lstStyle/>
                    <a:p>
                      <a:pPr marL="0" algn="ctr" defTabSz="622158" rtl="0" eaLnBrk="1" fontAlgn="b" latinLnBrk="0" hangingPunct="1"/>
                      <a:r>
                        <a:rPr lang="en-GB" sz="1600" kern="1200" dirty="0" smtClean="0"/>
                        <a:t>Customer</a:t>
                      </a:r>
                      <a:endParaRPr lang="en-GB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622158" rtl="0" eaLnBrk="1" fontAlgn="b" latinLnBrk="0" hangingPunct="1"/>
                      <a:r>
                        <a:rPr lang="en-GB" sz="1600" kern="1200" dirty="0" smtClean="0"/>
                        <a:t>Amount</a:t>
                      </a:r>
                      <a:endParaRPr lang="en-GB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4197187"/>
                  </a:ext>
                </a:extLst>
              </a:tr>
              <a:tr h="196066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u="none" strike="noStrike" dirty="0" smtClean="0">
                          <a:effectLst/>
                        </a:rPr>
                        <a:t>1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u="none" strike="noStrike" dirty="0" smtClean="0">
                          <a:effectLst/>
                        </a:rPr>
                        <a:t>£250,000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01520153"/>
                  </a:ext>
                </a:extLst>
              </a:tr>
              <a:tr h="196066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u="none" strike="noStrike" dirty="0" smtClean="0">
                          <a:effectLst/>
                        </a:rPr>
                        <a:t>2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u="none" strike="noStrike" dirty="0" smtClean="0">
                          <a:effectLst/>
                        </a:rPr>
                        <a:t>£500,000 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88963648"/>
                  </a:ext>
                </a:extLst>
              </a:tr>
              <a:tr h="208608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u="none" strike="noStrike" dirty="0" smtClean="0">
                          <a:effectLst/>
                        </a:rPr>
                        <a:t>3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u="none" strike="noStrike" dirty="0" smtClean="0">
                          <a:effectLst/>
                        </a:rPr>
                        <a:t>£250,000 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83388479"/>
                  </a:ext>
                </a:extLst>
              </a:tr>
              <a:tr h="196066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u="none" strike="noStrike" dirty="0" smtClean="0">
                          <a:effectLst/>
                        </a:rPr>
                        <a:t>4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u="none" strike="noStrike" dirty="0" smtClean="0">
                          <a:effectLst/>
                        </a:rPr>
                        <a:t>£400,000 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36527801"/>
                  </a:ext>
                </a:extLst>
              </a:tr>
              <a:tr h="208608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u="none" strike="noStrike" dirty="0" smtClean="0">
                          <a:effectLst/>
                        </a:rPr>
                        <a:t>5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u="none" strike="noStrike" dirty="0">
                          <a:effectLst/>
                        </a:rPr>
                        <a:t> </a:t>
                      </a:r>
                      <a:r>
                        <a:rPr lang="en-GB" sz="1600" u="none" strike="noStrike" dirty="0" smtClean="0">
                          <a:effectLst/>
                        </a:rPr>
                        <a:t>£300,000 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597916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ctr" defTabSz="622158" rtl="0" eaLnBrk="1" fontAlgn="b" latinLnBrk="0" hangingPunct="1"/>
                      <a:r>
                        <a:rPr lang="en-GB" sz="1600" kern="1200" dirty="0" smtClean="0"/>
                        <a:t>Total</a:t>
                      </a:r>
                      <a:endParaRPr lang="en-GB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622158" rtl="0" eaLnBrk="1" fontAlgn="b" latinLnBrk="0" hangingPunct="1"/>
                      <a:r>
                        <a:rPr lang="en-GB" sz="1600" kern="1200" dirty="0" smtClean="0"/>
                        <a:t>£1,700,000</a:t>
                      </a:r>
                      <a:endParaRPr lang="en-GB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29712670"/>
                  </a:ext>
                </a:extLst>
              </a:tr>
            </a:tbl>
          </a:graphicData>
        </a:graphic>
      </p:graphicFrame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E6BB567-0272-4554-AC57-2FC9E2BF4BA6}"/>
              </a:ext>
            </a:extLst>
          </p:cNvPr>
          <p:cNvSpPr txBox="1">
            <a:spLocks/>
          </p:cNvSpPr>
          <p:nvPr/>
        </p:nvSpPr>
        <p:spPr>
          <a:xfrm>
            <a:off x="595168" y="2869497"/>
            <a:ext cx="7502814" cy="1695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8360" indent="-20836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75000"/>
              <a:buFontTx/>
              <a:buBlip>
                <a:blip r:embed="rId3"/>
              </a:buBlip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7194" indent="-1905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Symbol" pitchFamily="18" charset="2"/>
              <a:buChar char="-"/>
              <a:tabLst>
                <a:tab pos="402431" algn="l"/>
              </a:tabLst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0310" indent="-163116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Arial" pitchFamily="34" charset="0"/>
              <a:buChar char="•"/>
              <a:tabLst>
                <a:tab pos="557213" algn="l"/>
              </a:tabLst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9379" indent="-17740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Arial" pitchFamily="34" charset="0"/>
              <a:buChar char="–"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8688" indent="-1762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Arial" pitchFamily="34" charset="0"/>
              <a:buChar char="»"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Number of project </a:t>
            </a:r>
            <a:r>
              <a:rPr lang="en-US" sz="1600" dirty="0" smtClean="0">
                <a:solidFill>
                  <a:schemeClr val="tx2">
                    <a:lumMod val="75000"/>
                  </a:schemeClr>
                </a:solidFill>
              </a:rPr>
              <a:t>proposals 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decreased by 55% over last 12 </a:t>
            </a:r>
            <a:r>
              <a:rPr lang="en-US" sz="1600" dirty="0" smtClean="0">
                <a:solidFill>
                  <a:schemeClr val="tx2">
                    <a:lumMod val="75000"/>
                  </a:schemeClr>
                </a:solidFill>
              </a:rPr>
              <a:t>months</a:t>
            </a:r>
          </a:p>
          <a:p>
            <a:pPr>
              <a:spcAft>
                <a:spcPts val="0"/>
              </a:spcAft>
            </a:pPr>
            <a:endParaRPr lang="en-GB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2018 revenue from European distribution excess of </a:t>
            </a:r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£7 </a:t>
            </a:r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mil year</a:t>
            </a:r>
          </a:p>
          <a:p>
            <a:pPr>
              <a:spcAft>
                <a:spcPts val="0"/>
              </a:spcAft>
            </a:pPr>
            <a:endParaRPr lang="en-GB" sz="1600" dirty="0">
              <a:solidFill>
                <a:schemeClr val="tx2">
                  <a:lumMod val="75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Review Sharp strategy to engage more packaging work with decrease in EU distribution</a:t>
            </a:r>
          </a:p>
          <a:p>
            <a:pPr>
              <a:spcAft>
                <a:spcPts val="0"/>
              </a:spcAft>
            </a:pPr>
            <a:endParaRPr lang="en-GB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kumimoji="0" lang="en-GB" sz="160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</a:rPr>
              <a:t>Shipments are time critical (patients drug) with potential delays in customs clearance</a:t>
            </a:r>
          </a:p>
          <a:p>
            <a:pPr>
              <a:spcAft>
                <a:spcPts val="0"/>
              </a:spcAft>
            </a:pPr>
            <a:endParaRPr lang="en-GB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13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8E316F-2906-4F49-94F3-23A511482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647" y="357959"/>
            <a:ext cx="7308850" cy="471055"/>
          </a:xfrm>
        </p:spPr>
        <p:txBody>
          <a:bodyPr/>
          <a:lstStyle/>
          <a:p>
            <a:r>
              <a:rPr lang="en-GB" sz="2000" b="1" dirty="0" smtClean="0"/>
              <a:t>Regulatory Considerations</a:t>
            </a:r>
            <a:endParaRPr lang="en-GB" sz="2000" b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86A65F-6D8E-4296-AEBA-5C44F7C5D0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596B12-E838-4B7D-90B4-9A0EE8065EA2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6464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64645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827521" y="1140740"/>
            <a:ext cx="4956752" cy="28078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08360" indent="-20836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75000"/>
              <a:buFontTx/>
              <a:buBlip>
                <a:blip r:embed="rId2"/>
              </a:buBlip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7194" indent="-1905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Symbol" pitchFamily="18" charset="2"/>
              <a:buChar char="-"/>
              <a:tabLst>
                <a:tab pos="402431" algn="l"/>
              </a:tabLst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0310" indent="-163116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Arial" pitchFamily="34" charset="0"/>
              <a:buChar char="•"/>
              <a:tabLst>
                <a:tab pos="557213" algn="l"/>
              </a:tabLst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9379" indent="-17740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Arial" pitchFamily="34" charset="0"/>
              <a:buChar char="–"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8688" indent="-1762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>
                  <a:lumMod val="75000"/>
                </a:schemeClr>
              </a:buClr>
              <a:buFont typeface="Arial" pitchFamily="34" charset="0"/>
              <a:buChar char="»"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600" dirty="0" smtClean="0">
                <a:solidFill>
                  <a:schemeClr val="tx2"/>
                </a:solidFill>
              </a:rPr>
              <a:t>There </a:t>
            </a:r>
            <a:r>
              <a:rPr lang="en-US" sz="1600" dirty="0">
                <a:solidFill>
                  <a:schemeClr val="tx2"/>
                </a:solidFill>
              </a:rPr>
              <a:t>are 2 options with regard to the </a:t>
            </a:r>
            <a:r>
              <a:rPr lang="en-US" sz="1600" dirty="0" smtClean="0">
                <a:solidFill>
                  <a:schemeClr val="tx2"/>
                </a:solidFill>
              </a:rPr>
              <a:t>release </a:t>
            </a:r>
            <a:r>
              <a:rPr lang="en-US" sz="1600" dirty="0">
                <a:solidFill>
                  <a:schemeClr val="tx2"/>
                </a:solidFill>
              </a:rPr>
              <a:t>process: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>
                <a:solidFill>
                  <a:schemeClr val="tx2"/>
                </a:solidFill>
              </a:rPr>
              <a:t>The </a:t>
            </a:r>
            <a:r>
              <a:rPr lang="en-US" sz="1600" dirty="0">
                <a:solidFill>
                  <a:schemeClr val="tx2"/>
                </a:solidFill>
              </a:rPr>
              <a:t>site QP to recertify and produce their own certificate based upon the UK QP certificate. This option is </a:t>
            </a:r>
            <a:r>
              <a:rPr lang="en-US" sz="1600" dirty="0" smtClean="0">
                <a:solidFill>
                  <a:schemeClr val="tx2"/>
                </a:solidFill>
              </a:rPr>
              <a:t>dependent </a:t>
            </a:r>
            <a:r>
              <a:rPr lang="en-US" sz="1600" dirty="0">
                <a:solidFill>
                  <a:schemeClr val="tx2"/>
                </a:solidFill>
              </a:rPr>
              <a:t>upon </a:t>
            </a:r>
            <a:r>
              <a:rPr lang="en-US" sz="1600" dirty="0" smtClean="0">
                <a:solidFill>
                  <a:schemeClr val="tx2"/>
                </a:solidFill>
              </a:rPr>
              <a:t>EU acceptance </a:t>
            </a:r>
            <a:endParaRPr lang="en-US" sz="1600" dirty="0">
              <a:solidFill>
                <a:schemeClr val="tx2"/>
              </a:solidFill>
            </a:endParaRPr>
          </a:p>
          <a:p>
            <a:pPr marL="484584" lvl="1" indent="-285750">
              <a:spcAft>
                <a:spcPts val="600"/>
              </a:spcAft>
            </a:pPr>
            <a:r>
              <a:rPr lang="en-US" sz="1600" dirty="0" smtClean="0">
                <a:solidFill>
                  <a:schemeClr val="tx2"/>
                </a:solidFill>
              </a:rPr>
              <a:t>Sharp </a:t>
            </a:r>
            <a:r>
              <a:rPr lang="en-US" sz="1600" dirty="0">
                <a:solidFill>
                  <a:schemeClr val="tx2"/>
                </a:solidFill>
              </a:rPr>
              <a:t>UK to employ a QP </a:t>
            </a:r>
            <a:r>
              <a:rPr lang="en-US" sz="1600" dirty="0" smtClean="0">
                <a:solidFill>
                  <a:schemeClr val="tx2"/>
                </a:solidFill>
              </a:rPr>
              <a:t>resident </a:t>
            </a:r>
            <a:r>
              <a:rPr lang="en-US" sz="1600" dirty="0">
                <a:solidFill>
                  <a:schemeClr val="tx2"/>
                </a:solidFill>
              </a:rPr>
              <a:t>in The </a:t>
            </a:r>
            <a:r>
              <a:rPr lang="en-US" sz="1600" dirty="0" smtClean="0">
                <a:solidFill>
                  <a:schemeClr val="tx2"/>
                </a:solidFill>
              </a:rPr>
              <a:t>Netherlands for </a:t>
            </a:r>
            <a:r>
              <a:rPr lang="en-US" sz="1600" dirty="0">
                <a:solidFill>
                  <a:schemeClr val="tx2"/>
                </a:solidFill>
              </a:rPr>
              <a:t>recertification and operational </a:t>
            </a:r>
            <a:r>
              <a:rPr lang="en-US" sz="1600" dirty="0" smtClean="0">
                <a:solidFill>
                  <a:schemeClr val="tx2"/>
                </a:solidFill>
              </a:rPr>
              <a:t>oversite</a:t>
            </a:r>
            <a:endParaRPr lang="en-US" sz="1600" dirty="0">
              <a:solidFill>
                <a:schemeClr val="tx2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600" dirty="0" smtClean="0">
                <a:solidFill>
                  <a:schemeClr val="tx2"/>
                </a:solidFill>
              </a:rPr>
              <a:t>Clients </a:t>
            </a:r>
            <a:r>
              <a:rPr lang="en-US" sz="1600" dirty="0">
                <a:solidFill>
                  <a:schemeClr val="tx2"/>
                </a:solidFill>
              </a:rPr>
              <a:t>will need to amend regulatory submissions to include The Netherlands site as a </a:t>
            </a:r>
            <a:r>
              <a:rPr lang="en-US" sz="1600" dirty="0" smtClean="0">
                <a:solidFill>
                  <a:schemeClr val="tx2"/>
                </a:solidFill>
              </a:rPr>
              <a:t>depot</a:t>
            </a:r>
            <a:endParaRPr lang="en-US" sz="1600" dirty="0">
              <a:solidFill>
                <a:schemeClr val="tx2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600" dirty="0">
                <a:solidFill>
                  <a:schemeClr val="tx2"/>
                </a:solidFill>
              </a:rPr>
              <a:t>Clients may wish to audit the facility</a:t>
            </a:r>
          </a:p>
          <a:p>
            <a:pPr>
              <a:spcAft>
                <a:spcPts val="600"/>
              </a:spcAft>
            </a:pPr>
            <a:endParaRPr lang="en-US" sz="1800" dirty="0">
              <a:solidFill>
                <a:schemeClr val="tx2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1208" y="1842410"/>
            <a:ext cx="1560711" cy="835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199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fe06eb2-982d-450a-9f8c-92fed40e83c8"/>
  <p:tag name="MIO_EK" val="2752"/>
  <p:tag name="MIO_EKGUID" val="3ae5e605-1e8b-4e71-85c3-7cf789e0ff28"/>
  <p:tag name="MIO_UPDATE" val="True"/>
  <p:tag name="MIO_VERSION" val="01.03.2016 15:38:06"/>
  <p:tag name="MIO_DBID" val="520314CF-819D-4C78-80E8-4F2237E2B6FC"/>
  <p:tag name="MIO_LASTDOWNLOADED" val="12.02.2018 14:49:54"/>
  <p:tag name="MIO_OBJECTNAME" val="World Map"/>
  <p:tag name="MIO_LASTEDITORNAME" val="Michelle Griffiths"/>
</p:tagLst>
</file>

<file path=ppt/theme/theme1.xml><?xml version="1.0" encoding="utf-8"?>
<a:theme xmlns:a="http://schemas.openxmlformats.org/drawingml/2006/main" name="1_UDG">
  <a:themeElements>
    <a:clrScheme name="Custom 2">
      <a:dk1>
        <a:srgbClr val="000000"/>
      </a:dk1>
      <a:lt1>
        <a:sysClr val="window" lastClr="FFFFFF"/>
      </a:lt1>
      <a:dk2>
        <a:srgbClr val="64645C"/>
      </a:dk2>
      <a:lt2>
        <a:srgbClr val="B6B6AF"/>
      </a:lt2>
      <a:accent1>
        <a:srgbClr val="00458A"/>
      </a:accent1>
      <a:accent2>
        <a:srgbClr val="A7C7E6"/>
      </a:accent2>
      <a:accent3>
        <a:srgbClr val="5593C9"/>
      </a:accent3>
      <a:accent4>
        <a:srgbClr val="0B66AC"/>
      </a:accent4>
      <a:accent5>
        <a:srgbClr val="0085B8"/>
      </a:accent5>
      <a:accent6>
        <a:srgbClr val="583D81"/>
      </a:accent6>
      <a:hlink>
        <a:srgbClr val="64645C"/>
      </a:hlink>
      <a:folHlink>
        <a:srgbClr val="FFFFFF"/>
      </a:folHlink>
    </a:clrScheme>
    <a:fontScheme name="UDG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3AF9E19EE16B7429C0EC2AF83296A9F" ma:contentTypeVersion="0" ma:contentTypeDescription="Create a new document." ma:contentTypeScope="" ma:versionID="911b449d043e01c0e1caddbda3fe36dc">
  <xsd:schema xmlns:xsd="http://www.w3.org/2001/XMLSchema" xmlns:xs="http://www.w3.org/2001/XMLSchema" xmlns:p="http://schemas.microsoft.com/office/2006/metadata/properties" xmlns:ns2="42cfbddb-f001-4225-9476-9958e7bfcc97" targetNamespace="http://schemas.microsoft.com/office/2006/metadata/properties" ma:root="true" ma:fieldsID="f571ed6fa007c0f5623b0ce3d93a3b42" ns2:_="">
    <xsd:import namespace="42cfbddb-f001-4225-9476-9958e7bfcc9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cfbddb-f001-4225-9476-9958e7bfcc97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42cfbddb-f001-4225-9476-9958e7bfcc97">PX7SAEAQRVVZ-10-19</_dlc_DocId>
    <_dlc_DocIdUrl xmlns="42cfbddb-f001-4225-9476-9958e7bfcc97">
      <Url>https://ashfield.udcsms.com/marketing/rebranding/_layouts/15/DocIdRedir.aspx?ID=PX7SAEAQRVVZ-10-19</Url>
      <Description>PX7SAEAQRVVZ-10-19</Description>
    </_dlc_DocIdUrl>
  </documentManagement>
</p:properties>
</file>

<file path=customXml/itemProps1.xml><?xml version="1.0" encoding="utf-8"?>
<ds:datastoreItem xmlns:ds="http://schemas.openxmlformats.org/officeDocument/2006/customXml" ds:itemID="{6C11C11E-E325-4E9D-891B-C5169A19D228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17C261FE-7129-4C0B-BCE3-64257D4DFCC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294D47E-023E-488C-913E-D282AC93DF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2cfbddb-f001-4225-9476-9958e7bfcc9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6DC1C00A-464C-42D1-8786-79B646D0460F}">
  <ds:schemaRefs>
    <ds:schemaRef ds:uri="42cfbddb-f001-4225-9476-9958e7bfcc97"/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753</TotalTime>
  <Words>454</Words>
  <Application>Microsoft Office PowerPoint</Application>
  <PresentationFormat>On-screen Show (16:9)</PresentationFormat>
  <Paragraphs>98</Paragraphs>
  <Slides>8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Symbol</vt:lpstr>
      <vt:lpstr>1_UDG</vt:lpstr>
      <vt:lpstr>PowerPoint Presentation</vt:lpstr>
      <vt:lpstr>Sharp Services part of UDG Healthcare</vt:lpstr>
      <vt:lpstr>Sharp Services – Relocating for Growth</vt:lpstr>
      <vt:lpstr>Sharp  Services UK</vt:lpstr>
      <vt:lpstr>Release, Storage and Distribution Services</vt:lpstr>
      <vt:lpstr>Impact of Brexit</vt:lpstr>
      <vt:lpstr>Tangible Lost Revenue due to Uncertainty</vt:lpstr>
      <vt:lpstr>Regulatory Considerations</vt:lpstr>
    </vt:vector>
  </TitlesOfParts>
  <Company>KnowledgePoint360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Heading</dc:title>
  <dc:creator>Robin Edwards</dc:creator>
  <cp:lastModifiedBy>Ian Morgan</cp:lastModifiedBy>
  <cp:revision>937</cp:revision>
  <cp:lastPrinted>2017-10-24T13:53:32Z</cp:lastPrinted>
  <dcterms:created xsi:type="dcterms:W3CDTF">2014-03-28T14:36:25Z</dcterms:created>
  <dcterms:modified xsi:type="dcterms:W3CDTF">2019-10-23T15:18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45b24c65-5aea-4610-9457-4d7f757e93aa</vt:lpwstr>
  </property>
  <property fmtid="{D5CDD505-2E9C-101B-9397-08002B2CF9AE}" pid="3" name="ContentTypeId">
    <vt:lpwstr>0x01010043AF9E19EE16B7429C0EC2AF83296A9F</vt:lpwstr>
  </property>
</Properties>
</file>